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3.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notesSlides/notesSlide1.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notesSlides/notesSlide2.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notesSlides/notesSlide3.xml" ContentType="application/vnd.openxmlformats-officedocument.presentationml.notesSlide+xml"/>
  <Override PartName="/ppt/tags/tag59.xml" ContentType="application/vnd.openxmlformats-officedocument.presentationml.tags+xml"/>
  <Override PartName="/ppt/tags/tag60.xml" ContentType="application/vnd.openxmlformats-officedocument.presentationml.tags+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tags/tag67.xml" ContentType="application/vnd.openxmlformats-officedocument.presentationml.tags+xml"/>
  <Override PartName="/ppt/tags/tag68.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69.xml" ContentType="application/vnd.openxmlformats-officedocument.presentationml.tags+xml"/>
  <Override PartName="/ppt/tags/tag70.xml" ContentType="application/vnd.openxmlformats-officedocument.presentationml.tags+xml"/>
  <Override PartName="/ppt/notesSlides/notesSlide4.xml" ContentType="application/vnd.openxmlformats-officedocument.presentationml.notesSlide+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diagrams/data18.xml" ContentType="application/vnd.openxmlformats-officedocument.drawingml.diagramData+xml"/>
  <Override PartName="/ppt/diagrams/layout18.xml" ContentType="application/vnd.openxmlformats-officedocument.drawingml.diagramLayout+xml"/>
  <Override PartName="/ppt/diagrams/quickStyle18.xml" ContentType="application/vnd.openxmlformats-officedocument.drawingml.diagramStyle+xml"/>
  <Override PartName="/ppt/diagrams/colors18.xml" ContentType="application/vnd.openxmlformats-officedocument.drawingml.diagramColors+xml"/>
  <Override PartName="/ppt/diagrams/drawing18.xml" ContentType="application/vnd.ms-office.drawingml.diagramDrawing+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diagrams/data19.xml" ContentType="application/vnd.openxmlformats-officedocument.drawingml.diagramData+xml"/>
  <Override PartName="/ppt/diagrams/layout19.xml" ContentType="application/vnd.openxmlformats-officedocument.drawingml.diagramLayout+xml"/>
  <Override PartName="/ppt/diagrams/quickStyle19.xml" ContentType="application/vnd.openxmlformats-officedocument.drawingml.diagramStyle+xml"/>
  <Override PartName="/ppt/diagrams/colors19.xml" ContentType="application/vnd.openxmlformats-officedocument.drawingml.diagramColors+xml"/>
  <Override PartName="/ppt/diagrams/drawing19.xml" ContentType="application/vnd.ms-office.drawingml.diagramDrawing+xml"/>
  <Override PartName="/ppt/diagrams/data20.xml" ContentType="application/vnd.openxmlformats-officedocument.drawingml.diagramData+xml"/>
  <Override PartName="/ppt/diagrams/layout20.xml" ContentType="application/vnd.openxmlformats-officedocument.drawingml.diagramLayout+xml"/>
  <Override PartName="/ppt/diagrams/quickStyle20.xml" ContentType="application/vnd.openxmlformats-officedocument.drawingml.diagramStyle+xml"/>
  <Override PartName="/ppt/diagrams/colors20.xml" ContentType="application/vnd.openxmlformats-officedocument.drawingml.diagramColors+xml"/>
  <Override PartName="/ppt/diagrams/drawing20.xml" ContentType="application/vnd.ms-office.drawingml.diagramDrawing+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notesSlides/notesSlide5.xml" ContentType="application/vnd.openxmlformats-officedocument.presentationml.notesSlide+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8" r:id="rId4"/>
    <p:sldMasterId id="2147483720" r:id="rId5"/>
  </p:sldMasterIdLst>
  <p:notesMasterIdLst>
    <p:notesMasterId r:id="rId47"/>
  </p:notesMasterIdLst>
  <p:sldIdLst>
    <p:sldId id="256" r:id="rId6"/>
    <p:sldId id="6626" r:id="rId7"/>
    <p:sldId id="6609" r:id="rId8"/>
    <p:sldId id="6568" r:id="rId9"/>
    <p:sldId id="1053" r:id="rId10"/>
    <p:sldId id="409" r:id="rId11"/>
    <p:sldId id="1072" r:id="rId12"/>
    <p:sldId id="6570" r:id="rId13"/>
    <p:sldId id="6567" r:id="rId14"/>
    <p:sldId id="6590" r:id="rId15"/>
    <p:sldId id="6610" r:id="rId16"/>
    <p:sldId id="6581" r:id="rId17"/>
    <p:sldId id="6611" r:id="rId18"/>
    <p:sldId id="6612" r:id="rId19"/>
    <p:sldId id="6584" r:id="rId20"/>
    <p:sldId id="6624" r:id="rId21"/>
    <p:sldId id="6588" r:id="rId22"/>
    <p:sldId id="6613" r:id="rId23"/>
    <p:sldId id="6587" r:id="rId24"/>
    <p:sldId id="6614" r:id="rId25"/>
    <p:sldId id="6594" r:id="rId26"/>
    <p:sldId id="6616" r:id="rId27"/>
    <p:sldId id="6585" r:id="rId28"/>
    <p:sldId id="6617" r:id="rId29"/>
    <p:sldId id="6618" r:id="rId30"/>
    <p:sldId id="6604" r:id="rId31"/>
    <p:sldId id="6625" r:id="rId32"/>
    <p:sldId id="6597" r:id="rId33"/>
    <p:sldId id="6598" r:id="rId34"/>
    <p:sldId id="6620" r:id="rId35"/>
    <p:sldId id="6621" r:id="rId36"/>
    <p:sldId id="6622" r:id="rId37"/>
    <p:sldId id="6629" r:id="rId38"/>
    <p:sldId id="6603" r:id="rId39"/>
    <p:sldId id="6582" r:id="rId40"/>
    <p:sldId id="6579" r:id="rId41"/>
    <p:sldId id="6580" r:id="rId42"/>
    <p:sldId id="6627" r:id="rId43"/>
    <p:sldId id="6628" r:id="rId44"/>
    <p:sldId id="6608" r:id="rId45"/>
    <p:sldId id="6605" r:id="rId46"/>
  </p:sldIdLst>
  <p:sldSz cx="9144000" cy="5143500" type="screen16x9"/>
  <p:notesSz cx="6858000" cy="9926638"/>
  <p:custDataLst>
    <p:tags r:id="rId48"/>
  </p:custDataLst>
  <p:defaultTex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521415D9-36F7-43E2-AB2F-B90AF26B5E84}">
      <p14:sectionLst xmlns:p14="http://schemas.microsoft.com/office/powerpoint/2010/main">
        <p14:section name="DevOps Intro an donboarding Project (Guido)" id="{5CB747EE-1499-40D8-B217-86A2B0A6149B}">
          <p14:sldIdLst>
            <p14:sldId id="256"/>
            <p14:sldId id="6626"/>
            <p14:sldId id="6609"/>
            <p14:sldId id="6568"/>
            <p14:sldId id="1053"/>
            <p14:sldId id="409"/>
            <p14:sldId id="1072"/>
            <p14:sldId id="6570"/>
            <p14:sldId id="6567"/>
            <p14:sldId id="6590"/>
            <p14:sldId id="6610"/>
          </p14:sldIdLst>
        </p14:section>
        <p14:section name="GIT, pipeline and build (Roberto)" id="{FE05C784-7F1D-4B58-B1C8-28FE7112B1CE}">
          <p14:sldIdLst>
            <p14:sldId id="6581"/>
            <p14:sldId id="6611"/>
            <p14:sldId id="6612"/>
            <p14:sldId id="6584"/>
            <p14:sldId id="6624"/>
            <p14:sldId id="6588"/>
            <p14:sldId id="6613"/>
          </p14:sldIdLst>
        </p14:section>
        <p14:section name="Test Automation and Unit Testing (Raluca)" id="{56EB9BA9-8710-45E0-8D1C-1F793907E5AB}">
          <p14:sldIdLst>
            <p14:sldId id="6587"/>
            <p14:sldId id="6614"/>
            <p14:sldId id="6594"/>
            <p14:sldId id="6616"/>
          </p14:sldIdLst>
        </p14:section>
        <p14:section name="OWASP (Roberto)" id="{AD80211E-B2BB-4442-A3E4-37636A843D29}">
          <p14:sldIdLst>
            <p14:sldId id="6585"/>
            <p14:sldId id="6617"/>
            <p14:sldId id="6618"/>
          </p14:sldIdLst>
        </p14:section>
        <p14:section name="Deploy, Database automation and service virtualisation (Nistor)" id="{CFDE39A7-7B9F-49AC-BE63-F7F7BC255B02}">
          <p14:sldIdLst>
            <p14:sldId id="6604"/>
            <p14:sldId id="6625"/>
            <p14:sldId id="6597"/>
            <p14:sldId id="6598"/>
            <p14:sldId id="6620"/>
            <p14:sldId id="6621"/>
            <p14:sldId id="6622"/>
            <p14:sldId id="6629"/>
            <p14:sldId id="6603"/>
          </p14:sldIdLst>
        </p14:section>
        <p14:section name="Integration and E2E Testing (Raluca)" id="{8575ECAA-65AE-4294-9760-7949846DBD3F}">
          <p14:sldIdLst>
            <p14:sldId id="6582"/>
            <p14:sldId id="6579"/>
            <p14:sldId id="6580"/>
          </p14:sldIdLst>
        </p14:section>
        <p14:section name="Next steps and Q&amp;A (Guido)" id="{049A7E17-4D48-4E6E-BF62-E604924DE9FE}">
          <p14:sldIdLst>
            <p14:sldId id="6627"/>
            <p14:sldId id="6628"/>
            <p14:sldId id="6608"/>
            <p14:sldId id="6605"/>
          </p14:sldIdLst>
        </p14:section>
      </p14:sectionLst>
    </p:ext>
    <p:ext uri="{EFAFB233-063F-42B5-8137-9DF3F51BA10A}">
      <p15:sldGuideLst xmlns:p15="http://schemas.microsoft.com/office/powerpoint/2012/main">
        <p15:guide id="1" orient="horz" pos="1620" userDrawn="1">
          <p15:clr>
            <a:srgbClr val="A4A3A4"/>
          </p15:clr>
        </p15:guide>
        <p15:guide id="2" pos="288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Venturetti Roberto (UniCredit Services)" initials="VR(S" lastIdx="1" clrIdx="0">
    <p:extLst>
      <p:ext uri="{19B8F6BF-5375-455C-9EA6-DF929625EA0E}">
        <p15:presenceInfo xmlns:p15="http://schemas.microsoft.com/office/powerpoint/2012/main" userId="Venturetti Roberto (UniCredit Services)"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BF6F9"/>
    <a:srgbClr val="E2001A"/>
    <a:srgbClr val="E1F3F7"/>
    <a:srgbClr val="C00000"/>
    <a:srgbClr val="CF4545"/>
    <a:srgbClr val="F15959"/>
    <a:srgbClr val="D76363"/>
    <a:srgbClr val="F6D6D6"/>
    <a:srgbClr val="00AFD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9175" autoAdjust="0"/>
    <p:restoredTop sz="94660"/>
  </p:normalViewPr>
  <p:slideViewPr>
    <p:cSldViewPr snapToGrid="0">
      <p:cViewPr varScale="1">
        <p:scale>
          <a:sx n="140" d="100"/>
          <a:sy n="140" d="100"/>
        </p:scale>
        <p:origin x="492" y="102"/>
      </p:cViewPr>
      <p:guideLst>
        <p:guide orient="horz" pos="1620"/>
        <p:guide pos="2880"/>
      </p:guideLst>
    </p:cSldViewPr>
  </p:slideViewPr>
  <p:notesTextViewPr>
    <p:cViewPr>
      <p:scale>
        <a:sx n="1" d="1"/>
        <a:sy n="1" d="1"/>
      </p:scale>
      <p:origin x="0" y="0"/>
    </p:cViewPr>
  </p:notesTextViewPr>
  <p:sorterViewPr>
    <p:cViewPr>
      <p:scale>
        <a:sx n="200" d="100"/>
        <a:sy n="20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notesMaster" Target="notesMasters/notesMaster1.xml"/><Relationship Id="rId50" Type="http://schemas.openxmlformats.org/officeDocument/2006/relationships/presProps" Target="pres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commentAuthors" Target="commentAuthor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tags" Target="tags/tag1.xml"/><Relationship Id="rId8" Type="http://schemas.openxmlformats.org/officeDocument/2006/relationships/slide" Target="slides/slide3.xml"/><Relationship Id="rId51"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explosion val="6"/>
          <c:dPt>
            <c:idx val="0"/>
            <c:bubble3D val="0"/>
            <c:spPr>
              <a:solidFill>
                <a:srgbClr val="00AFD0"/>
              </a:solidFill>
              <a:ln w="19050">
                <a:solidFill>
                  <a:schemeClr val="lt1"/>
                </a:solidFill>
              </a:ln>
              <a:effectLst/>
            </c:spPr>
            <c:extLst>
              <c:ext xmlns:c16="http://schemas.microsoft.com/office/drawing/2014/chart" uri="{C3380CC4-5D6E-409C-BE32-E72D297353CC}">
                <c16:uniqueId val="{00000001-868E-4B50-AF0E-E255B7F0614A}"/>
              </c:ext>
            </c:extLst>
          </c:dPt>
          <c:dPt>
            <c:idx val="1"/>
            <c:bubble3D val="0"/>
            <c:spPr>
              <a:solidFill>
                <a:srgbClr val="00AFD0"/>
              </a:solidFill>
              <a:ln w="19050">
                <a:solidFill>
                  <a:schemeClr val="lt1"/>
                </a:solidFill>
              </a:ln>
              <a:effectLst/>
            </c:spPr>
            <c:extLst>
              <c:ext xmlns:c16="http://schemas.microsoft.com/office/drawing/2014/chart" uri="{C3380CC4-5D6E-409C-BE32-E72D297353CC}">
                <c16:uniqueId val="{00000003-868E-4B50-AF0E-E255B7F0614A}"/>
              </c:ext>
            </c:extLst>
          </c:dPt>
          <c:dPt>
            <c:idx val="2"/>
            <c:bubble3D val="0"/>
            <c:spPr>
              <a:solidFill>
                <a:srgbClr val="00AFD0"/>
              </a:solidFill>
              <a:ln w="19050">
                <a:solidFill>
                  <a:schemeClr val="lt1"/>
                </a:solidFill>
              </a:ln>
              <a:effectLst/>
            </c:spPr>
            <c:extLst>
              <c:ext xmlns:c16="http://schemas.microsoft.com/office/drawing/2014/chart" uri="{C3380CC4-5D6E-409C-BE32-E72D297353CC}">
                <c16:uniqueId val="{00000005-868E-4B50-AF0E-E255B7F0614A}"/>
              </c:ext>
            </c:extLst>
          </c:dPt>
          <c:dPt>
            <c:idx val="3"/>
            <c:bubble3D val="0"/>
            <c:spPr>
              <a:solidFill>
                <a:srgbClr val="00AFD0"/>
              </a:solidFill>
              <a:ln w="19050">
                <a:solidFill>
                  <a:schemeClr val="lt1"/>
                </a:solidFill>
              </a:ln>
              <a:effectLst/>
            </c:spPr>
            <c:extLst>
              <c:ext xmlns:c16="http://schemas.microsoft.com/office/drawing/2014/chart" uri="{C3380CC4-5D6E-409C-BE32-E72D297353CC}">
                <c16:uniqueId val="{00000007-868E-4B50-AF0E-E255B7F0614A}"/>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2</c:v>
                </c:pt>
                <c:pt idx="1">
                  <c:v>2</c:v>
                </c:pt>
                <c:pt idx="2">
                  <c:v>2</c:v>
                </c:pt>
                <c:pt idx="3">
                  <c:v>2</c:v>
                </c:pt>
              </c:numCache>
            </c:numRef>
          </c:val>
          <c:extLst>
            <c:ext xmlns:c16="http://schemas.microsoft.com/office/drawing/2014/chart" uri="{C3380CC4-5D6E-409C-BE32-E72D297353CC}">
              <c16:uniqueId val="{00000008-868E-4B50-AF0E-E255B7F0614A}"/>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F09BBEB-BCC3-459F-84E8-C3F45965DA09}" type="doc">
      <dgm:prSet loTypeId="urn:microsoft.com/office/officeart/2005/8/layout/hChevron3" loCatId="process" qsTypeId="urn:microsoft.com/office/officeart/2005/8/quickstyle/simple1" qsCatId="simple" csTypeId="urn:microsoft.com/office/officeart/2005/8/colors/accent1_2" csCatId="accent1" phldr="1"/>
      <dgm:spPr/>
    </dgm:pt>
    <dgm:pt modelId="{DB686BFB-198E-4000-A208-50B01C895C5D}">
      <dgm:prSet phldrT="[Text]"/>
      <dgm:spPr/>
      <dgm:t>
        <a:bodyPr/>
        <a:lstStyle/>
        <a:p>
          <a:r>
            <a:rPr lang="en-US" dirty="0"/>
            <a:t>Plan</a:t>
          </a:r>
        </a:p>
      </dgm:t>
    </dgm:pt>
    <dgm:pt modelId="{308DC400-404E-42BD-BE70-9AF5501A8294}" type="parTrans" cxnId="{19255C41-D653-4AA7-B5D5-F563627BA0CF}">
      <dgm:prSet/>
      <dgm:spPr/>
      <dgm:t>
        <a:bodyPr/>
        <a:lstStyle/>
        <a:p>
          <a:endParaRPr lang="en-US"/>
        </a:p>
      </dgm:t>
    </dgm:pt>
    <dgm:pt modelId="{71D97F50-AB3B-4D05-8099-47186F345C43}" type="sibTrans" cxnId="{19255C41-D653-4AA7-B5D5-F563627BA0CF}">
      <dgm:prSet/>
      <dgm:spPr/>
      <dgm:t>
        <a:bodyPr/>
        <a:lstStyle/>
        <a:p>
          <a:endParaRPr lang="en-US"/>
        </a:p>
      </dgm:t>
    </dgm:pt>
    <dgm:pt modelId="{28FF80C1-E366-4469-835E-804BEA7EF9E9}">
      <dgm:prSet phldrT="[Text]"/>
      <dgm:spPr/>
      <dgm:t>
        <a:bodyPr/>
        <a:lstStyle/>
        <a:p>
          <a:r>
            <a:rPr lang="en-US" dirty="0"/>
            <a:t>Code</a:t>
          </a:r>
        </a:p>
      </dgm:t>
    </dgm:pt>
    <dgm:pt modelId="{C92A0CD3-241E-488E-AA57-8B6574467E0F}" type="parTrans" cxnId="{CDCFC11C-CFCD-4E79-A72B-8D05C57DADFF}">
      <dgm:prSet/>
      <dgm:spPr/>
      <dgm:t>
        <a:bodyPr/>
        <a:lstStyle/>
        <a:p>
          <a:endParaRPr lang="en-US"/>
        </a:p>
      </dgm:t>
    </dgm:pt>
    <dgm:pt modelId="{91D0DF27-8817-4650-BB53-D21704C7C991}" type="sibTrans" cxnId="{CDCFC11C-CFCD-4E79-A72B-8D05C57DADFF}">
      <dgm:prSet/>
      <dgm:spPr/>
      <dgm:t>
        <a:bodyPr/>
        <a:lstStyle/>
        <a:p>
          <a:endParaRPr lang="en-US"/>
        </a:p>
      </dgm:t>
    </dgm:pt>
    <dgm:pt modelId="{308794B5-59A1-4F06-A19F-19B515FA2D2C}">
      <dgm:prSet phldrT="[Text]"/>
      <dgm:spPr/>
      <dgm:t>
        <a:bodyPr/>
        <a:lstStyle/>
        <a:p>
          <a:r>
            <a:rPr lang="en-US" dirty="0"/>
            <a:t>Build</a:t>
          </a:r>
        </a:p>
      </dgm:t>
    </dgm:pt>
    <dgm:pt modelId="{40A90EE6-40C6-4C1A-975D-8DECA9BC3FD2}" type="parTrans" cxnId="{8635D613-FF8F-4F3F-8F79-7C6A9DD574D3}">
      <dgm:prSet/>
      <dgm:spPr/>
      <dgm:t>
        <a:bodyPr/>
        <a:lstStyle/>
        <a:p>
          <a:endParaRPr lang="en-US"/>
        </a:p>
      </dgm:t>
    </dgm:pt>
    <dgm:pt modelId="{2A857EBE-287F-47BF-BC3B-E1E5F39FA4B7}" type="sibTrans" cxnId="{8635D613-FF8F-4F3F-8F79-7C6A9DD574D3}">
      <dgm:prSet/>
      <dgm:spPr/>
      <dgm:t>
        <a:bodyPr/>
        <a:lstStyle/>
        <a:p>
          <a:endParaRPr lang="en-US"/>
        </a:p>
      </dgm:t>
    </dgm:pt>
    <dgm:pt modelId="{79B60177-2217-4C3E-BFB2-A7F514C11442}">
      <dgm:prSet phldrT="[Text]"/>
      <dgm:spPr/>
      <dgm:t>
        <a:bodyPr/>
        <a:lstStyle/>
        <a:p>
          <a:r>
            <a:rPr lang="en-US" dirty="0"/>
            <a:t>Unit Tests</a:t>
          </a:r>
        </a:p>
      </dgm:t>
    </dgm:pt>
    <dgm:pt modelId="{C0EE4951-222A-4A3C-884C-462AB7405FF1}" type="parTrans" cxnId="{9F73CDB9-E2B2-4C3B-BD07-14E9AE766AC9}">
      <dgm:prSet/>
      <dgm:spPr/>
      <dgm:t>
        <a:bodyPr/>
        <a:lstStyle/>
        <a:p>
          <a:endParaRPr lang="en-US"/>
        </a:p>
      </dgm:t>
    </dgm:pt>
    <dgm:pt modelId="{BB68D18C-C2C2-4B5D-A338-F21AC8AC055A}" type="sibTrans" cxnId="{9F73CDB9-E2B2-4C3B-BD07-14E9AE766AC9}">
      <dgm:prSet/>
      <dgm:spPr/>
      <dgm:t>
        <a:bodyPr/>
        <a:lstStyle/>
        <a:p>
          <a:endParaRPr lang="en-US"/>
        </a:p>
      </dgm:t>
    </dgm:pt>
    <dgm:pt modelId="{EA542168-3CF6-4E7D-BE36-F1874E1A6786}">
      <dgm:prSet phldrT="[Text]"/>
      <dgm:spPr/>
      <dgm:t>
        <a:bodyPr/>
        <a:lstStyle/>
        <a:p>
          <a:r>
            <a:rPr lang="en-US" dirty="0"/>
            <a:t>Artifact publish</a:t>
          </a:r>
        </a:p>
      </dgm:t>
    </dgm:pt>
    <dgm:pt modelId="{0F2809F5-F901-42CC-9BCD-A0A9B96DFE1C}" type="parTrans" cxnId="{A2117A40-75DD-4F93-9B85-0E6C330838BF}">
      <dgm:prSet/>
      <dgm:spPr/>
      <dgm:t>
        <a:bodyPr/>
        <a:lstStyle/>
        <a:p>
          <a:endParaRPr lang="en-US"/>
        </a:p>
      </dgm:t>
    </dgm:pt>
    <dgm:pt modelId="{EFA7C1C5-FEE2-496F-9C35-D5D7E067AD72}" type="sibTrans" cxnId="{A2117A40-75DD-4F93-9B85-0E6C330838BF}">
      <dgm:prSet/>
      <dgm:spPr/>
      <dgm:t>
        <a:bodyPr/>
        <a:lstStyle/>
        <a:p>
          <a:endParaRPr lang="en-US"/>
        </a:p>
      </dgm:t>
    </dgm:pt>
    <dgm:pt modelId="{C2993C98-6A6F-4187-B0C4-7E93C9DD87FA}">
      <dgm:prSet phldrT="[Text]"/>
      <dgm:spPr/>
      <dgm:t>
        <a:bodyPr/>
        <a:lstStyle/>
        <a:p>
          <a:r>
            <a:rPr lang="en-US" dirty="0"/>
            <a:t>Deploy</a:t>
          </a:r>
        </a:p>
      </dgm:t>
    </dgm:pt>
    <dgm:pt modelId="{9CBC2D13-0312-49BE-A158-5EA5D3005C80}" type="parTrans" cxnId="{026B8171-5599-4C67-B63E-7389ED643B06}">
      <dgm:prSet/>
      <dgm:spPr/>
      <dgm:t>
        <a:bodyPr/>
        <a:lstStyle/>
        <a:p>
          <a:endParaRPr lang="en-US"/>
        </a:p>
      </dgm:t>
    </dgm:pt>
    <dgm:pt modelId="{BE740BCE-24A9-4674-AEDF-D364E86B6D22}" type="sibTrans" cxnId="{026B8171-5599-4C67-B63E-7389ED643B06}">
      <dgm:prSet/>
      <dgm:spPr/>
      <dgm:t>
        <a:bodyPr/>
        <a:lstStyle/>
        <a:p>
          <a:endParaRPr lang="en-US"/>
        </a:p>
      </dgm:t>
    </dgm:pt>
    <dgm:pt modelId="{B3D0AF40-C106-41ED-9E6C-46321A70CAAB}">
      <dgm:prSet phldrT="[Text]"/>
      <dgm:spPr/>
      <dgm:t>
        <a:bodyPr/>
        <a:lstStyle/>
        <a:p>
          <a:r>
            <a:rPr lang="en-US" dirty="0"/>
            <a:t>Integration Tests</a:t>
          </a:r>
        </a:p>
      </dgm:t>
    </dgm:pt>
    <dgm:pt modelId="{D2A261CD-44A6-4CD9-BD0E-FC21222598C3}" type="parTrans" cxnId="{FB36DB1D-2A5C-47E1-BD93-3DE6146AF4C7}">
      <dgm:prSet/>
      <dgm:spPr/>
      <dgm:t>
        <a:bodyPr/>
        <a:lstStyle/>
        <a:p>
          <a:endParaRPr lang="en-US"/>
        </a:p>
      </dgm:t>
    </dgm:pt>
    <dgm:pt modelId="{D2A85F37-7CC7-4104-AF88-FFA6A57188E0}" type="sibTrans" cxnId="{FB36DB1D-2A5C-47E1-BD93-3DE6146AF4C7}">
      <dgm:prSet/>
      <dgm:spPr/>
      <dgm:t>
        <a:bodyPr/>
        <a:lstStyle/>
        <a:p>
          <a:endParaRPr lang="en-US"/>
        </a:p>
      </dgm:t>
    </dgm:pt>
    <dgm:pt modelId="{A37E9E2F-421E-4906-9EA5-4D3D0039337B}">
      <dgm:prSet phldrT="[Text]"/>
      <dgm:spPr/>
      <dgm:t>
        <a:bodyPr/>
        <a:lstStyle/>
        <a:p>
          <a:r>
            <a:rPr lang="en-US" dirty="0"/>
            <a:t>Code Coverage and </a:t>
          </a:r>
          <a:r>
            <a:rPr lang="en-US" dirty="0" err="1"/>
            <a:t>Vulerabilities</a:t>
          </a:r>
          <a:endParaRPr lang="en-US" dirty="0"/>
        </a:p>
      </dgm:t>
    </dgm:pt>
    <dgm:pt modelId="{CE6AC0C5-5287-487A-AA5B-84A420F4BCCF}" type="parTrans" cxnId="{BFE1E3BA-C15C-41DC-AAD8-92F9635D6BF2}">
      <dgm:prSet/>
      <dgm:spPr/>
      <dgm:t>
        <a:bodyPr/>
        <a:lstStyle/>
        <a:p>
          <a:endParaRPr lang="en-US"/>
        </a:p>
      </dgm:t>
    </dgm:pt>
    <dgm:pt modelId="{FB9F0D44-060C-450B-95E1-4D0DFC8E216B}" type="sibTrans" cxnId="{BFE1E3BA-C15C-41DC-AAD8-92F9635D6BF2}">
      <dgm:prSet/>
      <dgm:spPr/>
      <dgm:t>
        <a:bodyPr/>
        <a:lstStyle/>
        <a:p>
          <a:endParaRPr lang="en-US"/>
        </a:p>
      </dgm:t>
    </dgm:pt>
    <dgm:pt modelId="{244AB1FE-452B-48D8-8768-3BA11F7CDA2F}">
      <dgm:prSet phldrT="[Text]"/>
      <dgm:spPr/>
      <dgm:t>
        <a:bodyPr/>
        <a:lstStyle/>
        <a:p>
          <a:r>
            <a:rPr lang="en-US" dirty="0"/>
            <a:t>E2E Tests</a:t>
          </a:r>
        </a:p>
      </dgm:t>
    </dgm:pt>
    <dgm:pt modelId="{3AB6269D-FE5C-4FEF-9E3C-39AACC7EF09F}" type="parTrans" cxnId="{2CB7CF59-FCF1-4ACB-AC42-B02F3DA6E02C}">
      <dgm:prSet/>
      <dgm:spPr/>
      <dgm:t>
        <a:bodyPr/>
        <a:lstStyle/>
        <a:p>
          <a:endParaRPr lang="en-US"/>
        </a:p>
      </dgm:t>
    </dgm:pt>
    <dgm:pt modelId="{102BEBE8-1030-474E-80E3-A8F484E4F6D3}" type="sibTrans" cxnId="{2CB7CF59-FCF1-4ACB-AC42-B02F3DA6E02C}">
      <dgm:prSet/>
      <dgm:spPr/>
      <dgm:t>
        <a:bodyPr/>
        <a:lstStyle/>
        <a:p>
          <a:endParaRPr lang="en-US"/>
        </a:p>
      </dgm:t>
    </dgm:pt>
    <dgm:pt modelId="{C6B3F507-2D2A-4DC6-AC05-4B9C92757C16}">
      <dgm:prSet phldrT="[Text]"/>
      <dgm:spPr/>
      <dgm:t>
        <a:bodyPr/>
        <a:lstStyle/>
        <a:p>
          <a:r>
            <a:rPr lang="en-US" dirty="0"/>
            <a:t>Deploy and Release</a:t>
          </a:r>
        </a:p>
      </dgm:t>
    </dgm:pt>
    <dgm:pt modelId="{DE8F853C-71D4-4D0D-9A17-D8B374D814FD}" type="parTrans" cxnId="{2287F43C-9B45-4B41-8BD5-84AFAA7B2870}">
      <dgm:prSet/>
      <dgm:spPr/>
      <dgm:t>
        <a:bodyPr/>
        <a:lstStyle/>
        <a:p>
          <a:endParaRPr lang="en-US"/>
        </a:p>
      </dgm:t>
    </dgm:pt>
    <dgm:pt modelId="{D0C75D6A-40FE-4179-9416-F5DC0E331C7F}" type="sibTrans" cxnId="{2287F43C-9B45-4B41-8BD5-84AFAA7B2870}">
      <dgm:prSet/>
      <dgm:spPr/>
      <dgm:t>
        <a:bodyPr/>
        <a:lstStyle/>
        <a:p>
          <a:endParaRPr lang="en-US"/>
        </a:p>
      </dgm:t>
    </dgm:pt>
    <dgm:pt modelId="{5A8139B6-91BE-4CD6-9A26-1E8EB65606D1}" type="pres">
      <dgm:prSet presAssocID="{5F09BBEB-BCC3-459F-84E8-C3F45965DA09}" presName="Name0" presStyleCnt="0">
        <dgm:presLayoutVars>
          <dgm:dir/>
          <dgm:resizeHandles val="exact"/>
        </dgm:presLayoutVars>
      </dgm:prSet>
      <dgm:spPr/>
    </dgm:pt>
    <dgm:pt modelId="{E758B83E-CFEC-43EC-AF0D-E790A3C16319}" type="pres">
      <dgm:prSet presAssocID="{DB686BFB-198E-4000-A208-50B01C895C5D}" presName="parTxOnly" presStyleLbl="node1" presStyleIdx="0" presStyleCnt="10">
        <dgm:presLayoutVars>
          <dgm:bulletEnabled val="1"/>
        </dgm:presLayoutVars>
      </dgm:prSet>
      <dgm:spPr/>
    </dgm:pt>
    <dgm:pt modelId="{8B0AB190-C0DA-4BC9-AB8E-FC2ED0D56206}" type="pres">
      <dgm:prSet presAssocID="{71D97F50-AB3B-4D05-8099-47186F345C43}" presName="parSpace" presStyleCnt="0"/>
      <dgm:spPr/>
    </dgm:pt>
    <dgm:pt modelId="{57F52E1E-2C2F-47A9-A6D9-CB7537BF727C}" type="pres">
      <dgm:prSet presAssocID="{28FF80C1-E366-4469-835E-804BEA7EF9E9}" presName="parTxOnly" presStyleLbl="node1" presStyleIdx="1" presStyleCnt="10">
        <dgm:presLayoutVars>
          <dgm:bulletEnabled val="1"/>
        </dgm:presLayoutVars>
      </dgm:prSet>
      <dgm:spPr/>
    </dgm:pt>
    <dgm:pt modelId="{23AB88B7-C798-42E5-B3C5-6FD5532695B1}" type="pres">
      <dgm:prSet presAssocID="{91D0DF27-8817-4650-BB53-D21704C7C991}" presName="parSpace" presStyleCnt="0"/>
      <dgm:spPr/>
    </dgm:pt>
    <dgm:pt modelId="{0D14839E-F7AA-41F1-8F21-377D4525EA32}" type="pres">
      <dgm:prSet presAssocID="{308794B5-59A1-4F06-A19F-19B515FA2D2C}" presName="parTxOnly" presStyleLbl="node1" presStyleIdx="2" presStyleCnt="10">
        <dgm:presLayoutVars>
          <dgm:bulletEnabled val="1"/>
        </dgm:presLayoutVars>
      </dgm:prSet>
      <dgm:spPr/>
    </dgm:pt>
    <dgm:pt modelId="{6FCAC6DE-3B61-4FC5-BCC0-E4629EF4789A}" type="pres">
      <dgm:prSet presAssocID="{2A857EBE-287F-47BF-BC3B-E1E5F39FA4B7}" presName="parSpace" presStyleCnt="0"/>
      <dgm:spPr/>
    </dgm:pt>
    <dgm:pt modelId="{AC1BF143-926D-45ED-A5A3-43D05A5B5E05}" type="pres">
      <dgm:prSet presAssocID="{79B60177-2217-4C3E-BFB2-A7F514C11442}" presName="parTxOnly" presStyleLbl="node1" presStyleIdx="3" presStyleCnt="10">
        <dgm:presLayoutVars>
          <dgm:bulletEnabled val="1"/>
        </dgm:presLayoutVars>
      </dgm:prSet>
      <dgm:spPr/>
    </dgm:pt>
    <dgm:pt modelId="{0DE0C2D5-A75D-4380-B806-1FCE20FD6100}" type="pres">
      <dgm:prSet presAssocID="{BB68D18C-C2C2-4B5D-A338-F21AC8AC055A}" presName="parSpace" presStyleCnt="0"/>
      <dgm:spPr/>
    </dgm:pt>
    <dgm:pt modelId="{FAC99AAC-4206-4C8D-B75A-31CCAA24369E}" type="pres">
      <dgm:prSet presAssocID="{A37E9E2F-421E-4906-9EA5-4D3D0039337B}" presName="parTxOnly" presStyleLbl="node1" presStyleIdx="4" presStyleCnt="10">
        <dgm:presLayoutVars>
          <dgm:bulletEnabled val="1"/>
        </dgm:presLayoutVars>
      </dgm:prSet>
      <dgm:spPr/>
    </dgm:pt>
    <dgm:pt modelId="{C7EB8198-0BBC-4800-A04C-5A838FD89335}" type="pres">
      <dgm:prSet presAssocID="{FB9F0D44-060C-450B-95E1-4D0DFC8E216B}" presName="parSpace" presStyleCnt="0"/>
      <dgm:spPr/>
    </dgm:pt>
    <dgm:pt modelId="{EECB13DF-38FD-4199-93B9-448461C16185}" type="pres">
      <dgm:prSet presAssocID="{EA542168-3CF6-4E7D-BE36-F1874E1A6786}" presName="parTxOnly" presStyleLbl="node1" presStyleIdx="5" presStyleCnt="10">
        <dgm:presLayoutVars>
          <dgm:bulletEnabled val="1"/>
        </dgm:presLayoutVars>
      </dgm:prSet>
      <dgm:spPr/>
    </dgm:pt>
    <dgm:pt modelId="{E374F486-FB19-41B2-A0F0-48FB5502A237}" type="pres">
      <dgm:prSet presAssocID="{EFA7C1C5-FEE2-496F-9C35-D5D7E067AD72}" presName="parSpace" presStyleCnt="0"/>
      <dgm:spPr/>
    </dgm:pt>
    <dgm:pt modelId="{1C920BC9-2570-439E-8481-8C6F1CB98E73}" type="pres">
      <dgm:prSet presAssocID="{C2993C98-6A6F-4187-B0C4-7E93C9DD87FA}" presName="parTxOnly" presStyleLbl="node1" presStyleIdx="6" presStyleCnt="10">
        <dgm:presLayoutVars>
          <dgm:bulletEnabled val="1"/>
        </dgm:presLayoutVars>
      </dgm:prSet>
      <dgm:spPr/>
    </dgm:pt>
    <dgm:pt modelId="{83CF4DA9-86E0-4AE4-94AE-6C72C4A1D2F8}" type="pres">
      <dgm:prSet presAssocID="{BE740BCE-24A9-4674-AEDF-D364E86B6D22}" presName="parSpace" presStyleCnt="0"/>
      <dgm:spPr/>
    </dgm:pt>
    <dgm:pt modelId="{E8BBFEEE-B21B-4C1D-846B-B89F01B73A44}" type="pres">
      <dgm:prSet presAssocID="{B3D0AF40-C106-41ED-9E6C-46321A70CAAB}" presName="parTxOnly" presStyleLbl="node1" presStyleIdx="7" presStyleCnt="10">
        <dgm:presLayoutVars>
          <dgm:bulletEnabled val="1"/>
        </dgm:presLayoutVars>
      </dgm:prSet>
      <dgm:spPr/>
    </dgm:pt>
    <dgm:pt modelId="{79E1544A-52D1-4DF3-B1EF-1D7B51F38FFB}" type="pres">
      <dgm:prSet presAssocID="{D2A85F37-7CC7-4104-AF88-FFA6A57188E0}" presName="parSpace" presStyleCnt="0"/>
      <dgm:spPr/>
    </dgm:pt>
    <dgm:pt modelId="{2297D37F-06A9-4D3B-9E7D-1BFE806033E6}" type="pres">
      <dgm:prSet presAssocID="{244AB1FE-452B-48D8-8768-3BA11F7CDA2F}" presName="parTxOnly" presStyleLbl="node1" presStyleIdx="8" presStyleCnt="10">
        <dgm:presLayoutVars>
          <dgm:bulletEnabled val="1"/>
        </dgm:presLayoutVars>
      </dgm:prSet>
      <dgm:spPr/>
    </dgm:pt>
    <dgm:pt modelId="{860E36E1-9B69-4A8E-B7F1-1A203219B22F}" type="pres">
      <dgm:prSet presAssocID="{102BEBE8-1030-474E-80E3-A8F484E4F6D3}" presName="parSpace" presStyleCnt="0"/>
      <dgm:spPr/>
    </dgm:pt>
    <dgm:pt modelId="{8BF2E94A-9EDA-4D1B-B447-B22DF4954F6F}" type="pres">
      <dgm:prSet presAssocID="{C6B3F507-2D2A-4DC6-AC05-4B9C92757C16}" presName="parTxOnly" presStyleLbl="node1" presStyleIdx="9" presStyleCnt="10">
        <dgm:presLayoutVars>
          <dgm:bulletEnabled val="1"/>
        </dgm:presLayoutVars>
      </dgm:prSet>
      <dgm:spPr/>
    </dgm:pt>
  </dgm:ptLst>
  <dgm:cxnLst>
    <dgm:cxn modelId="{8635D613-FF8F-4F3F-8F79-7C6A9DD574D3}" srcId="{5F09BBEB-BCC3-459F-84E8-C3F45965DA09}" destId="{308794B5-59A1-4F06-A19F-19B515FA2D2C}" srcOrd="2" destOrd="0" parTransId="{40A90EE6-40C6-4C1A-975D-8DECA9BC3FD2}" sibTransId="{2A857EBE-287F-47BF-BC3B-E1E5F39FA4B7}"/>
    <dgm:cxn modelId="{7498D815-AE35-4CC1-87A5-4E163067D50B}" type="presOf" srcId="{C2993C98-6A6F-4187-B0C4-7E93C9DD87FA}" destId="{1C920BC9-2570-439E-8481-8C6F1CB98E73}" srcOrd="0" destOrd="0" presId="urn:microsoft.com/office/officeart/2005/8/layout/hChevron3"/>
    <dgm:cxn modelId="{CDCFC11C-CFCD-4E79-A72B-8D05C57DADFF}" srcId="{5F09BBEB-BCC3-459F-84E8-C3F45965DA09}" destId="{28FF80C1-E366-4469-835E-804BEA7EF9E9}" srcOrd="1" destOrd="0" parTransId="{C92A0CD3-241E-488E-AA57-8B6574467E0F}" sibTransId="{91D0DF27-8817-4650-BB53-D21704C7C991}"/>
    <dgm:cxn modelId="{FB36DB1D-2A5C-47E1-BD93-3DE6146AF4C7}" srcId="{5F09BBEB-BCC3-459F-84E8-C3F45965DA09}" destId="{B3D0AF40-C106-41ED-9E6C-46321A70CAAB}" srcOrd="7" destOrd="0" parTransId="{D2A261CD-44A6-4CD9-BD0E-FC21222598C3}" sibTransId="{D2A85F37-7CC7-4104-AF88-FFA6A57188E0}"/>
    <dgm:cxn modelId="{73D5EB2C-4DDA-469C-82CB-EB293E5A841C}" type="presOf" srcId="{A37E9E2F-421E-4906-9EA5-4D3D0039337B}" destId="{FAC99AAC-4206-4C8D-B75A-31CCAA24369E}" srcOrd="0" destOrd="0" presId="urn:microsoft.com/office/officeart/2005/8/layout/hChevron3"/>
    <dgm:cxn modelId="{BFE78C36-D48C-4ADF-B40F-FDA60F1CAFF1}" type="presOf" srcId="{308794B5-59A1-4F06-A19F-19B515FA2D2C}" destId="{0D14839E-F7AA-41F1-8F21-377D4525EA32}" srcOrd="0" destOrd="0" presId="urn:microsoft.com/office/officeart/2005/8/layout/hChevron3"/>
    <dgm:cxn modelId="{2287F43C-9B45-4B41-8BD5-84AFAA7B2870}" srcId="{5F09BBEB-BCC3-459F-84E8-C3F45965DA09}" destId="{C6B3F507-2D2A-4DC6-AC05-4B9C92757C16}" srcOrd="9" destOrd="0" parTransId="{DE8F853C-71D4-4D0D-9A17-D8B374D814FD}" sibTransId="{D0C75D6A-40FE-4179-9416-F5DC0E331C7F}"/>
    <dgm:cxn modelId="{A2117A40-75DD-4F93-9B85-0E6C330838BF}" srcId="{5F09BBEB-BCC3-459F-84E8-C3F45965DA09}" destId="{EA542168-3CF6-4E7D-BE36-F1874E1A6786}" srcOrd="5" destOrd="0" parTransId="{0F2809F5-F901-42CC-9BCD-A0A9B96DFE1C}" sibTransId="{EFA7C1C5-FEE2-496F-9C35-D5D7E067AD72}"/>
    <dgm:cxn modelId="{22FE0D61-FA1A-4575-9EA7-0847D35FB40F}" type="presOf" srcId="{244AB1FE-452B-48D8-8768-3BA11F7CDA2F}" destId="{2297D37F-06A9-4D3B-9E7D-1BFE806033E6}" srcOrd="0" destOrd="0" presId="urn:microsoft.com/office/officeart/2005/8/layout/hChevron3"/>
    <dgm:cxn modelId="{19255C41-D653-4AA7-B5D5-F563627BA0CF}" srcId="{5F09BBEB-BCC3-459F-84E8-C3F45965DA09}" destId="{DB686BFB-198E-4000-A208-50B01C895C5D}" srcOrd="0" destOrd="0" parTransId="{308DC400-404E-42BD-BE70-9AF5501A8294}" sibTransId="{71D97F50-AB3B-4D05-8099-47186F345C43}"/>
    <dgm:cxn modelId="{F9DECC50-2A9D-4CCE-A94B-38F80FBC12B2}" type="presOf" srcId="{DB686BFB-198E-4000-A208-50B01C895C5D}" destId="{E758B83E-CFEC-43EC-AF0D-E790A3C16319}" srcOrd="0" destOrd="0" presId="urn:microsoft.com/office/officeart/2005/8/layout/hChevron3"/>
    <dgm:cxn modelId="{026B8171-5599-4C67-B63E-7389ED643B06}" srcId="{5F09BBEB-BCC3-459F-84E8-C3F45965DA09}" destId="{C2993C98-6A6F-4187-B0C4-7E93C9DD87FA}" srcOrd="6" destOrd="0" parTransId="{9CBC2D13-0312-49BE-A158-5EA5D3005C80}" sibTransId="{BE740BCE-24A9-4674-AEDF-D364E86B6D22}"/>
    <dgm:cxn modelId="{2CB7CF59-FCF1-4ACB-AC42-B02F3DA6E02C}" srcId="{5F09BBEB-BCC3-459F-84E8-C3F45965DA09}" destId="{244AB1FE-452B-48D8-8768-3BA11F7CDA2F}" srcOrd="8" destOrd="0" parTransId="{3AB6269D-FE5C-4FEF-9E3C-39AACC7EF09F}" sibTransId="{102BEBE8-1030-474E-80E3-A8F484E4F6D3}"/>
    <dgm:cxn modelId="{6023F593-FCF4-43E2-85CE-AD10542CEE88}" type="presOf" srcId="{C6B3F507-2D2A-4DC6-AC05-4B9C92757C16}" destId="{8BF2E94A-9EDA-4D1B-B447-B22DF4954F6F}" srcOrd="0" destOrd="0" presId="urn:microsoft.com/office/officeart/2005/8/layout/hChevron3"/>
    <dgm:cxn modelId="{766E6C9B-742C-442E-8172-8BF8D40AD199}" type="presOf" srcId="{79B60177-2217-4C3E-BFB2-A7F514C11442}" destId="{AC1BF143-926D-45ED-A5A3-43D05A5B5E05}" srcOrd="0" destOrd="0" presId="urn:microsoft.com/office/officeart/2005/8/layout/hChevron3"/>
    <dgm:cxn modelId="{9F73CDB9-E2B2-4C3B-BD07-14E9AE766AC9}" srcId="{5F09BBEB-BCC3-459F-84E8-C3F45965DA09}" destId="{79B60177-2217-4C3E-BFB2-A7F514C11442}" srcOrd="3" destOrd="0" parTransId="{C0EE4951-222A-4A3C-884C-462AB7405FF1}" sibTransId="{BB68D18C-C2C2-4B5D-A338-F21AC8AC055A}"/>
    <dgm:cxn modelId="{BFE1E3BA-C15C-41DC-AAD8-92F9635D6BF2}" srcId="{5F09BBEB-BCC3-459F-84E8-C3F45965DA09}" destId="{A37E9E2F-421E-4906-9EA5-4D3D0039337B}" srcOrd="4" destOrd="0" parTransId="{CE6AC0C5-5287-487A-AA5B-84A420F4BCCF}" sibTransId="{FB9F0D44-060C-450B-95E1-4D0DFC8E216B}"/>
    <dgm:cxn modelId="{972F8AC6-E642-4970-B4CF-B938DF3C94A2}" type="presOf" srcId="{28FF80C1-E366-4469-835E-804BEA7EF9E9}" destId="{57F52E1E-2C2F-47A9-A6D9-CB7537BF727C}" srcOrd="0" destOrd="0" presId="urn:microsoft.com/office/officeart/2005/8/layout/hChevron3"/>
    <dgm:cxn modelId="{178236CB-EF09-4173-8EBE-FC737AED0D85}" type="presOf" srcId="{EA542168-3CF6-4E7D-BE36-F1874E1A6786}" destId="{EECB13DF-38FD-4199-93B9-448461C16185}" srcOrd="0" destOrd="0" presId="urn:microsoft.com/office/officeart/2005/8/layout/hChevron3"/>
    <dgm:cxn modelId="{6C1C96E4-80FF-48EC-9B74-7A88917D15EF}" type="presOf" srcId="{B3D0AF40-C106-41ED-9E6C-46321A70CAAB}" destId="{E8BBFEEE-B21B-4C1D-846B-B89F01B73A44}" srcOrd="0" destOrd="0" presId="urn:microsoft.com/office/officeart/2005/8/layout/hChevron3"/>
    <dgm:cxn modelId="{55A360EF-56B4-4E1B-B6DC-788CB3D5C2D3}" type="presOf" srcId="{5F09BBEB-BCC3-459F-84E8-C3F45965DA09}" destId="{5A8139B6-91BE-4CD6-9A26-1E8EB65606D1}" srcOrd="0" destOrd="0" presId="urn:microsoft.com/office/officeart/2005/8/layout/hChevron3"/>
    <dgm:cxn modelId="{F7229797-FA27-4730-8A33-B779CCDC5C3C}" type="presParOf" srcId="{5A8139B6-91BE-4CD6-9A26-1E8EB65606D1}" destId="{E758B83E-CFEC-43EC-AF0D-E790A3C16319}" srcOrd="0" destOrd="0" presId="urn:microsoft.com/office/officeart/2005/8/layout/hChevron3"/>
    <dgm:cxn modelId="{797CD30E-B045-4A2A-A262-5FA3F2383F0E}" type="presParOf" srcId="{5A8139B6-91BE-4CD6-9A26-1E8EB65606D1}" destId="{8B0AB190-C0DA-4BC9-AB8E-FC2ED0D56206}" srcOrd="1" destOrd="0" presId="urn:microsoft.com/office/officeart/2005/8/layout/hChevron3"/>
    <dgm:cxn modelId="{8350EBD2-82F9-43A1-8271-7B3C2601C7FF}" type="presParOf" srcId="{5A8139B6-91BE-4CD6-9A26-1E8EB65606D1}" destId="{57F52E1E-2C2F-47A9-A6D9-CB7537BF727C}" srcOrd="2" destOrd="0" presId="urn:microsoft.com/office/officeart/2005/8/layout/hChevron3"/>
    <dgm:cxn modelId="{065A1536-B084-4DE2-9756-A8BD56653EAA}" type="presParOf" srcId="{5A8139B6-91BE-4CD6-9A26-1E8EB65606D1}" destId="{23AB88B7-C798-42E5-B3C5-6FD5532695B1}" srcOrd="3" destOrd="0" presId="urn:microsoft.com/office/officeart/2005/8/layout/hChevron3"/>
    <dgm:cxn modelId="{900BF689-8BEA-4E5F-86F5-16B928223239}" type="presParOf" srcId="{5A8139B6-91BE-4CD6-9A26-1E8EB65606D1}" destId="{0D14839E-F7AA-41F1-8F21-377D4525EA32}" srcOrd="4" destOrd="0" presId="urn:microsoft.com/office/officeart/2005/8/layout/hChevron3"/>
    <dgm:cxn modelId="{FDD11ECE-9527-4A81-A422-BB7C9D8AFA6A}" type="presParOf" srcId="{5A8139B6-91BE-4CD6-9A26-1E8EB65606D1}" destId="{6FCAC6DE-3B61-4FC5-BCC0-E4629EF4789A}" srcOrd="5" destOrd="0" presId="urn:microsoft.com/office/officeart/2005/8/layout/hChevron3"/>
    <dgm:cxn modelId="{3C10773A-398D-41D7-B997-F0F842EF9BCD}" type="presParOf" srcId="{5A8139B6-91BE-4CD6-9A26-1E8EB65606D1}" destId="{AC1BF143-926D-45ED-A5A3-43D05A5B5E05}" srcOrd="6" destOrd="0" presId="urn:microsoft.com/office/officeart/2005/8/layout/hChevron3"/>
    <dgm:cxn modelId="{CC76DA5B-FB4F-4410-8237-D6E32C8F3069}" type="presParOf" srcId="{5A8139B6-91BE-4CD6-9A26-1E8EB65606D1}" destId="{0DE0C2D5-A75D-4380-B806-1FCE20FD6100}" srcOrd="7" destOrd="0" presId="urn:microsoft.com/office/officeart/2005/8/layout/hChevron3"/>
    <dgm:cxn modelId="{F2E2E515-6858-4F8B-B7EC-AA286C5DFF3C}" type="presParOf" srcId="{5A8139B6-91BE-4CD6-9A26-1E8EB65606D1}" destId="{FAC99AAC-4206-4C8D-B75A-31CCAA24369E}" srcOrd="8" destOrd="0" presId="urn:microsoft.com/office/officeart/2005/8/layout/hChevron3"/>
    <dgm:cxn modelId="{7A259C44-7F18-419D-B25D-87D26844FD0A}" type="presParOf" srcId="{5A8139B6-91BE-4CD6-9A26-1E8EB65606D1}" destId="{C7EB8198-0BBC-4800-A04C-5A838FD89335}" srcOrd="9" destOrd="0" presId="urn:microsoft.com/office/officeart/2005/8/layout/hChevron3"/>
    <dgm:cxn modelId="{1DB9D684-FDF1-4485-8F05-243A582343B3}" type="presParOf" srcId="{5A8139B6-91BE-4CD6-9A26-1E8EB65606D1}" destId="{EECB13DF-38FD-4199-93B9-448461C16185}" srcOrd="10" destOrd="0" presId="urn:microsoft.com/office/officeart/2005/8/layout/hChevron3"/>
    <dgm:cxn modelId="{F9BC0876-B7B1-4E36-866A-621301818E4D}" type="presParOf" srcId="{5A8139B6-91BE-4CD6-9A26-1E8EB65606D1}" destId="{E374F486-FB19-41B2-A0F0-48FB5502A237}" srcOrd="11" destOrd="0" presId="urn:microsoft.com/office/officeart/2005/8/layout/hChevron3"/>
    <dgm:cxn modelId="{68901253-C80F-4309-BEEB-846BF429E040}" type="presParOf" srcId="{5A8139B6-91BE-4CD6-9A26-1E8EB65606D1}" destId="{1C920BC9-2570-439E-8481-8C6F1CB98E73}" srcOrd="12" destOrd="0" presId="urn:microsoft.com/office/officeart/2005/8/layout/hChevron3"/>
    <dgm:cxn modelId="{5EB9676F-FACE-4045-893B-ED5656605287}" type="presParOf" srcId="{5A8139B6-91BE-4CD6-9A26-1E8EB65606D1}" destId="{83CF4DA9-86E0-4AE4-94AE-6C72C4A1D2F8}" srcOrd="13" destOrd="0" presId="urn:microsoft.com/office/officeart/2005/8/layout/hChevron3"/>
    <dgm:cxn modelId="{BC6C1E01-C648-40BB-BFCB-9AB904C2A097}" type="presParOf" srcId="{5A8139B6-91BE-4CD6-9A26-1E8EB65606D1}" destId="{E8BBFEEE-B21B-4C1D-846B-B89F01B73A44}" srcOrd="14" destOrd="0" presId="urn:microsoft.com/office/officeart/2005/8/layout/hChevron3"/>
    <dgm:cxn modelId="{0B6B22D8-7F48-4240-8E4C-779E49ED37CA}" type="presParOf" srcId="{5A8139B6-91BE-4CD6-9A26-1E8EB65606D1}" destId="{79E1544A-52D1-4DF3-B1EF-1D7B51F38FFB}" srcOrd="15" destOrd="0" presId="urn:microsoft.com/office/officeart/2005/8/layout/hChevron3"/>
    <dgm:cxn modelId="{3EC2B338-A00C-4A6E-975E-8084F004117A}" type="presParOf" srcId="{5A8139B6-91BE-4CD6-9A26-1E8EB65606D1}" destId="{2297D37F-06A9-4D3B-9E7D-1BFE806033E6}" srcOrd="16" destOrd="0" presId="urn:microsoft.com/office/officeart/2005/8/layout/hChevron3"/>
    <dgm:cxn modelId="{430BCF5F-58E7-4BD0-88BD-64AD6818FB00}" type="presParOf" srcId="{5A8139B6-91BE-4CD6-9A26-1E8EB65606D1}" destId="{860E36E1-9B69-4A8E-B7F1-1A203219B22F}" srcOrd="17" destOrd="0" presId="urn:microsoft.com/office/officeart/2005/8/layout/hChevron3"/>
    <dgm:cxn modelId="{2455F435-7A6F-438C-8A67-346DE979ECE7}" type="presParOf" srcId="{5A8139B6-91BE-4CD6-9A26-1E8EB65606D1}" destId="{8BF2E94A-9EDA-4D1B-B447-B22DF4954F6F}" srcOrd="18" destOrd="0" presId="urn:microsoft.com/office/officeart/2005/8/layout/hChevron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5F09BBEB-BCC3-459F-84E8-C3F45965DA09}" type="doc">
      <dgm:prSet loTypeId="urn:microsoft.com/office/officeart/2005/8/layout/hChevron3" loCatId="process" qsTypeId="urn:microsoft.com/office/officeart/2005/8/quickstyle/simple1" qsCatId="simple" csTypeId="urn:microsoft.com/office/officeart/2005/8/colors/accent1_2" csCatId="accent1" phldr="1"/>
      <dgm:spPr/>
    </dgm:pt>
    <dgm:pt modelId="{D9A46A24-1A39-40C4-BDEF-CFA7810A2AAE}">
      <dgm:prSet custT="1"/>
      <dgm:spPr>
        <a:solidFill>
          <a:schemeClr val="bg2"/>
        </a:solidFill>
      </dgm:spPr>
      <dgm:t>
        <a:bodyPr/>
        <a:lstStyle/>
        <a:p>
          <a:r>
            <a:rPr lang="en-US" sz="1800" dirty="0"/>
            <a:t>Continuous Integration</a:t>
          </a:r>
        </a:p>
      </dgm:t>
    </dgm:pt>
    <dgm:pt modelId="{66FFC086-41A2-4587-A80D-C476FEB0A87D}" type="parTrans" cxnId="{D4CE26BC-77E7-45C7-A7B2-153FEC32CCF0}">
      <dgm:prSet/>
      <dgm:spPr/>
      <dgm:t>
        <a:bodyPr/>
        <a:lstStyle/>
        <a:p>
          <a:endParaRPr lang="en-US" sz="1200"/>
        </a:p>
      </dgm:t>
    </dgm:pt>
    <dgm:pt modelId="{F798BDF2-5A93-4BDF-814C-A30D18340DBF}" type="sibTrans" cxnId="{D4CE26BC-77E7-45C7-A7B2-153FEC32CCF0}">
      <dgm:prSet/>
      <dgm:spPr/>
      <dgm:t>
        <a:bodyPr/>
        <a:lstStyle/>
        <a:p>
          <a:endParaRPr lang="en-US" sz="1200"/>
        </a:p>
      </dgm:t>
    </dgm:pt>
    <dgm:pt modelId="{34418343-4F07-404D-BE38-92B2D24B7E05}">
      <dgm:prSet custT="1"/>
      <dgm:spPr>
        <a:solidFill>
          <a:schemeClr val="bg2"/>
        </a:solidFill>
      </dgm:spPr>
      <dgm:t>
        <a:bodyPr/>
        <a:lstStyle/>
        <a:p>
          <a:r>
            <a:rPr lang="en-US" sz="1800" dirty="0"/>
            <a:t>Continuous Delivery</a:t>
          </a:r>
        </a:p>
      </dgm:t>
    </dgm:pt>
    <dgm:pt modelId="{A7A8E09D-662C-45E2-9798-75DFCF5AD338}" type="parTrans" cxnId="{72105B5F-CE7A-4453-8ABE-41BD72E534BE}">
      <dgm:prSet/>
      <dgm:spPr/>
      <dgm:t>
        <a:bodyPr/>
        <a:lstStyle/>
        <a:p>
          <a:endParaRPr lang="en-US" sz="1200"/>
        </a:p>
      </dgm:t>
    </dgm:pt>
    <dgm:pt modelId="{492097AD-6096-4A56-ACAB-319019CDAEEB}" type="sibTrans" cxnId="{72105B5F-CE7A-4453-8ABE-41BD72E534BE}">
      <dgm:prSet/>
      <dgm:spPr/>
      <dgm:t>
        <a:bodyPr/>
        <a:lstStyle/>
        <a:p>
          <a:endParaRPr lang="en-US" sz="1200"/>
        </a:p>
      </dgm:t>
    </dgm:pt>
    <dgm:pt modelId="{5A8139B6-91BE-4CD6-9A26-1E8EB65606D1}" type="pres">
      <dgm:prSet presAssocID="{5F09BBEB-BCC3-459F-84E8-C3F45965DA09}" presName="Name0" presStyleCnt="0">
        <dgm:presLayoutVars>
          <dgm:dir/>
          <dgm:resizeHandles val="exact"/>
        </dgm:presLayoutVars>
      </dgm:prSet>
      <dgm:spPr/>
    </dgm:pt>
    <dgm:pt modelId="{100BB1A8-A75B-46B4-A88C-52BAAA4EA6C2}" type="pres">
      <dgm:prSet presAssocID="{D9A46A24-1A39-40C4-BDEF-CFA7810A2AAE}" presName="parTxOnly" presStyleLbl="node1" presStyleIdx="0" presStyleCnt="2" custScaleX="58075" custLinFactNeighborX="-40788" custLinFactNeighborY="7816">
        <dgm:presLayoutVars>
          <dgm:bulletEnabled val="1"/>
        </dgm:presLayoutVars>
      </dgm:prSet>
      <dgm:spPr/>
    </dgm:pt>
    <dgm:pt modelId="{F4229669-D6F8-4B59-A4CD-D5346B3C39F1}" type="pres">
      <dgm:prSet presAssocID="{F798BDF2-5A93-4BDF-814C-A30D18340DBF}" presName="parSpace" presStyleCnt="0"/>
      <dgm:spPr/>
    </dgm:pt>
    <dgm:pt modelId="{C41A44A8-F315-467A-BC7A-DF5D204D36AC}" type="pres">
      <dgm:prSet presAssocID="{34418343-4F07-404D-BE38-92B2D24B7E05}" presName="parTxOnly" presStyleLbl="node1" presStyleIdx="1" presStyleCnt="2" custScaleX="45034" custLinFactNeighborX="35969" custLinFactNeighborY="-3574">
        <dgm:presLayoutVars>
          <dgm:bulletEnabled val="1"/>
        </dgm:presLayoutVars>
      </dgm:prSet>
      <dgm:spPr/>
    </dgm:pt>
  </dgm:ptLst>
  <dgm:cxnLst>
    <dgm:cxn modelId="{3F1E4133-2A1E-4235-9328-E58716960D9C}" type="presOf" srcId="{D9A46A24-1A39-40C4-BDEF-CFA7810A2AAE}" destId="{100BB1A8-A75B-46B4-A88C-52BAAA4EA6C2}" srcOrd="0" destOrd="0" presId="urn:microsoft.com/office/officeart/2005/8/layout/hChevron3"/>
    <dgm:cxn modelId="{72105B5F-CE7A-4453-8ABE-41BD72E534BE}" srcId="{5F09BBEB-BCC3-459F-84E8-C3F45965DA09}" destId="{34418343-4F07-404D-BE38-92B2D24B7E05}" srcOrd="1" destOrd="0" parTransId="{A7A8E09D-662C-45E2-9798-75DFCF5AD338}" sibTransId="{492097AD-6096-4A56-ACAB-319019CDAEEB}"/>
    <dgm:cxn modelId="{7E9AAF4F-F86E-4539-8342-B42AC99F5AEA}" type="presOf" srcId="{34418343-4F07-404D-BE38-92B2D24B7E05}" destId="{C41A44A8-F315-467A-BC7A-DF5D204D36AC}" srcOrd="0" destOrd="0" presId="urn:microsoft.com/office/officeart/2005/8/layout/hChevron3"/>
    <dgm:cxn modelId="{D4CE26BC-77E7-45C7-A7B2-153FEC32CCF0}" srcId="{5F09BBEB-BCC3-459F-84E8-C3F45965DA09}" destId="{D9A46A24-1A39-40C4-BDEF-CFA7810A2AAE}" srcOrd="0" destOrd="0" parTransId="{66FFC086-41A2-4587-A80D-C476FEB0A87D}" sibTransId="{F798BDF2-5A93-4BDF-814C-A30D18340DBF}"/>
    <dgm:cxn modelId="{55A360EF-56B4-4E1B-B6DC-788CB3D5C2D3}" type="presOf" srcId="{5F09BBEB-BCC3-459F-84E8-C3F45965DA09}" destId="{5A8139B6-91BE-4CD6-9A26-1E8EB65606D1}" srcOrd="0" destOrd="0" presId="urn:microsoft.com/office/officeart/2005/8/layout/hChevron3"/>
    <dgm:cxn modelId="{DDC0E7FD-96EA-4482-B703-BF8FE526B224}" type="presParOf" srcId="{5A8139B6-91BE-4CD6-9A26-1E8EB65606D1}" destId="{100BB1A8-A75B-46B4-A88C-52BAAA4EA6C2}" srcOrd="0" destOrd="0" presId="urn:microsoft.com/office/officeart/2005/8/layout/hChevron3"/>
    <dgm:cxn modelId="{8A7AB3D9-74DF-4991-94ED-11FEBCFC64DB}" type="presParOf" srcId="{5A8139B6-91BE-4CD6-9A26-1E8EB65606D1}" destId="{F4229669-D6F8-4B59-A4CD-D5346B3C39F1}" srcOrd="1" destOrd="0" presId="urn:microsoft.com/office/officeart/2005/8/layout/hChevron3"/>
    <dgm:cxn modelId="{6B0B2E57-CF46-45C3-B806-CBA9927886B9}" type="presParOf" srcId="{5A8139B6-91BE-4CD6-9A26-1E8EB65606D1}" destId="{C41A44A8-F315-467A-BC7A-DF5D204D36AC}" srcOrd="2" destOrd="0" presId="urn:microsoft.com/office/officeart/2005/8/layout/hChevron3"/>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5F09BBEB-BCC3-459F-84E8-C3F45965DA09}" type="doc">
      <dgm:prSet loTypeId="urn:microsoft.com/office/officeart/2005/8/layout/hChevron3" loCatId="process" qsTypeId="urn:microsoft.com/office/officeart/2005/8/quickstyle/simple1" qsCatId="simple" csTypeId="urn:microsoft.com/office/officeart/2005/8/colors/accent1_2" csCatId="accent1" phldr="1"/>
      <dgm:spPr/>
    </dgm:pt>
    <dgm:pt modelId="{DB686BFB-198E-4000-A208-50B01C895C5D}">
      <dgm:prSet phldrT="[Text]"/>
      <dgm:spPr>
        <a:solidFill>
          <a:schemeClr val="bg2"/>
        </a:solidFill>
      </dgm:spPr>
      <dgm:t>
        <a:bodyPr/>
        <a:lstStyle/>
        <a:p>
          <a:r>
            <a:rPr lang="en-US" dirty="0"/>
            <a:t>Plan</a:t>
          </a:r>
        </a:p>
      </dgm:t>
    </dgm:pt>
    <dgm:pt modelId="{308DC400-404E-42BD-BE70-9AF5501A8294}" type="parTrans" cxnId="{19255C41-D653-4AA7-B5D5-F563627BA0CF}">
      <dgm:prSet/>
      <dgm:spPr/>
      <dgm:t>
        <a:bodyPr/>
        <a:lstStyle/>
        <a:p>
          <a:endParaRPr lang="en-US"/>
        </a:p>
      </dgm:t>
    </dgm:pt>
    <dgm:pt modelId="{71D97F50-AB3B-4D05-8099-47186F345C43}" type="sibTrans" cxnId="{19255C41-D653-4AA7-B5D5-F563627BA0CF}">
      <dgm:prSet/>
      <dgm:spPr/>
      <dgm:t>
        <a:bodyPr/>
        <a:lstStyle/>
        <a:p>
          <a:endParaRPr lang="en-US"/>
        </a:p>
      </dgm:t>
    </dgm:pt>
    <dgm:pt modelId="{28FF80C1-E366-4469-835E-804BEA7EF9E9}">
      <dgm:prSet phldrT="[Text]"/>
      <dgm:spPr>
        <a:solidFill>
          <a:schemeClr val="bg2"/>
        </a:solidFill>
      </dgm:spPr>
      <dgm:t>
        <a:bodyPr/>
        <a:lstStyle/>
        <a:p>
          <a:r>
            <a:rPr lang="en-US" dirty="0"/>
            <a:t>Code</a:t>
          </a:r>
        </a:p>
      </dgm:t>
    </dgm:pt>
    <dgm:pt modelId="{C92A0CD3-241E-488E-AA57-8B6574467E0F}" type="parTrans" cxnId="{CDCFC11C-CFCD-4E79-A72B-8D05C57DADFF}">
      <dgm:prSet/>
      <dgm:spPr/>
      <dgm:t>
        <a:bodyPr/>
        <a:lstStyle/>
        <a:p>
          <a:endParaRPr lang="en-US"/>
        </a:p>
      </dgm:t>
    </dgm:pt>
    <dgm:pt modelId="{91D0DF27-8817-4650-BB53-D21704C7C991}" type="sibTrans" cxnId="{CDCFC11C-CFCD-4E79-A72B-8D05C57DADFF}">
      <dgm:prSet/>
      <dgm:spPr/>
      <dgm:t>
        <a:bodyPr/>
        <a:lstStyle/>
        <a:p>
          <a:endParaRPr lang="en-US"/>
        </a:p>
      </dgm:t>
    </dgm:pt>
    <dgm:pt modelId="{308794B5-59A1-4F06-A19F-19B515FA2D2C}">
      <dgm:prSet phldrT="[Text]"/>
      <dgm:spPr>
        <a:solidFill>
          <a:schemeClr val="bg2"/>
        </a:solidFill>
      </dgm:spPr>
      <dgm:t>
        <a:bodyPr/>
        <a:lstStyle/>
        <a:p>
          <a:r>
            <a:rPr lang="en-US" dirty="0"/>
            <a:t>Build</a:t>
          </a:r>
        </a:p>
      </dgm:t>
    </dgm:pt>
    <dgm:pt modelId="{40A90EE6-40C6-4C1A-975D-8DECA9BC3FD2}" type="parTrans" cxnId="{8635D613-FF8F-4F3F-8F79-7C6A9DD574D3}">
      <dgm:prSet/>
      <dgm:spPr/>
      <dgm:t>
        <a:bodyPr/>
        <a:lstStyle/>
        <a:p>
          <a:endParaRPr lang="en-US"/>
        </a:p>
      </dgm:t>
    </dgm:pt>
    <dgm:pt modelId="{2A857EBE-287F-47BF-BC3B-E1E5F39FA4B7}" type="sibTrans" cxnId="{8635D613-FF8F-4F3F-8F79-7C6A9DD574D3}">
      <dgm:prSet/>
      <dgm:spPr/>
      <dgm:t>
        <a:bodyPr/>
        <a:lstStyle/>
        <a:p>
          <a:endParaRPr lang="en-US"/>
        </a:p>
      </dgm:t>
    </dgm:pt>
    <dgm:pt modelId="{79B60177-2217-4C3E-BFB2-A7F514C11442}">
      <dgm:prSet phldrT="[Text]"/>
      <dgm:spPr/>
      <dgm:t>
        <a:bodyPr/>
        <a:lstStyle/>
        <a:p>
          <a:r>
            <a:rPr lang="en-US" dirty="0"/>
            <a:t>Unit Tests</a:t>
          </a:r>
        </a:p>
      </dgm:t>
    </dgm:pt>
    <dgm:pt modelId="{C0EE4951-222A-4A3C-884C-462AB7405FF1}" type="parTrans" cxnId="{9F73CDB9-E2B2-4C3B-BD07-14E9AE766AC9}">
      <dgm:prSet/>
      <dgm:spPr/>
      <dgm:t>
        <a:bodyPr/>
        <a:lstStyle/>
        <a:p>
          <a:endParaRPr lang="en-US"/>
        </a:p>
      </dgm:t>
    </dgm:pt>
    <dgm:pt modelId="{BB68D18C-C2C2-4B5D-A338-F21AC8AC055A}" type="sibTrans" cxnId="{9F73CDB9-E2B2-4C3B-BD07-14E9AE766AC9}">
      <dgm:prSet/>
      <dgm:spPr/>
      <dgm:t>
        <a:bodyPr/>
        <a:lstStyle/>
        <a:p>
          <a:endParaRPr lang="en-US"/>
        </a:p>
      </dgm:t>
    </dgm:pt>
    <dgm:pt modelId="{EA542168-3CF6-4E7D-BE36-F1874E1A6786}">
      <dgm:prSet phldrT="[Text]"/>
      <dgm:spPr>
        <a:solidFill>
          <a:schemeClr val="bg2"/>
        </a:solidFill>
      </dgm:spPr>
      <dgm:t>
        <a:bodyPr/>
        <a:lstStyle/>
        <a:p>
          <a:r>
            <a:rPr lang="en-US" dirty="0"/>
            <a:t>Artifact publish</a:t>
          </a:r>
        </a:p>
      </dgm:t>
    </dgm:pt>
    <dgm:pt modelId="{0F2809F5-F901-42CC-9BCD-A0A9B96DFE1C}" type="parTrans" cxnId="{A2117A40-75DD-4F93-9B85-0E6C330838BF}">
      <dgm:prSet/>
      <dgm:spPr/>
      <dgm:t>
        <a:bodyPr/>
        <a:lstStyle/>
        <a:p>
          <a:endParaRPr lang="en-US"/>
        </a:p>
      </dgm:t>
    </dgm:pt>
    <dgm:pt modelId="{EFA7C1C5-FEE2-496F-9C35-D5D7E067AD72}" type="sibTrans" cxnId="{A2117A40-75DD-4F93-9B85-0E6C330838BF}">
      <dgm:prSet/>
      <dgm:spPr/>
      <dgm:t>
        <a:bodyPr/>
        <a:lstStyle/>
        <a:p>
          <a:endParaRPr lang="en-US"/>
        </a:p>
      </dgm:t>
    </dgm:pt>
    <dgm:pt modelId="{C2993C98-6A6F-4187-B0C4-7E93C9DD87FA}">
      <dgm:prSet phldrT="[Text]"/>
      <dgm:spPr>
        <a:solidFill>
          <a:schemeClr val="bg2"/>
        </a:solidFill>
      </dgm:spPr>
      <dgm:t>
        <a:bodyPr/>
        <a:lstStyle/>
        <a:p>
          <a:r>
            <a:rPr lang="en-US" dirty="0"/>
            <a:t>Deploy</a:t>
          </a:r>
        </a:p>
      </dgm:t>
    </dgm:pt>
    <dgm:pt modelId="{9CBC2D13-0312-49BE-A158-5EA5D3005C80}" type="parTrans" cxnId="{026B8171-5599-4C67-B63E-7389ED643B06}">
      <dgm:prSet/>
      <dgm:spPr/>
      <dgm:t>
        <a:bodyPr/>
        <a:lstStyle/>
        <a:p>
          <a:endParaRPr lang="en-US"/>
        </a:p>
      </dgm:t>
    </dgm:pt>
    <dgm:pt modelId="{BE740BCE-24A9-4674-AEDF-D364E86B6D22}" type="sibTrans" cxnId="{026B8171-5599-4C67-B63E-7389ED643B06}">
      <dgm:prSet/>
      <dgm:spPr/>
      <dgm:t>
        <a:bodyPr/>
        <a:lstStyle/>
        <a:p>
          <a:endParaRPr lang="en-US"/>
        </a:p>
      </dgm:t>
    </dgm:pt>
    <dgm:pt modelId="{B3D0AF40-C106-41ED-9E6C-46321A70CAAB}">
      <dgm:prSet phldrT="[Text]"/>
      <dgm:spPr>
        <a:solidFill>
          <a:schemeClr val="bg2"/>
        </a:solidFill>
      </dgm:spPr>
      <dgm:t>
        <a:bodyPr/>
        <a:lstStyle/>
        <a:p>
          <a:r>
            <a:rPr lang="en-US" dirty="0"/>
            <a:t>Integration Tests</a:t>
          </a:r>
        </a:p>
      </dgm:t>
    </dgm:pt>
    <dgm:pt modelId="{D2A261CD-44A6-4CD9-BD0E-FC21222598C3}" type="parTrans" cxnId="{FB36DB1D-2A5C-47E1-BD93-3DE6146AF4C7}">
      <dgm:prSet/>
      <dgm:spPr/>
      <dgm:t>
        <a:bodyPr/>
        <a:lstStyle/>
        <a:p>
          <a:endParaRPr lang="en-US"/>
        </a:p>
      </dgm:t>
    </dgm:pt>
    <dgm:pt modelId="{D2A85F37-7CC7-4104-AF88-FFA6A57188E0}" type="sibTrans" cxnId="{FB36DB1D-2A5C-47E1-BD93-3DE6146AF4C7}">
      <dgm:prSet/>
      <dgm:spPr/>
      <dgm:t>
        <a:bodyPr/>
        <a:lstStyle/>
        <a:p>
          <a:endParaRPr lang="en-US"/>
        </a:p>
      </dgm:t>
    </dgm:pt>
    <dgm:pt modelId="{A37E9E2F-421E-4906-9EA5-4D3D0039337B}">
      <dgm:prSet phldrT="[Text]"/>
      <dgm:spPr>
        <a:solidFill>
          <a:schemeClr val="bg2"/>
        </a:solidFill>
      </dgm:spPr>
      <dgm:t>
        <a:bodyPr/>
        <a:lstStyle/>
        <a:p>
          <a:r>
            <a:rPr lang="en-US" dirty="0"/>
            <a:t>Code Coverage and </a:t>
          </a:r>
          <a:r>
            <a:rPr lang="en-US" dirty="0" err="1"/>
            <a:t>Vulerabilities</a:t>
          </a:r>
          <a:endParaRPr lang="en-US" dirty="0"/>
        </a:p>
      </dgm:t>
    </dgm:pt>
    <dgm:pt modelId="{CE6AC0C5-5287-487A-AA5B-84A420F4BCCF}" type="parTrans" cxnId="{BFE1E3BA-C15C-41DC-AAD8-92F9635D6BF2}">
      <dgm:prSet/>
      <dgm:spPr/>
      <dgm:t>
        <a:bodyPr/>
        <a:lstStyle/>
        <a:p>
          <a:endParaRPr lang="en-US"/>
        </a:p>
      </dgm:t>
    </dgm:pt>
    <dgm:pt modelId="{FB9F0D44-060C-450B-95E1-4D0DFC8E216B}" type="sibTrans" cxnId="{BFE1E3BA-C15C-41DC-AAD8-92F9635D6BF2}">
      <dgm:prSet/>
      <dgm:spPr/>
      <dgm:t>
        <a:bodyPr/>
        <a:lstStyle/>
        <a:p>
          <a:endParaRPr lang="en-US"/>
        </a:p>
      </dgm:t>
    </dgm:pt>
    <dgm:pt modelId="{244AB1FE-452B-48D8-8768-3BA11F7CDA2F}">
      <dgm:prSet phldrT="[Text]"/>
      <dgm:spPr>
        <a:solidFill>
          <a:schemeClr val="bg2"/>
        </a:solidFill>
      </dgm:spPr>
      <dgm:t>
        <a:bodyPr/>
        <a:lstStyle/>
        <a:p>
          <a:r>
            <a:rPr lang="en-US" dirty="0"/>
            <a:t>E2E Tests</a:t>
          </a:r>
        </a:p>
      </dgm:t>
    </dgm:pt>
    <dgm:pt modelId="{3AB6269D-FE5C-4FEF-9E3C-39AACC7EF09F}" type="parTrans" cxnId="{2CB7CF59-FCF1-4ACB-AC42-B02F3DA6E02C}">
      <dgm:prSet/>
      <dgm:spPr/>
      <dgm:t>
        <a:bodyPr/>
        <a:lstStyle/>
        <a:p>
          <a:endParaRPr lang="en-US"/>
        </a:p>
      </dgm:t>
    </dgm:pt>
    <dgm:pt modelId="{102BEBE8-1030-474E-80E3-A8F484E4F6D3}" type="sibTrans" cxnId="{2CB7CF59-FCF1-4ACB-AC42-B02F3DA6E02C}">
      <dgm:prSet/>
      <dgm:spPr/>
      <dgm:t>
        <a:bodyPr/>
        <a:lstStyle/>
        <a:p>
          <a:endParaRPr lang="en-US"/>
        </a:p>
      </dgm:t>
    </dgm:pt>
    <dgm:pt modelId="{C6B3F507-2D2A-4DC6-AC05-4B9C92757C16}">
      <dgm:prSet phldrT="[Text]"/>
      <dgm:spPr>
        <a:solidFill>
          <a:schemeClr val="bg2"/>
        </a:solidFill>
      </dgm:spPr>
      <dgm:t>
        <a:bodyPr/>
        <a:lstStyle/>
        <a:p>
          <a:r>
            <a:rPr lang="en-US" dirty="0"/>
            <a:t>Deploy and Release</a:t>
          </a:r>
        </a:p>
      </dgm:t>
    </dgm:pt>
    <dgm:pt modelId="{DE8F853C-71D4-4D0D-9A17-D8B374D814FD}" type="parTrans" cxnId="{2287F43C-9B45-4B41-8BD5-84AFAA7B2870}">
      <dgm:prSet/>
      <dgm:spPr/>
      <dgm:t>
        <a:bodyPr/>
        <a:lstStyle/>
        <a:p>
          <a:endParaRPr lang="en-US"/>
        </a:p>
      </dgm:t>
    </dgm:pt>
    <dgm:pt modelId="{D0C75D6A-40FE-4179-9416-F5DC0E331C7F}" type="sibTrans" cxnId="{2287F43C-9B45-4B41-8BD5-84AFAA7B2870}">
      <dgm:prSet/>
      <dgm:spPr/>
      <dgm:t>
        <a:bodyPr/>
        <a:lstStyle/>
        <a:p>
          <a:endParaRPr lang="en-US"/>
        </a:p>
      </dgm:t>
    </dgm:pt>
    <dgm:pt modelId="{5A8139B6-91BE-4CD6-9A26-1E8EB65606D1}" type="pres">
      <dgm:prSet presAssocID="{5F09BBEB-BCC3-459F-84E8-C3F45965DA09}" presName="Name0" presStyleCnt="0">
        <dgm:presLayoutVars>
          <dgm:dir/>
          <dgm:resizeHandles val="exact"/>
        </dgm:presLayoutVars>
      </dgm:prSet>
      <dgm:spPr/>
    </dgm:pt>
    <dgm:pt modelId="{E758B83E-CFEC-43EC-AF0D-E790A3C16319}" type="pres">
      <dgm:prSet presAssocID="{DB686BFB-198E-4000-A208-50B01C895C5D}" presName="parTxOnly" presStyleLbl="node1" presStyleIdx="0" presStyleCnt="10">
        <dgm:presLayoutVars>
          <dgm:bulletEnabled val="1"/>
        </dgm:presLayoutVars>
      </dgm:prSet>
      <dgm:spPr/>
    </dgm:pt>
    <dgm:pt modelId="{8B0AB190-C0DA-4BC9-AB8E-FC2ED0D56206}" type="pres">
      <dgm:prSet presAssocID="{71D97F50-AB3B-4D05-8099-47186F345C43}" presName="parSpace" presStyleCnt="0"/>
      <dgm:spPr/>
    </dgm:pt>
    <dgm:pt modelId="{57F52E1E-2C2F-47A9-A6D9-CB7537BF727C}" type="pres">
      <dgm:prSet presAssocID="{28FF80C1-E366-4469-835E-804BEA7EF9E9}" presName="parTxOnly" presStyleLbl="node1" presStyleIdx="1" presStyleCnt="10">
        <dgm:presLayoutVars>
          <dgm:bulletEnabled val="1"/>
        </dgm:presLayoutVars>
      </dgm:prSet>
      <dgm:spPr/>
    </dgm:pt>
    <dgm:pt modelId="{23AB88B7-C798-42E5-B3C5-6FD5532695B1}" type="pres">
      <dgm:prSet presAssocID="{91D0DF27-8817-4650-BB53-D21704C7C991}" presName="parSpace" presStyleCnt="0"/>
      <dgm:spPr/>
    </dgm:pt>
    <dgm:pt modelId="{0D14839E-F7AA-41F1-8F21-377D4525EA32}" type="pres">
      <dgm:prSet presAssocID="{308794B5-59A1-4F06-A19F-19B515FA2D2C}" presName="parTxOnly" presStyleLbl="node1" presStyleIdx="2" presStyleCnt="10">
        <dgm:presLayoutVars>
          <dgm:bulletEnabled val="1"/>
        </dgm:presLayoutVars>
      </dgm:prSet>
      <dgm:spPr/>
    </dgm:pt>
    <dgm:pt modelId="{6FCAC6DE-3B61-4FC5-BCC0-E4629EF4789A}" type="pres">
      <dgm:prSet presAssocID="{2A857EBE-287F-47BF-BC3B-E1E5F39FA4B7}" presName="parSpace" presStyleCnt="0"/>
      <dgm:spPr/>
    </dgm:pt>
    <dgm:pt modelId="{AC1BF143-926D-45ED-A5A3-43D05A5B5E05}" type="pres">
      <dgm:prSet presAssocID="{79B60177-2217-4C3E-BFB2-A7F514C11442}" presName="parTxOnly" presStyleLbl="node1" presStyleIdx="3" presStyleCnt="10">
        <dgm:presLayoutVars>
          <dgm:bulletEnabled val="1"/>
        </dgm:presLayoutVars>
      </dgm:prSet>
      <dgm:spPr/>
    </dgm:pt>
    <dgm:pt modelId="{0DE0C2D5-A75D-4380-B806-1FCE20FD6100}" type="pres">
      <dgm:prSet presAssocID="{BB68D18C-C2C2-4B5D-A338-F21AC8AC055A}" presName="parSpace" presStyleCnt="0"/>
      <dgm:spPr/>
    </dgm:pt>
    <dgm:pt modelId="{FAC99AAC-4206-4C8D-B75A-31CCAA24369E}" type="pres">
      <dgm:prSet presAssocID="{A37E9E2F-421E-4906-9EA5-4D3D0039337B}" presName="parTxOnly" presStyleLbl="node1" presStyleIdx="4" presStyleCnt="10">
        <dgm:presLayoutVars>
          <dgm:bulletEnabled val="1"/>
        </dgm:presLayoutVars>
      </dgm:prSet>
      <dgm:spPr/>
    </dgm:pt>
    <dgm:pt modelId="{C7EB8198-0BBC-4800-A04C-5A838FD89335}" type="pres">
      <dgm:prSet presAssocID="{FB9F0D44-060C-450B-95E1-4D0DFC8E216B}" presName="parSpace" presStyleCnt="0"/>
      <dgm:spPr/>
    </dgm:pt>
    <dgm:pt modelId="{EECB13DF-38FD-4199-93B9-448461C16185}" type="pres">
      <dgm:prSet presAssocID="{EA542168-3CF6-4E7D-BE36-F1874E1A6786}" presName="parTxOnly" presStyleLbl="node1" presStyleIdx="5" presStyleCnt="10">
        <dgm:presLayoutVars>
          <dgm:bulletEnabled val="1"/>
        </dgm:presLayoutVars>
      </dgm:prSet>
      <dgm:spPr/>
    </dgm:pt>
    <dgm:pt modelId="{E374F486-FB19-41B2-A0F0-48FB5502A237}" type="pres">
      <dgm:prSet presAssocID="{EFA7C1C5-FEE2-496F-9C35-D5D7E067AD72}" presName="parSpace" presStyleCnt="0"/>
      <dgm:spPr/>
    </dgm:pt>
    <dgm:pt modelId="{1C920BC9-2570-439E-8481-8C6F1CB98E73}" type="pres">
      <dgm:prSet presAssocID="{C2993C98-6A6F-4187-B0C4-7E93C9DD87FA}" presName="parTxOnly" presStyleLbl="node1" presStyleIdx="6" presStyleCnt="10">
        <dgm:presLayoutVars>
          <dgm:bulletEnabled val="1"/>
        </dgm:presLayoutVars>
      </dgm:prSet>
      <dgm:spPr/>
    </dgm:pt>
    <dgm:pt modelId="{83CF4DA9-86E0-4AE4-94AE-6C72C4A1D2F8}" type="pres">
      <dgm:prSet presAssocID="{BE740BCE-24A9-4674-AEDF-D364E86B6D22}" presName="parSpace" presStyleCnt="0"/>
      <dgm:spPr/>
    </dgm:pt>
    <dgm:pt modelId="{E8BBFEEE-B21B-4C1D-846B-B89F01B73A44}" type="pres">
      <dgm:prSet presAssocID="{B3D0AF40-C106-41ED-9E6C-46321A70CAAB}" presName="parTxOnly" presStyleLbl="node1" presStyleIdx="7" presStyleCnt="10">
        <dgm:presLayoutVars>
          <dgm:bulletEnabled val="1"/>
        </dgm:presLayoutVars>
      </dgm:prSet>
      <dgm:spPr/>
    </dgm:pt>
    <dgm:pt modelId="{79E1544A-52D1-4DF3-B1EF-1D7B51F38FFB}" type="pres">
      <dgm:prSet presAssocID="{D2A85F37-7CC7-4104-AF88-FFA6A57188E0}" presName="parSpace" presStyleCnt="0"/>
      <dgm:spPr/>
    </dgm:pt>
    <dgm:pt modelId="{2297D37F-06A9-4D3B-9E7D-1BFE806033E6}" type="pres">
      <dgm:prSet presAssocID="{244AB1FE-452B-48D8-8768-3BA11F7CDA2F}" presName="parTxOnly" presStyleLbl="node1" presStyleIdx="8" presStyleCnt="10">
        <dgm:presLayoutVars>
          <dgm:bulletEnabled val="1"/>
        </dgm:presLayoutVars>
      </dgm:prSet>
      <dgm:spPr/>
    </dgm:pt>
    <dgm:pt modelId="{860E36E1-9B69-4A8E-B7F1-1A203219B22F}" type="pres">
      <dgm:prSet presAssocID="{102BEBE8-1030-474E-80E3-A8F484E4F6D3}" presName="parSpace" presStyleCnt="0"/>
      <dgm:spPr/>
    </dgm:pt>
    <dgm:pt modelId="{8BF2E94A-9EDA-4D1B-B447-B22DF4954F6F}" type="pres">
      <dgm:prSet presAssocID="{C6B3F507-2D2A-4DC6-AC05-4B9C92757C16}" presName="parTxOnly" presStyleLbl="node1" presStyleIdx="9" presStyleCnt="10">
        <dgm:presLayoutVars>
          <dgm:bulletEnabled val="1"/>
        </dgm:presLayoutVars>
      </dgm:prSet>
      <dgm:spPr/>
    </dgm:pt>
  </dgm:ptLst>
  <dgm:cxnLst>
    <dgm:cxn modelId="{8635D613-FF8F-4F3F-8F79-7C6A9DD574D3}" srcId="{5F09BBEB-BCC3-459F-84E8-C3F45965DA09}" destId="{308794B5-59A1-4F06-A19F-19B515FA2D2C}" srcOrd="2" destOrd="0" parTransId="{40A90EE6-40C6-4C1A-975D-8DECA9BC3FD2}" sibTransId="{2A857EBE-287F-47BF-BC3B-E1E5F39FA4B7}"/>
    <dgm:cxn modelId="{7498D815-AE35-4CC1-87A5-4E163067D50B}" type="presOf" srcId="{C2993C98-6A6F-4187-B0C4-7E93C9DD87FA}" destId="{1C920BC9-2570-439E-8481-8C6F1CB98E73}" srcOrd="0" destOrd="0" presId="urn:microsoft.com/office/officeart/2005/8/layout/hChevron3"/>
    <dgm:cxn modelId="{CDCFC11C-CFCD-4E79-A72B-8D05C57DADFF}" srcId="{5F09BBEB-BCC3-459F-84E8-C3F45965DA09}" destId="{28FF80C1-E366-4469-835E-804BEA7EF9E9}" srcOrd="1" destOrd="0" parTransId="{C92A0CD3-241E-488E-AA57-8B6574467E0F}" sibTransId="{91D0DF27-8817-4650-BB53-D21704C7C991}"/>
    <dgm:cxn modelId="{FB36DB1D-2A5C-47E1-BD93-3DE6146AF4C7}" srcId="{5F09BBEB-BCC3-459F-84E8-C3F45965DA09}" destId="{B3D0AF40-C106-41ED-9E6C-46321A70CAAB}" srcOrd="7" destOrd="0" parTransId="{D2A261CD-44A6-4CD9-BD0E-FC21222598C3}" sibTransId="{D2A85F37-7CC7-4104-AF88-FFA6A57188E0}"/>
    <dgm:cxn modelId="{73D5EB2C-4DDA-469C-82CB-EB293E5A841C}" type="presOf" srcId="{A37E9E2F-421E-4906-9EA5-4D3D0039337B}" destId="{FAC99AAC-4206-4C8D-B75A-31CCAA24369E}" srcOrd="0" destOrd="0" presId="urn:microsoft.com/office/officeart/2005/8/layout/hChevron3"/>
    <dgm:cxn modelId="{BFE78C36-D48C-4ADF-B40F-FDA60F1CAFF1}" type="presOf" srcId="{308794B5-59A1-4F06-A19F-19B515FA2D2C}" destId="{0D14839E-F7AA-41F1-8F21-377D4525EA32}" srcOrd="0" destOrd="0" presId="urn:microsoft.com/office/officeart/2005/8/layout/hChevron3"/>
    <dgm:cxn modelId="{2287F43C-9B45-4B41-8BD5-84AFAA7B2870}" srcId="{5F09BBEB-BCC3-459F-84E8-C3F45965DA09}" destId="{C6B3F507-2D2A-4DC6-AC05-4B9C92757C16}" srcOrd="9" destOrd="0" parTransId="{DE8F853C-71D4-4D0D-9A17-D8B374D814FD}" sibTransId="{D0C75D6A-40FE-4179-9416-F5DC0E331C7F}"/>
    <dgm:cxn modelId="{A2117A40-75DD-4F93-9B85-0E6C330838BF}" srcId="{5F09BBEB-BCC3-459F-84E8-C3F45965DA09}" destId="{EA542168-3CF6-4E7D-BE36-F1874E1A6786}" srcOrd="5" destOrd="0" parTransId="{0F2809F5-F901-42CC-9BCD-A0A9B96DFE1C}" sibTransId="{EFA7C1C5-FEE2-496F-9C35-D5D7E067AD72}"/>
    <dgm:cxn modelId="{22FE0D61-FA1A-4575-9EA7-0847D35FB40F}" type="presOf" srcId="{244AB1FE-452B-48D8-8768-3BA11F7CDA2F}" destId="{2297D37F-06A9-4D3B-9E7D-1BFE806033E6}" srcOrd="0" destOrd="0" presId="urn:microsoft.com/office/officeart/2005/8/layout/hChevron3"/>
    <dgm:cxn modelId="{19255C41-D653-4AA7-B5D5-F563627BA0CF}" srcId="{5F09BBEB-BCC3-459F-84E8-C3F45965DA09}" destId="{DB686BFB-198E-4000-A208-50B01C895C5D}" srcOrd="0" destOrd="0" parTransId="{308DC400-404E-42BD-BE70-9AF5501A8294}" sibTransId="{71D97F50-AB3B-4D05-8099-47186F345C43}"/>
    <dgm:cxn modelId="{F9DECC50-2A9D-4CCE-A94B-38F80FBC12B2}" type="presOf" srcId="{DB686BFB-198E-4000-A208-50B01C895C5D}" destId="{E758B83E-CFEC-43EC-AF0D-E790A3C16319}" srcOrd="0" destOrd="0" presId="urn:microsoft.com/office/officeart/2005/8/layout/hChevron3"/>
    <dgm:cxn modelId="{026B8171-5599-4C67-B63E-7389ED643B06}" srcId="{5F09BBEB-BCC3-459F-84E8-C3F45965DA09}" destId="{C2993C98-6A6F-4187-B0C4-7E93C9DD87FA}" srcOrd="6" destOrd="0" parTransId="{9CBC2D13-0312-49BE-A158-5EA5D3005C80}" sibTransId="{BE740BCE-24A9-4674-AEDF-D364E86B6D22}"/>
    <dgm:cxn modelId="{2CB7CF59-FCF1-4ACB-AC42-B02F3DA6E02C}" srcId="{5F09BBEB-BCC3-459F-84E8-C3F45965DA09}" destId="{244AB1FE-452B-48D8-8768-3BA11F7CDA2F}" srcOrd="8" destOrd="0" parTransId="{3AB6269D-FE5C-4FEF-9E3C-39AACC7EF09F}" sibTransId="{102BEBE8-1030-474E-80E3-A8F484E4F6D3}"/>
    <dgm:cxn modelId="{6023F593-FCF4-43E2-85CE-AD10542CEE88}" type="presOf" srcId="{C6B3F507-2D2A-4DC6-AC05-4B9C92757C16}" destId="{8BF2E94A-9EDA-4D1B-B447-B22DF4954F6F}" srcOrd="0" destOrd="0" presId="urn:microsoft.com/office/officeart/2005/8/layout/hChevron3"/>
    <dgm:cxn modelId="{766E6C9B-742C-442E-8172-8BF8D40AD199}" type="presOf" srcId="{79B60177-2217-4C3E-BFB2-A7F514C11442}" destId="{AC1BF143-926D-45ED-A5A3-43D05A5B5E05}" srcOrd="0" destOrd="0" presId="urn:microsoft.com/office/officeart/2005/8/layout/hChevron3"/>
    <dgm:cxn modelId="{9F73CDB9-E2B2-4C3B-BD07-14E9AE766AC9}" srcId="{5F09BBEB-BCC3-459F-84E8-C3F45965DA09}" destId="{79B60177-2217-4C3E-BFB2-A7F514C11442}" srcOrd="3" destOrd="0" parTransId="{C0EE4951-222A-4A3C-884C-462AB7405FF1}" sibTransId="{BB68D18C-C2C2-4B5D-A338-F21AC8AC055A}"/>
    <dgm:cxn modelId="{BFE1E3BA-C15C-41DC-AAD8-92F9635D6BF2}" srcId="{5F09BBEB-BCC3-459F-84E8-C3F45965DA09}" destId="{A37E9E2F-421E-4906-9EA5-4D3D0039337B}" srcOrd="4" destOrd="0" parTransId="{CE6AC0C5-5287-487A-AA5B-84A420F4BCCF}" sibTransId="{FB9F0D44-060C-450B-95E1-4D0DFC8E216B}"/>
    <dgm:cxn modelId="{972F8AC6-E642-4970-B4CF-B938DF3C94A2}" type="presOf" srcId="{28FF80C1-E366-4469-835E-804BEA7EF9E9}" destId="{57F52E1E-2C2F-47A9-A6D9-CB7537BF727C}" srcOrd="0" destOrd="0" presId="urn:microsoft.com/office/officeart/2005/8/layout/hChevron3"/>
    <dgm:cxn modelId="{178236CB-EF09-4173-8EBE-FC737AED0D85}" type="presOf" srcId="{EA542168-3CF6-4E7D-BE36-F1874E1A6786}" destId="{EECB13DF-38FD-4199-93B9-448461C16185}" srcOrd="0" destOrd="0" presId="urn:microsoft.com/office/officeart/2005/8/layout/hChevron3"/>
    <dgm:cxn modelId="{6C1C96E4-80FF-48EC-9B74-7A88917D15EF}" type="presOf" srcId="{B3D0AF40-C106-41ED-9E6C-46321A70CAAB}" destId="{E8BBFEEE-B21B-4C1D-846B-B89F01B73A44}" srcOrd="0" destOrd="0" presId="urn:microsoft.com/office/officeart/2005/8/layout/hChevron3"/>
    <dgm:cxn modelId="{55A360EF-56B4-4E1B-B6DC-788CB3D5C2D3}" type="presOf" srcId="{5F09BBEB-BCC3-459F-84E8-C3F45965DA09}" destId="{5A8139B6-91BE-4CD6-9A26-1E8EB65606D1}" srcOrd="0" destOrd="0" presId="urn:microsoft.com/office/officeart/2005/8/layout/hChevron3"/>
    <dgm:cxn modelId="{F7229797-FA27-4730-8A33-B779CCDC5C3C}" type="presParOf" srcId="{5A8139B6-91BE-4CD6-9A26-1E8EB65606D1}" destId="{E758B83E-CFEC-43EC-AF0D-E790A3C16319}" srcOrd="0" destOrd="0" presId="urn:microsoft.com/office/officeart/2005/8/layout/hChevron3"/>
    <dgm:cxn modelId="{797CD30E-B045-4A2A-A262-5FA3F2383F0E}" type="presParOf" srcId="{5A8139B6-91BE-4CD6-9A26-1E8EB65606D1}" destId="{8B0AB190-C0DA-4BC9-AB8E-FC2ED0D56206}" srcOrd="1" destOrd="0" presId="urn:microsoft.com/office/officeart/2005/8/layout/hChevron3"/>
    <dgm:cxn modelId="{8350EBD2-82F9-43A1-8271-7B3C2601C7FF}" type="presParOf" srcId="{5A8139B6-91BE-4CD6-9A26-1E8EB65606D1}" destId="{57F52E1E-2C2F-47A9-A6D9-CB7537BF727C}" srcOrd="2" destOrd="0" presId="urn:microsoft.com/office/officeart/2005/8/layout/hChevron3"/>
    <dgm:cxn modelId="{065A1536-B084-4DE2-9756-A8BD56653EAA}" type="presParOf" srcId="{5A8139B6-91BE-4CD6-9A26-1E8EB65606D1}" destId="{23AB88B7-C798-42E5-B3C5-6FD5532695B1}" srcOrd="3" destOrd="0" presId="urn:microsoft.com/office/officeart/2005/8/layout/hChevron3"/>
    <dgm:cxn modelId="{900BF689-8BEA-4E5F-86F5-16B928223239}" type="presParOf" srcId="{5A8139B6-91BE-4CD6-9A26-1E8EB65606D1}" destId="{0D14839E-F7AA-41F1-8F21-377D4525EA32}" srcOrd="4" destOrd="0" presId="urn:microsoft.com/office/officeart/2005/8/layout/hChevron3"/>
    <dgm:cxn modelId="{FDD11ECE-9527-4A81-A422-BB7C9D8AFA6A}" type="presParOf" srcId="{5A8139B6-91BE-4CD6-9A26-1E8EB65606D1}" destId="{6FCAC6DE-3B61-4FC5-BCC0-E4629EF4789A}" srcOrd="5" destOrd="0" presId="urn:microsoft.com/office/officeart/2005/8/layout/hChevron3"/>
    <dgm:cxn modelId="{3C10773A-398D-41D7-B997-F0F842EF9BCD}" type="presParOf" srcId="{5A8139B6-91BE-4CD6-9A26-1E8EB65606D1}" destId="{AC1BF143-926D-45ED-A5A3-43D05A5B5E05}" srcOrd="6" destOrd="0" presId="urn:microsoft.com/office/officeart/2005/8/layout/hChevron3"/>
    <dgm:cxn modelId="{CC76DA5B-FB4F-4410-8237-D6E32C8F3069}" type="presParOf" srcId="{5A8139B6-91BE-4CD6-9A26-1E8EB65606D1}" destId="{0DE0C2D5-A75D-4380-B806-1FCE20FD6100}" srcOrd="7" destOrd="0" presId="urn:microsoft.com/office/officeart/2005/8/layout/hChevron3"/>
    <dgm:cxn modelId="{F2E2E515-6858-4F8B-B7EC-AA286C5DFF3C}" type="presParOf" srcId="{5A8139B6-91BE-4CD6-9A26-1E8EB65606D1}" destId="{FAC99AAC-4206-4C8D-B75A-31CCAA24369E}" srcOrd="8" destOrd="0" presId="urn:microsoft.com/office/officeart/2005/8/layout/hChevron3"/>
    <dgm:cxn modelId="{7A259C44-7F18-419D-B25D-87D26844FD0A}" type="presParOf" srcId="{5A8139B6-91BE-4CD6-9A26-1E8EB65606D1}" destId="{C7EB8198-0BBC-4800-A04C-5A838FD89335}" srcOrd="9" destOrd="0" presId="urn:microsoft.com/office/officeart/2005/8/layout/hChevron3"/>
    <dgm:cxn modelId="{1DB9D684-FDF1-4485-8F05-243A582343B3}" type="presParOf" srcId="{5A8139B6-91BE-4CD6-9A26-1E8EB65606D1}" destId="{EECB13DF-38FD-4199-93B9-448461C16185}" srcOrd="10" destOrd="0" presId="urn:microsoft.com/office/officeart/2005/8/layout/hChevron3"/>
    <dgm:cxn modelId="{F9BC0876-B7B1-4E36-866A-621301818E4D}" type="presParOf" srcId="{5A8139B6-91BE-4CD6-9A26-1E8EB65606D1}" destId="{E374F486-FB19-41B2-A0F0-48FB5502A237}" srcOrd="11" destOrd="0" presId="urn:microsoft.com/office/officeart/2005/8/layout/hChevron3"/>
    <dgm:cxn modelId="{68901253-C80F-4309-BEEB-846BF429E040}" type="presParOf" srcId="{5A8139B6-91BE-4CD6-9A26-1E8EB65606D1}" destId="{1C920BC9-2570-439E-8481-8C6F1CB98E73}" srcOrd="12" destOrd="0" presId="urn:microsoft.com/office/officeart/2005/8/layout/hChevron3"/>
    <dgm:cxn modelId="{5EB9676F-FACE-4045-893B-ED5656605287}" type="presParOf" srcId="{5A8139B6-91BE-4CD6-9A26-1E8EB65606D1}" destId="{83CF4DA9-86E0-4AE4-94AE-6C72C4A1D2F8}" srcOrd="13" destOrd="0" presId="urn:microsoft.com/office/officeart/2005/8/layout/hChevron3"/>
    <dgm:cxn modelId="{BC6C1E01-C648-40BB-BFCB-9AB904C2A097}" type="presParOf" srcId="{5A8139B6-91BE-4CD6-9A26-1E8EB65606D1}" destId="{E8BBFEEE-B21B-4C1D-846B-B89F01B73A44}" srcOrd="14" destOrd="0" presId="urn:microsoft.com/office/officeart/2005/8/layout/hChevron3"/>
    <dgm:cxn modelId="{0B6B22D8-7F48-4240-8E4C-779E49ED37CA}" type="presParOf" srcId="{5A8139B6-91BE-4CD6-9A26-1E8EB65606D1}" destId="{79E1544A-52D1-4DF3-B1EF-1D7B51F38FFB}" srcOrd="15" destOrd="0" presId="urn:microsoft.com/office/officeart/2005/8/layout/hChevron3"/>
    <dgm:cxn modelId="{3EC2B338-A00C-4A6E-975E-8084F004117A}" type="presParOf" srcId="{5A8139B6-91BE-4CD6-9A26-1E8EB65606D1}" destId="{2297D37F-06A9-4D3B-9E7D-1BFE806033E6}" srcOrd="16" destOrd="0" presId="urn:microsoft.com/office/officeart/2005/8/layout/hChevron3"/>
    <dgm:cxn modelId="{430BCF5F-58E7-4BD0-88BD-64AD6818FB00}" type="presParOf" srcId="{5A8139B6-91BE-4CD6-9A26-1E8EB65606D1}" destId="{860E36E1-9B69-4A8E-B7F1-1A203219B22F}" srcOrd="17" destOrd="0" presId="urn:microsoft.com/office/officeart/2005/8/layout/hChevron3"/>
    <dgm:cxn modelId="{2455F435-7A6F-438C-8A67-346DE979ECE7}" type="presParOf" srcId="{5A8139B6-91BE-4CD6-9A26-1E8EB65606D1}" destId="{8BF2E94A-9EDA-4D1B-B447-B22DF4954F6F}" srcOrd="18" destOrd="0" presId="urn:microsoft.com/office/officeart/2005/8/layout/hChevron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5F09BBEB-BCC3-459F-84E8-C3F45965DA09}" type="doc">
      <dgm:prSet loTypeId="urn:microsoft.com/office/officeart/2005/8/layout/hChevron3" loCatId="process" qsTypeId="urn:microsoft.com/office/officeart/2005/8/quickstyle/simple1" qsCatId="simple" csTypeId="urn:microsoft.com/office/officeart/2005/8/colors/accent1_2" csCatId="accent1" phldr="1"/>
      <dgm:spPr/>
    </dgm:pt>
    <dgm:pt modelId="{D9A46A24-1A39-40C4-BDEF-CFA7810A2AAE}">
      <dgm:prSet custT="1"/>
      <dgm:spPr>
        <a:solidFill>
          <a:schemeClr val="bg2"/>
        </a:solidFill>
      </dgm:spPr>
      <dgm:t>
        <a:bodyPr/>
        <a:lstStyle/>
        <a:p>
          <a:r>
            <a:rPr lang="en-US" sz="1800" dirty="0"/>
            <a:t>Continuous Integration</a:t>
          </a:r>
        </a:p>
      </dgm:t>
    </dgm:pt>
    <dgm:pt modelId="{66FFC086-41A2-4587-A80D-C476FEB0A87D}" type="parTrans" cxnId="{D4CE26BC-77E7-45C7-A7B2-153FEC32CCF0}">
      <dgm:prSet/>
      <dgm:spPr/>
      <dgm:t>
        <a:bodyPr/>
        <a:lstStyle/>
        <a:p>
          <a:endParaRPr lang="en-US" sz="1200"/>
        </a:p>
      </dgm:t>
    </dgm:pt>
    <dgm:pt modelId="{F798BDF2-5A93-4BDF-814C-A30D18340DBF}" type="sibTrans" cxnId="{D4CE26BC-77E7-45C7-A7B2-153FEC32CCF0}">
      <dgm:prSet/>
      <dgm:spPr/>
      <dgm:t>
        <a:bodyPr/>
        <a:lstStyle/>
        <a:p>
          <a:endParaRPr lang="en-US" sz="1200"/>
        </a:p>
      </dgm:t>
    </dgm:pt>
    <dgm:pt modelId="{34418343-4F07-404D-BE38-92B2D24B7E05}">
      <dgm:prSet custT="1"/>
      <dgm:spPr>
        <a:solidFill>
          <a:schemeClr val="bg2"/>
        </a:solidFill>
      </dgm:spPr>
      <dgm:t>
        <a:bodyPr/>
        <a:lstStyle/>
        <a:p>
          <a:r>
            <a:rPr lang="en-US" sz="1800" dirty="0"/>
            <a:t>Continuous Delivery</a:t>
          </a:r>
        </a:p>
      </dgm:t>
    </dgm:pt>
    <dgm:pt modelId="{A7A8E09D-662C-45E2-9798-75DFCF5AD338}" type="parTrans" cxnId="{72105B5F-CE7A-4453-8ABE-41BD72E534BE}">
      <dgm:prSet/>
      <dgm:spPr/>
      <dgm:t>
        <a:bodyPr/>
        <a:lstStyle/>
        <a:p>
          <a:endParaRPr lang="en-US" sz="1200"/>
        </a:p>
      </dgm:t>
    </dgm:pt>
    <dgm:pt modelId="{492097AD-6096-4A56-ACAB-319019CDAEEB}" type="sibTrans" cxnId="{72105B5F-CE7A-4453-8ABE-41BD72E534BE}">
      <dgm:prSet/>
      <dgm:spPr/>
      <dgm:t>
        <a:bodyPr/>
        <a:lstStyle/>
        <a:p>
          <a:endParaRPr lang="en-US" sz="1200"/>
        </a:p>
      </dgm:t>
    </dgm:pt>
    <dgm:pt modelId="{5A8139B6-91BE-4CD6-9A26-1E8EB65606D1}" type="pres">
      <dgm:prSet presAssocID="{5F09BBEB-BCC3-459F-84E8-C3F45965DA09}" presName="Name0" presStyleCnt="0">
        <dgm:presLayoutVars>
          <dgm:dir/>
          <dgm:resizeHandles val="exact"/>
        </dgm:presLayoutVars>
      </dgm:prSet>
      <dgm:spPr/>
    </dgm:pt>
    <dgm:pt modelId="{100BB1A8-A75B-46B4-A88C-52BAAA4EA6C2}" type="pres">
      <dgm:prSet presAssocID="{D9A46A24-1A39-40C4-BDEF-CFA7810A2AAE}" presName="parTxOnly" presStyleLbl="node1" presStyleIdx="0" presStyleCnt="2" custScaleX="58075" custLinFactNeighborX="-40788" custLinFactNeighborY="7816">
        <dgm:presLayoutVars>
          <dgm:bulletEnabled val="1"/>
        </dgm:presLayoutVars>
      </dgm:prSet>
      <dgm:spPr/>
    </dgm:pt>
    <dgm:pt modelId="{F4229669-D6F8-4B59-A4CD-D5346B3C39F1}" type="pres">
      <dgm:prSet presAssocID="{F798BDF2-5A93-4BDF-814C-A30D18340DBF}" presName="parSpace" presStyleCnt="0"/>
      <dgm:spPr/>
    </dgm:pt>
    <dgm:pt modelId="{C41A44A8-F315-467A-BC7A-DF5D204D36AC}" type="pres">
      <dgm:prSet presAssocID="{34418343-4F07-404D-BE38-92B2D24B7E05}" presName="parTxOnly" presStyleLbl="node1" presStyleIdx="1" presStyleCnt="2" custScaleX="45034" custLinFactNeighborX="35969" custLinFactNeighborY="-3574">
        <dgm:presLayoutVars>
          <dgm:bulletEnabled val="1"/>
        </dgm:presLayoutVars>
      </dgm:prSet>
      <dgm:spPr/>
    </dgm:pt>
  </dgm:ptLst>
  <dgm:cxnLst>
    <dgm:cxn modelId="{3F1E4133-2A1E-4235-9328-E58716960D9C}" type="presOf" srcId="{D9A46A24-1A39-40C4-BDEF-CFA7810A2AAE}" destId="{100BB1A8-A75B-46B4-A88C-52BAAA4EA6C2}" srcOrd="0" destOrd="0" presId="urn:microsoft.com/office/officeart/2005/8/layout/hChevron3"/>
    <dgm:cxn modelId="{72105B5F-CE7A-4453-8ABE-41BD72E534BE}" srcId="{5F09BBEB-BCC3-459F-84E8-C3F45965DA09}" destId="{34418343-4F07-404D-BE38-92B2D24B7E05}" srcOrd="1" destOrd="0" parTransId="{A7A8E09D-662C-45E2-9798-75DFCF5AD338}" sibTransId="{492097AD-6096-4A56-ACAB-319019CDAEEB}"/>
    <dgm:cxn modelId="{7E9AAF4F-F86E-4539-8342-B42AC99F5AEA}" type="presOf" srcId="{34418343-4F07-404D-BE38-92B2D24B7E05}" destId="{C41A44A8-F315-467A-BC7A-DF5D204D36AC}" srcOrd="0" destOrd="0" presId="urn:microsoft.com/office/officeart/2005/8/layout/hChevron3"/>
    <dgm:cxn modelId="{D4CE26BC-77E7-45C7-A7B2-153FEC32CCF0}" srcId="{5F09BBEB-BCC3-459F-84E8-C3F45965DA09}" destId="{D9A46A24-1A39-40C4-BDEF-CFA7810A2AAE}" srcOrd="0" destOrd="0" parTransId="{66FFC086-41A2-4587-A80D-C476FEB0A87D}" sibTransId="{F798BDF2-5A93-4BDF-814C-A30D18340DBF}"/>
    <dgm:cxn modelId="{55A360EF-56B4-4E1B-B6DC-788CB3D5C2D3}" type="presOf" srcId="{5F09BBEB-BCC3-459F-84E8-C3F45965DA09}" destId="{5A8139B6-91BE-4CD6-9A26-1E8EB65606D1}" srcOrd="0" destOrd="0" presId="urn:microsoft.com/office/officeart/2005/8/layout/hChevron3"/>
    <dgm:cxn modelId="{DDC0E7FD-96EA-4482-B703-BF8FE526B224}" type="presParOf" srcId="{5A8139B6-91BE-4CD6-9A26-1E8EB65606D1}" destId="{100BB1A8-A75B-46B4-A88C-52BAAA4EA6C2}" srcOrd="0" destOrd="0" presId="urn:microsoft.com/office/officeart/2005/8/layout/hChevron3"/>
    <dgm:cxn modelId="{8A7AB3D9-74DF-4991-94ED-11FEBCFC64DB}" type="presParOf" srcId="{5A8139B6-91BE-4CD6-9A26-1E8EB65606D1}" destId="{F4229669-D6F8-4B59-A4CD-D5346B3C39F1}" srcOrd="1" destOrd="0" presId="urn:microsoft.com/office/officeart/2005/8/layout/hChevron3"/>
    <dgm:cxn modelId="{6B0B2E57-CF46-45C3-B806-CBA9927886B9}" type="presParOf" srcId="{5A8139B6-91BE-4CD6-9A26-1E8EB65606D1}" destId="{C41A44A8-F315-467A-BC7A-DF5D204D36AC}" srcOrd="2" destOrd="0" presId="urn:microsoft.com/office/officeart/2005/8/layout/hChevron3"/>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5F09BBEB-BCC3-459F-84E8-C3F45965DA09}" type="doc">
      <dgm:prSet loTypeId="urn:microsoft.com/office/officeart/2005/8/layout/hChevron3" loCatId="process" qsTypeId="urn:microsoft.com/office/officeart/2005/8/quickstyle/simple1" qsCatId="simple" csTypeId="urn:microsoft.com/office/officeart/2005/8/colors/accent1_2" csCatId="accent1" phldr="1"/>
      <dgm:spPr/>
    </dgm:pt>
    <dgm:pt modelId="{DB686BFB-198E-4000-A208-50B01C895C5D}">
      <dgm:prSet phldrT="[Text]"/>
      <dgm:spPr>
        <a:solidFill>
          <a:schemeClr val="bg2"/>
        </a:solidFill>
      </dgm:spPr>
      <dgm:t>
        <a:bodyPr/>
        <a:lstStyle/>
        <a:p>
          <a:r>
            <a:rPr lang="en-US" dirty="0"/>
            <a:t>Plan</a:t>
          </a:r>
        </a:p>
      </dgm:t>
    </dgm:pt>
    <dgm:pt modelId="{308DC400-404E-42BD-BE70-9AF5501A8294}" type="parTrans" cxnId="{19255C41-D653-4AA7-B5D5-F563627BA0CF}">
      <dgm:prSet/>
      <dgm:spPr/>
      <dgm:t>
        <a:bodyPr/>
        <a:lstStyle/>
        <a:p>
          <a:endParaRPr lang="en-US"/>
        </a:p>
      </dgm:t>
    </dgm:pt>
    <dgm:pt modelId="{71D97F50-AB3B-4D05-8099-47186F345C43}" type="sibTrans" cxnId="{19255C41-D653-4AA7-B5D5-F563627BA0CF}">
      <dgm:prSet/>
      <dgm:spPr/>
      <dgm:t>
        <a:bodyPr/>
        <a:lstStyle/>
        <a:p>
          <a:endParaRPr lang="en-US"/>
        </a:p>
      </dgm:t>
    </dgm:pt>
    <dgm:pt modelId="{28FF80C1-E366-4469-835E-804BEA7EF9E9}">
      <dgm:prSet phldrT="[Text]"/>
      <dgm:spPr>
        <a:solidFill>
          <a:schemeClr val="bg2"/>
        </a:solidFill>
      </dgm:spPr>
      <dgm:t>
        <a:bodyPr/>
        <a:lstStyle/>
        <a:p>
          <a:r>
            <a:rPr lang="en-US" dirty="0"/>
            <a:t>Code</a:t>
          </a:r>
        </a:p>
      </dgm:t>
    </dgm:pt>
    <dgm:pt modelId="{C92A0CD3-241E-488E-AA57-8B6574467E0F}" type="parTrans" cxnId="{CDCFC11C-CFCD-4E79-A72B-8D05C57DADFF}">
      <dgm:prSet/>
      <dgm:spPr/>
      <dgm:t>
        <a:bodyPr/>
        <a:lstStyle/>
        <a:p>
          <a:endParaRPr lang="en-US"/>
        </a:p>
      </dgm:t>
    </dgm:pt>
    <dgm:pt modelId="{91D0DF27-8817-4650-BB53-D21704C7C991}" type="sibTrans" cxnId="{CDCFC11C-CFCD-4E79-A72B-8D05C57DADFF}">
      <dgm:prSet/>
      <dgm:spPr/>
      <dgm:t>
        <a:bodyPr/>
        <a:lstStyle/>
        <a:p>
          <a:endParaRPr lang="en-US"/>
        </a:p>
      </dgm:t>
    </dgm:pt>
    <dgm:pt modelId="{308794B5-59A1-4F06-A19F-19B515FA2D2C}">
      <dgm:prSet phldrT="[Text]"/>
      <dgm:spPr>
        <a:solidFill>
          <a:schemeClr val="bg2"/>
        </a:solidFill>
      </dgm:spPr>
      <dgm:t>
        <a:bodyPr/>
        <a:lstStyle/>
        <a:p>
          <a:r>
            <a:rPr lang="en-US" dirty="0"/>
            <a:t>Build</a:t>
          </a:r>
        </a:p>
      </dgm:t>
    </dgm:pt>
    <dgm:pt modelId="{40A90EE6-40C6-4C1A-975D-8DECA9BC3FD2}" type="parTrans" cxnId="{8635D613-FF8F-4F3F-8F79-7C6A9DD574D3}">
      <dgm:prSet/>
      <dgm:spPr/>
      <dgm:t>
        <a:bodyPr/>
        <a:lstStyle/>
        <a:p>
          <a:endParaRPr lang="en-US"/>
        </a:p>
      </dgm:t>
    </dgm:pt>
    <dgm:pt modelId="{2A857EBE-287F-47BF-BC3B-E1E5F39FA4B7}" type="sibTrans" cxnId="{8635D613-FF8F-4F3F-8F79-7C6A9DD574D3}">
      <dgm:prSet/>
      <dgm:spPr/>
      <dgm:t>
        <a:bodyPr/>
        <a:lstStyle/>
        <a:p>
          <a:endParaRPr lang="en-US"/>
        </a:p>
      </dgm:t>
    </dgm:pt>
    <dgm:pt modelId="{79B60177-2217-4C3E-BFB2-A7F514C11442}">
      <dgm:prSet phldrT="[Text]"/>
      <dgm:spPr>
        <a:solidFill>
          <a:schemeClr val="bg2"/>
        </a:solidFill>
      </dgm:spPr>
      <dgm:t>
        <a:bodyPr/>
        <a:lstStyle/>
        <a:p>
          <a:r>
            <a:rPr lang="en-US" dirty="0"/>
            <a:t>Unit Tests</a:t>
          </a:r>
        </a:p>
      </dgm:t>
    </dgm:pt>
    <dgm:pt modelId="{C0EE4951-222A-4A3C-884C-462AB7405FF1}" type="parTrans" cxnId="{9F73CDB9-E2B2-4C3B-BD07-14E9AE766AC9}">
      <dgm:prSet/>
      <dgm:spPr/>
      <dgm:t>
        <a:bodyPr/>
        <a:lstStyle/>
        <a:p>
          <a:endParaRPr lang="en-US"/>
        </a:p>
      </dgm:t>
    </dgm:pt>
    <dgm:pt modelId="{BB68D18C-C2C2-4B5D-A338-F21AC8AC055A}" type="sibTrans" cxnId="{9F73CDB9-E2B2-4C3B-BD07-14E9AE766AC9}">
      <dgm:prSet/>
      <dgm:spPr/>
      <dgm:t>
        <a:bodyPr/>
        <a:lstStyle/>
        <a:p>
          <a:endParaRPr lang="en-US"/>
        </a:p>
      </dgm:t>
    </dgm:pt>
    <dgm:pt modelId="{EA542168-3CF6-4E7D-BE36-F1874E1A6786}">
      <dgm:prSet phldrT="[Text]"/>
      <dgm:spPr>
        <a:solidFill>
          <a:schemeClr val="bg2"/>
        </a:solidFill>
      </dgm:spPr>
      <dgm:t>
        <a:bodyPr/>
        <a:lstStyle/>
        <a:p>
          <a:r>
            <a:rPr lang="en-US" dirty="0"/>
            <a:t>Artifact publish</a:t>
          </a:r>
        </a:p>
      </dgm:t>
    </dgm:pt>
    <dgm:pt modelId="{0F2809F5-F901-42CC-9BCD-A0A9B96DFE1C}" type="parTrans" cxnId="{A2117A40-75DD-4F93-9B85-0E6C330838BF}">
      <dgm:prSet/>
      <dgm:spPr/>
      <dgm:t>
        <a:bodyPr/>
        <a:lstStyle/>
        <a:p>
          <a:endParaRPr lang="en-US"/>
        </a:p>
      </dgm:t>
    </dgm:pt>
    <dgm:pt modelId="{EFA7C1C5-FEE2-496F-9C35-D5D7E067AD72}" type="sibTrans" cxnId="{A2117A40-75DD-4F93-9B85-0E6C330838BF}">
      <dgm:prSet/>
      <dgm:spPr/>
      <dgm:t>
        <a:bodyPr/>
        <a:lstStyle/>
        <a:p>
          <a:endParaRPr lang="en-US"/>
        </a:p>
      </dgm:t>
    </dgm:pt>
    <dgm:pt modelId="{C2993C98-6A6F-4187-B0C4-7E93C9DD87FA}">
      <dgm:prSet phldrT="[Text]"/>
      <dgm:spPr>
        <a:solidFill>
          <a:schemeClr val="bg2"/>
        </a:solidFill>
      </dgm:spPr>
      <dgm:t>
        <a:bodyPr/>
        <a:lstStyle/>
        <a:p>
          <a:r>
            <a:rPr lang="en-US" dirty="0"/>
            <a:t>Deploy</a:t>
          </a:r>
        </a:p>
      </dgm:t>
    </dgm:pt>
    <dgm:pt modelId="{9CBC2D13-0312-49BE-A158-5EA5D3005C80}" type="parTrans" cxnId="{026B8171-5599-4C67-B63E-7389ED643B06}">
      <dgm:prSet/>
      <dgm:spPr/>
      <dgm:t>
        <a:bodyPr/>
        <a:lstStyle/>
        <a:p>
          <a:endParaRPr lang="en-US"/>
        </a:p>
      </dgm:t>
    </dgm:pt>
    <dgm:pt modelId="{BE740BCE-24A9-4674-AEDF-D364E86B6D22}" type="sibTrans" cxnId="{026B8171-5599-4C67-B63E-7389ED643B06}">
      <dgm:prSet/>
      <dgm:spPr/>
      <dgm:t>
        <a:bodyPr/>
        <a:lstStyle/>
        <a:p>
          <a:endParaRPr lang="en-US"/>
        </a:p>
      </dgm:t>
    </dgm:pt>
    <dgm:pt modelId="{B3D0AF40-C106-41ED-9E6C-46321A70CAAB}">
      <dgm:prSet phldrT="[Text]"/>
      <dgm:spPr>
        <a:solidFill>
          <a:schemeClr val="bg2"/>
        </a:solidFill>
      </dgm:spPr>
      <dgm:t>
        <a:bodyPr/>
        <a:lstStyle/>
        <a:p>
          <a:r>
            <a:rPr lang="en-US" dirty="0"/>
            <a:t>Integration Tests</a:t>
          </a:r>
        </a:p>
      </dgm:t>
    </dgm:pt>
    <dgm:pt modelId="{D2A261CD-44A6-4CD9-BD0E-FC21222598C3}" type="parTrans" cxnId="{FB36DB1D-2A5C-47E1-BD93-3DE6146AF4C7}">
      <dgm:prSet/>
      <dgm:spPr/>
      <dgm:t>
        <a:bodyPr/>
        <a:lstStyle/>
        <a:p>
          <a:endParaRPr lang="en-US"/>
        </a:p>
      </dgm:t>
    </dgm:pt>
    <dgm:pt modelId="{D2A85F37-7CC7-4104-AF88-FFA6A57188E0}" type="sibTrans" cxnId="{FB36DB1D-2A5C-47E1-BD93-3DE6146AF4C7}">
      <dgm:prSet/>
      <dgm:spPr/>
      <dgm:t>
        <a:bodyPr/>
        <a:lstStyle/>
        <a:p>
          <a:endParaRPr lang="en-US"/>
        </a:p>
      </dgm:t>
    </dgm:pt>
    <dgm:pt modelId="{A37E9E2F-421E-4906-9EA5-4D3D0039337B}">
      <dgm:prSet phldrT="[Text]"/>
      <dgm:spPr/>
      <dgm:t>
        <a:bodyPr/>
        <a:lstStyle/>
        <a:p>
          <a:r>
            <a:rPr lang="en-US" dirty="0"/>
            <a:t>Code Coverage and </a:t>
          </a:r>
          <a:r>
            <a:rPr lang="en-US" dirty="0" err="1"/>
            <a:t>Vulerabilities</a:t>
          </a:r>
          <a:endParaRPr lang="en-US" dirty="0"/>
        </a:p>
      </dgm:t>
    </dgm:pt>
    <dgm:pt modelId="{CE6AC0C5-5287-487A-AA5B-84A420F4BCCF}" type="parTrans" cxnId="{BFE1E3BA-C15C-41DC-AAD8-92F9635D6BF2}">
      <dgm:prSet/>
      <dgm:spPr/>
      <dgm:t>
        <a:bodyPr/>
        <a:lstStyle/>
        <a:p>
          <a:endParaRPr lang="en-US"/>
        </a:p>
      </dgm:t>
    </dgm:pt>
    <dgm:pt modelId="{FB9F0D44-060C-450B-95E1-4D0DFC8E216B}" type="sibTrans" cxnId="{BFE1E3BA-C15C-41DC-AAD8-92F9635D6BF2}">
      <dgm:prSet/>
      <dgm:spPr/>
      <dgm:t>
        <a:bodyPr/>
        <a:lstStyle/>
        <a:p>
          <a:endParaRPr lang="en-US"/>
        </a:p>
      </dgm:t>
    </dgm:pt>
    <dgm:pt modelId="{244AB1FE-452B-48D8-8768-3BA11F7CDA2F}">
      <dgm:prSet phldrT="[Text]"/>
      <dgm:spPr>
        <a:solidFill>
          <a:schemeClr val="bg2"/>
        </a:solidFill>
      </dgm:spPr>
      <dgm:t>
        <a:bodyPr/>
        <a:lstStyle/>
        <a:p>
          <a:r>
            <a:rPr lang="en-US" dirty="0"/>
            <a:t>E2E Tests</a:t>
          </a:r>
        </a:p>
      </dgm:t>
    </dgm:pt>
    <dgm:pt modelId="{3AB6269D-FE5C-4FEF-9E3C-39AACC7EF09F}" type="parTrans" cxnId="{2CB7CF59-FCF1-4ACB-AC42-B02F3DA6E02C}">
      <dgm:prSet/>
      <dgm:spPr/>
      <dgm:t>
        <a:bodyPr/>
        <a:lstStyle/>
        <a:p>
          <a:endParaRPr lang="en-US"/>
        </a:p>
      </dgm:t>
    </dgm:pt>
    <dgm:pt modelId="{102BEBE8-1030-474E-80E3-A8F484E4F6D3}" type="sibTrans" cxnId="{2CB7CF59-FCF1-4ACB-AC42-B02F3DA6E02C}">
      <dgm:prSet/>
      <dgm:spPr/>
      <dgm:t>
        <a:bodyPr/>
        <a:lstStyle/>
        <a:p>
          <a:endParaRPr lang="en-US"/>
        </a:p>
      </dgm:t>
    </dgm:pt>
    <dgm:pt modelId="{C6B3F507-2D2A-4DC6-AC05-4B9C92757C16}">
      <dgm:prSet phldrT="[Text]"/>
      <dgm:spPr>
        <a:solidFill>
          <a:schemeClr val="bg2"/>
        </a:solidFill>
      </dgm:spPr>
      <dgm:t>
        <a:bodyPr/>
        <a:lstStyle/>
        <a:p>
          <a:r>
            <a:rPr lang="en-US" dirty="0"/>
            <a:t>Deploy and Release</a:t>
          </a:r>
        </a:p>
      </dgm:t>
    </dgm:pt>
    <dgm:pt modelId="{DE8F853C-71D4-4D0D-9A17-D8B374D814FD}" type="parTrans" cxnId="{2287F43C-9B45-4B41-8BD5-84AFAA7B2870}">
      <dgm:prSet/>
      <dgm:spPr/>
      <dgm:t>
        <a:bodyPr/>
        <a:lstStyle/>
        <a:p>
          <a:endParaRPr lang="en-US"/>
        </a:p>
      </dgm:t>
    </dgm:pt>
    <dgm:pt modelId="{D0C75D6A-40FE-4179-9416-F5DC0E331C7F}" type="sibTrans" cxnId="{2287F43C-9B45-4B41-8BD5-84AFAA7B2870}">
      <dgm:prSet/>
      <dgm:spPr/>
      <dgm:t>
        <a:bodyPr/>
        <a:lstStyle/>
        <a:p>
          <a:endParaRPr lang="en-US"/>
        </a:p>
      </dgm:t>
    </dgm:pt>
    <dgm:pt modelId="{5A8139B6-91BE-4CD6-9A26-1E8EB65606D1}" type="pres">
      <dgm:prSet presAssocID="{5F09BBEB-BCC3-459F-84E8-C3F45965DA09}" presName="Name0" presStyleCnt="0">
        <dgm:presLayoutVars>
          <dgm:dir/>
          <dgm:resizeHandles val="exact"/>
        </dgm:presLayoutVars>
      </dgm:prSet>
      <dgm:spPr/>
    </dgm:pt>
    <dgm:pt modelId="{E758B83E-CFEC-43EC-AF0D-E790A3C16319}" type="pres">
      <dgm:prSet presAssocID="{DB686BFB-198E-4000-A208-50B01C895C5D}" presName="parTxOnly" presStyleLbl="node1" presStyleIdx="0" presStyleCnt="10">
        <dgm:presLayoutVars>
          <dgm:bulletEnabled val="1"/>
        </dgm:presLayoutVars>
      </dgm:prSet>
      <dgm:spPr/>
    </dgm:pt>
    <dgm:pt modelId="{8B0AB190-C0DA-4BC9-AB8E-FC2ED0D56206}" type="pres">
      <dgm:prSet presAssocID="{71D97F50-AB3B-4D05-8099-47186F345C43}" presName="parSpace" presStyleCnt="0"/>
      <dgm:spPr/>
    </dgm:pt>
    <dgm:pt modelId="{57F52E1E-2C2F-47A9-A6D9-CB7537BF727C}" type="pres">
      <dgm:prSet presAssocID="{28FF80C1-E366-4469-835E-804BEA7EF9E9}" presName="parTxOnly" presStyleLbl="node1" presStyleIdx="1" presStyleCnt="10">
        <dgm:presLayoutVars>
          <dgm:bulletEnabled val="1"/>
        </dgm:presLayoutVars>
      </dgm:prSet>
      <dgm:spPr/>
    </dgm:pt>
    <dgm:pt modelId="{23AB88B7-C798-42E5-B3C5-6FD5532695B1}" type="pres">
      <dgm:prSet presAssocID="{91D0DF27-8817-4650-BB53-D21704C7C991}" presName="parSpace" presStyleCnt="0"/>
      <dgm:spPr/>
    </dgm:pt>
    <dgm:pt modelId="{0D14839E-F7AA-41F1-8F21-377D4525EA32}" type="pres">
      <dgm:prSet presAssocID="{308794B5-59A1-4F06-A19F-19B515FA2D2C}" presName="parTxOnly" presStyleLbl="node1" presStyleIdx="2" presStyleCnt="10">
        <dgm:presLayoutVars>
          <dgm:bulletEnabled val="1"/>
        </dgm:presLayoutVars>
      </dgm:prSet>
      <dgm:spPr/>
    </dgm:pt>
    <dgm:pt modelId="{6FCAC6DE-3B61-4FC5-BCC0-E4629EF4789A}" type="pres">
      <dgm:prSet presAssocID="{2A857EBE-287F-47BF-BC3B-E1E5F39FA4B7}" presName="parSpace" presStyleCnt="0"/>
      <dgm:spPr/>
    </dgm:pt>
    <dgm:pt modelId="{AC1BF143-926D-45ED-A5A3-43D05A5B5E05}" type="pres">
      <dgm:prSet presAssocID="{79B60177-2217-4C3E-BFB2-A7F514C11442}" presName="parTxOnly" presStyleLbl="node1" presStyleIdx="3" presStyleCnt="10">
        <dgm:presLayoutVars>
          <dgm:bulletEnabled val="1"/>
        </dgm:presLayoutVars>
      </dgm:prSet>
      <dgm:spPr/>
    </dgm:pt>
    <dgm:pt modelId="{0DE0C2D5-A75D-4380-B806-1FCE20FD6100}" type="pres">
      <dgm:prSet presAssocID="{BB68D18C-C2C2-4B5D-A338-F21AC8AC055A}" presName="parSpace" presStyleCnt="0"/>
      <dgm:spPr/>
    </dgm:pt>
    <dgm:pt modelId="{FAC99AAC-4206-4C8D-B75A-31CCAA24369E}" type="pres">
      <dgm:prSet presAssocID="{A37E9E2F-421E-4906-9EA5-4D3D0039337B}" presName="parTxOnly" presStyleLbl="node1" presStyleIdx="4" presStyleCnt="10">
        <dgm:presLayoutVars>
          <dgm:bulletEnabled val="1"/>
        </dgm:presLayoutVars>
      </dgm:prSet>
      <dgm:spPr/>
    </dgm:pt>
    <dgm:pt modelId="{C7EB8198-0BBC-4800-A04C-5A838FD89335}" type="pres">
      <dgm:prSet presAssocID="{FB9F0D44-060C-450B-95E1-4D0DFC8E216B}" presName="parSpace" presStyleCnt="0"/>
      <dgm:spPr/>
    </dgm:pt>
    <dgm:pt modelId="{EECB13DF-38FD-4199-93B9-448461C16185}" type="pres">
      <dgm:prSet presAssocID="{EA542168-3CF6-4E7D-BE36-F1874E1A6786}" presName="parTxOnly" presStyleLbl="node1" presStyleIdx="5" presStyleCnt="10">
        <dgm:presLayoutVars>
          <dgm:bulletEnabled val="1"/>
        </dgm:presLayoutVars>
      </dgm:prSet>
      <dgm:spPr/>
    </dgm:pt>
    <dgm:pt modelId="{E374F486-FB19-41B2-A0F0-48FB5502A237}" type="pres">
      <dgm:prSet presAssocID="{EFA7C1C5-FEE2-496F-9C35-D5D7E067AD72}" presName="parSpace" presStyleCnt="0"/>
      <dgm:spPr/>
    </dgm:pt>
    <dgm:pt modelId="{1C920BC9-2570-439E-8481-8C6F1CB98E73}" type="pres">
      <dgm:prSet presAssocID="{C2993C98-6A6F-4187-B0C4-7E93C9DD87FA}" presName="parTxOnly" presStyleLbl="node1" presStyleIdx="6" presStyleCnt="10">
        <dgm:presLayoutVars>
          <dgm:bulletEnabled val="1"/>
        </dgm:presLayoutVars>
      </dgm:prSet>
      <dgm:spPr/>
    </dgm:pt>
    <dgm:pt modelId="{83CF4DA9-86E0-4AE4-94AE-6C72C4A1D2F8}" type="pres">
      <dgm:prSet presAssocID="{BE740BCE-24A9-4674-AEDF-D364E86B6D22}" presName="parSpace" presStyleCnt="0"/>
      <dgm:spPr/>
    </dgm:pt>
    <dgm:pt modelId="{E8BBFEEE-B21B-4C1D-846B-B89F01B73A44}" type="pres">
      <dgm:prSet presAssocID="{B3D0AF40-C106-41ED-9E6C-46321A70CAAB}" presName="parTxOnly" presStyleLbl="node1" presStyleIdx="7" presStyleCnt="10">
        <dgm:presLayoutVars>
          <dgm:bulletEnabled val="1"/>
        </dgm:presLayoutVars>
      </dgm:prSet>
      <dgm:spPr/>
    </dgm:pt>
    <dgm:pt modelId="{79E1544A-52D1-4DF3-B1EF-1D7B51F38FFB}" type="pres">
      <dgm:prSet presAssocID="{D2A85F37-7CC7-4104-AF88-FFA6A57188E0}" presName="parSpace" presStyleCnt="0"/>
      <dgm:spPr/>
    </dgm:pt>
    <dgm:pt modelId="{2297D37F-06A9-4D3B-9E7D-1BFE806033E6}" type="pres">
      <dgm:prSet presAssocID="{244AB1FE-452B-48D8-8768-3BA11F7CDA2F}" presName="parTxOnly" presStyleLbl="node1" presStyleIdx="8" presStyleCnt="10">
        <dgm:presLayoutVars>
          <dgm:bulletEnabled val="1"/>
        </dgm:presLayoutVars>
      </dgm:prSet>
      <dgm:spPr/>
    </dgm:pt>
    <dgm:pt modelId="{860E36E1-9B69-4A8E-B7F1-1A203219B22F}" type="pres">
      <dgm:prSet presAssocID="{102BEBE8-1030-474E-80E3-A8F484E4F6D3}" presName="parSpace" presStyleCnt="0"/>
      <dgm:spPr/>
    </dgm:pt>
    <dgm:pt modelId="{8BF2E94A-9EDA-4D1B-B447-B22DF4954F6F}" type="pres">
      <dgm:prSet presAssocID="{C6B3F507-2D2A-4DC6-AC05-4B9C92757C16}" presName="parTxOnly" presStyleLbl="node1" presStyleIdx="9" presStyleCnt="10">
        <dgm:presLayoutVars>
          <dgm:bulletEnabled val="1"/>
        </dgm:presLayoutVars>
      </dgm:prSet>
      <dgm:spPr/>
    </dgm:pt>
  </dgm:ptLst>
  <dgm:cxnLst>
    <dgm:cxn modelId="{8635D613-FF8F-4F3F-8F79-7C6A9DD574D3}" srcId="{5F09BBEB-BCC3-459F-84E8-C3F45965DA09}" destId="{308794B5-59A1-4F06-A19F-19B515FA2D2C}" srcOrd="2" destOrd="0" parTransId="{40A90EE6-40C6-4C1A-975D-8DECA9BC3FD2}" sibTransId="{2A857EBE-287F-47BF-BC3B-E1E5F39FA4B7}"/>
    <dgm:cxn modelId="{7498D815-AE35-4CC1-87A5-4E163067D50B}" type="presOf" srcId="{C2993C98-6A6F-4187-B0C4-7E93C9DD87FA}" destId="{1C920BC9-2570-439E-8481-8C6F1CB98E73}" srcOrd="0" destOrd="0" presId="urn:microsoft.com/office/officeart/2005/8/layout/hChevron3"/>
    <dgm:cxn modelId="{CDCFC11C-CFCD-4E79-A72B-8D05C57DADFF}" srcId="{5F09BBEB-BCC3-459F-84E8-C3F45965DA09}" destId="{28FF80C1-E366-4469-835E-804BEA7EF9E9}" srcOrd="1" destOrd="0" parTransId="{C92A0CD3-241E-488E-AA57-8B6574467E0F}" sibTransId="{91D0DF27-8817-4650-BB53-D21704C7C991}"/>
    <dgm:cxn modelId="{FB36DB1D-2A5C-47E1-BD93-3DE6146AF4C7}" srcId="{5F09BBEB-BCC3-459F-84E8-C3F45965DA09}" destId="{B3D0AF40-C106-41ED-9E6C-46321A70CAAB}" srcOrd="7" destOrd="0" parTransId="{D2A261CD-44A6-4CD9-BD0E-FC21222598C3}" sibTransId="{D2A85F37-7CC7-4104-AF88-FFA6A57188E0}"/>
    <dgm:cxn modelId="{73D5EB2C-4DDA-469C-82CB-EB293E5A841C}" type="presOf" srcId="{A37E9E2F-421E-4906-9EA5-4D3D0039337B}" destId="{FAC99AAC-4206-4C8D-B75A-31CCAA24369E}" srcOrd="0" destOrd="0" presId="urn:microsoft.com/office/officeart/2005/8/layout/hChevron3"/>
    <dgm:cxn modelId="{BFE78C36-D48C-4ADF-B40F-FDA60F1CAFF1}" type="presOf" srcId="{308794B5-59A1-4F06-A19F-19B515FA2D2C}" destId="{0D14839E-F7AA-41F1-8F21-377D4525EA32}" srcOrd="0" destOrd="0" presId="urn:microsoft.com/office/officeart/2005/8/layout/hChevron3"/>
    <dgm:cxn modelId="{2287F43C-9B45-4B41-8BD5-84AFAA7B2870}" srcId="{5F09BBEB-BCC3-459F-84E8-C3F45965DA09}" destId="{C6B3F507-2D2A-4DC6-AC05-4B9C92757C16}" srcOrd="9" destOrd="0" parTransId="{DE8F853C-71D4-4D0D-9A17-D8B374D814FD}" sibTransId="{D0C75D6A-40FE-4179-9416-F5DC0E331C7F}"/>
    <dgm:cxn modelId="{A2117A40-75DD-4F93-9B85-0E6C330838BF}" srcId="{5F09BBEB-BCC3-459F-84E8-C3F45965DA09}" destId="{EA542168-3CF6-4E7D-BE36-F1874E1A6786}" srcOrd="5" destOrd="0" parTransId="{0F2809F5-F901-42CC-9BCD-A0A9B96DFE1C}" sibTransId="{EFA7C1C5-FEE2-496F-9C35-D5D7E067AD72}"/>
    <dgm:cxn modelId="{22FE0D61-FA1A-4575-9EA7-0847D35FB40F}" type="presOf" srcId="{244AB1FE-452B-48D8-8768-3BA11F7CDA2F}" destId="{2297D37F-06A9-4D3B-9E7D-1BFE806033E6}" srcOrd="0" destOrd="0" presId="urn:microsoft.com/office/officeart/2005/8/layout/hChevron3"/>
    <dgm:cxn modelId="{19255C41-D653-4AA7-B5D5-F563627BA0CF}" srcId="{5F09BBEB-BCC3-459F-84E8-C3F45965DA09}" destId="{DB686BFB-198E-4000-A208-50B01C895C5D}" srcOrd="0" destOrd="0" parTransId="{308DC400-404E-42BD-BE70-9AF5501A8294}" sibTransId="{71D97F50-AB3B-4D05-8099-47186F345C43}"/>
    <dgm:cxn modelId="{F9DECC50-2A9D-4CCE-A94B-38F80FBC12B2}" type="presOf" srcId="{DB686BFB-198E-4000-A208-50B01C895C5D}" destId="{E758B83E-CFEC-43EC-AF0D-E790A3C16319}" srcOrd="0" destOrd="0" presId="urn:microsoft.com/office/officeart/2005/8/layout/hChevron3"/>
    <dgm:cxn modelId="{026B8171-5599-4C67-B63E-7389ED643B06}" srcId="{5F09BBEB-BCC3-459F-84E8-C3F45965DA09}" destId="{C2993C98-6A6F-4187-B0C4-7E93C9DD87FA}" srcOrd="6" destOrd="0" parTransId="{9CBC2D13-0312-49BE-A158-5EA5D3005C80}" sibTransId="{BE740BCE-24A9-4674-AEDF-D364E86B6D22}"/>
    <dgm:cxn modelId="{2CB7CF59-FCF1-4ACB-AC42-B02F3DA6E02C}" srcId="{5F09BBEB-BCC3-459F-84E8-C3F45965DA09}" destId="{244AB1FE-452B-48D8-8768-3BA11F7CDA2F}" srcOrd="8" destOrd="0" parTransId="{3AB6269D-FE5C-4FEF-9E3C-39AACC7EF09F}" sibTransId="{102BEBE8-1030-474E-80E3-A8F484E4F6D3}"/>
    <dgm:cxn modelId="{6023F593-FCF4-43E2-85CE-AD10542CEE88}" type="presOf" srcId="{C6B3F507-2D2A-4DC6-AC05-4B9C92757C16}" destId="{8BF2E94A-9EDA-4D1B-B447-B22DF4954F6F}" srcOrd="0" destOrd="0" presId="urn:microsoft.com/office/officeart/2005/8/layout/hChevron3"/>
    <dgm:cxn modelId="{766E6C9B-742C-442E-8172-8BF8D40AD199}" type="presOf" srcId="{79B60177-2217-4C3E-BFB2-A7F514C11442}" destId="{AC1BF143-926D-45ED-A5A3-43D05A5B5E05}" srcOrd="0" destOrd="0" presId="urn:microsoft.com/office/officeart/2005/8/layout/hChevron3"/>
    <dgm:cxn modelId="{9F73CDB9-E2B2-4C3B-BD07-14E9AE766AC9}" srcId="{5F09BBEB-BCC3-459F-84E8-C3F45965DA09}" destId="{79B60177-2217-4C3E-BFB2-A7F514C11442}" srcOrd="3" destOrd="0" parTransId="{C0EE4951-222A-4A3C-884C-462AB7405FF1}" sibTransId="{BB68D18C-C2C2-4B5D-A338-F21AC8AC055A}"/>
    <dgm:cxn modelId="{BFE1E3BA-C15C-41DC-AAD8-92F9635D6BF2}" srcId="{5F09BBEB-BCC3-459F-84E8-C3F45965DA09}" destId="{A37E9E2F-421E-4906-9EA5-4D3D0039337B}" srcOrd="4" destOrd="0" parTransId="{CE6AC0C5-5287-487A-AA5B-84A420F4BCCF}" sibTransId="{FB9F0D44-060C-450B-95E1-4D0DFC8E216B}"/>
    <dgm:cxn modelId="{972F8AC6-E642-4970-B4CF-B938DF3C94A2}" type="presOf" srcId="{28FF80C1-E366-4469-835E-804BEA7EF9E9}" destId="{57F52E1E-2C2F-47A9-A6D9-CB7537BF727C}" srcOrd="0" destOrd="0" presId="urn:microsoft.com/office/officeart/2005/8/layout/hChevron3"/>
    <dgm:cxn modelId="{178236CB-EF09-4173-8EBE-FC737AED0D85}" type="presOf" srcId="{EA542168-3CF6-4E7D-BE36-F1874E1A6786}" destId="{EECB13DF-38FD-4199-93B9-448461C16185}" srcOrd="0" destOrd="0" presId="urn:microsoft.com/office/officeart/2005/8/layout/hChevron3"/>
    <dgm:cxn modelId="{6C1C96E4-80FF-48EC-9B74-7A88917D15EF}" type="presOf" srcId="{B3D0AF40-C106-41ED-9E6C-46321A70CAAB}" destId="{E8BBFEEE-B21B-4C1D-846B-B89F01B73A44}" srcOrd="0" destOrd="0" presId="urn:microsoft.com/office/officeart/2005/8/layout/hChevron3"/>
    <dgm:cxn modelId="{55A360EF-56B4-4E1B-B6DC-788CB3D5C2D3}" type="presOf" srcId="{5F09BBEB-BCC3-459F-84E8-C3F45965DA09}" destId="{5A8139B6-91BE-4CD6-9A26-1E8EB65606D1}" srcOrd="0" destOrd="0" presId="urn:microsoft.com/office/officeart/2005/8/layout/hChevron3"/>
    <dgm:cxn modelId="{F7229797-FA27-4730-8A33-B779CCDC5C3C}" type="presParOf" srcId="{5A8139B6-91BE-4CD6-9A26-1E8EB65606D1}" destId="{E758B83E-CFEC-43EC-AF0D-E790A3C16319}" srcOrd="0" destOrd="0" presId="urn:microsoft.com/office/officeart/2005/8/layout/hChevron3"/>
    <dgm:cxn modelId="{797CD30E-B045-4A2A-A262-5FA3F2383F0E}" type="presParOf" srcId="{5A8139B6-91BE-4CD6-9A26-1E8EB65606D1}" destId="{8B0AB190-C0DA-4BC9-AB8E-FC2ED0D56206}" srcOrd="1" destOrd="0" presId="urn:microsoft.com/office/officeart/2005/8/layout/hChevron3"/>
    <dgm:cxn modelId="{8350EBD2-82F9-43A1-8271-7B3C2601C7FF}" type="presParOf" srcId="{5A8139B6-91BE-4CD6-9A26-1E8EB65606D1}" destId="{57F52E1E-2C2F-47A9-A6D9-CB7537BF727C}" srcOrd="2" destOrd="0" presId="urn:microsoft.com/office/officeart/2005/8/layout/hChevron3"/>
    <dgm:cxn modelId="{065A1536-B084-4DE2-9756-A8BD56653EAA}" type="presParOf" srcId="{5A8139B6-91BE-4CD6-9A26-1E8EB65606D1}" destId="{23AB88B7-C798-42E5-B3C5-6FD5532695B1}" srcOrd="3" destOrd="0" presId="urn:microsoft.com/office/officeart/2005/8/layout/hChevron3"/>
    <dgm:cxn modelId="{900BF689-8BEA-4E5F-86F5-16B928223239}" type="presParOf" srcId="{5A8139B6-91BE-4CD6-9A26-1E8EB65606D1}" destId="{0D14839E-F7AA-41F1-8F21-377D4525EA32}" srcOrd="4" destOrd="0" presId="urn:microsoft.com/office/officeart/2005/8/layout/hChevron3"/>
    <dgm:cxn modelId="{FDD11ECE-9527-4A81-A422-BB7C9D8AFA6A}" type="presParOf" srcId="{5A8139B6-91BE-4CD6-9A26-1E8EB65606D1}" destId="{6FCAC6DE-3B61-4FC5-BCC0-E4629EF4789A}" srcOrd="5" destOrd="0" presId="urn:microsoft.com/office/officeart/2005/8/layout/hChevron3"/>
    <dgm:cxn modelId="{3C10773A-398D-41D7-B997-F0F842EF9BCD}" type="presParOf" srcId="{5A8139B6-91BE-4CD6-9A26-1E8EB65606D1}" destId="{AC1BF143-926D-45ED-A5A3-43D05A5B5E05}" srcOrd="6" destOrd="0" presId="urn:microsoft.com/office/officeart/2005/8/layout/hChevron3"/>
    <dgm:cxn modelId="{CC76DA5B-FB4F-4410-8237-D6E32C8F3069}" type="presParOf" srcId="{5A8139B6-91BE-4CD6-9A26-1E8EB65606D1}" destId="{0DE0C2D5-A75D-4380-B806-1FCE20FD6100}" srcOrd="7" destOrd="0" presId="urn:microsoft.com/office/officeart/2005/8/layout/hChevron3"/>
    <dgm:cxn modelId="{F2E2E515-6858-4F8B-B7EC-AA286C5DFF3C}" type="presParOf" srcId="{5A8139B6-91BE-4CD6-9A26-1E8EB65606D1}" destId="{FAC99AAC-4206-4C8D-B75A-31CCAA24369E}" srcOrd="8" destOrd="0" presId="urn:microsoft.com/office/officeart/2005/8/layout/hChevron3"/>
    <dgm:cxn modelId="{7A259C44-7F18-419D-B25D-87D26844FD0A}" type="presParOf" srcId="{5A8139B6-91BE-4CD6-9A26-1E8EB65606D1}" destId="{C7EB8198-0BBC-4800-A04C-5A838FD89335}" srcOrd="9" destOrd="0" presId="urn:microsoft.com/office/officeart/2005/8/layout/hChevron3"/>
    <dgm:cxn modelId="{1DB9D684-FDF1-4485-8F05-243A582343B3}" type="presParOf" srcId="{5A8139B6-91BE-4CD6-9A26-1E8EB65606D1}" destId="{EECB13DF-38FD-4199-93B9-448461C16185}" srcOrd="10" destOrd="0" presId="urn:microsoft.com/office/officeart/2005/8/layout/hChevron3"/>
    <dgm:cxn modelId="{F9BC0876-B7B1-4E36-866A-621301818E4D}" type="presParOf" srcId="{5A8139B6-91BE-4CD6-9A26-1E8EB65606D1}" destId="{E374F486-FB19-41B2-A0F0-48FB5502A237}" srcOrd="11" destOrd="0" presId="urn:microsoft.com/office/officeart/2005/8/layout/hChevron3"/>
    <dgm:cxn modelId="{68901253-C80F-4309-BEEB-846BF429E040}" type="presParOf" srcId="{5A8139B6-91BE-4CD6-9A26-1E8EB65606D1}" destId="{1C920BC9-2570-439E-8481-8C6F1CB98E73}" srcOrd="12" destOrd="0" presId="urn:microsoft.com/office/officeart/2005/8/layout/hChevron3"/>
    <dgm:cxn modelId="{5EB9676F-FACE-4045-893B-ED5656605287}" type="presParOf" srcId="{5A8139B6-91BE-4CD6-9A26-1E8EB65606D1}" destId="{83CF4DA9-86E0-4AE4-94AE-6C72C4A1D2F8}" srcOrd="13" destOrd="0" presId="urn:microsoft.com/office/officeart/2005/8/layout/hChevron3"/>
    <dgm:cxn modelId="{BC6C1E01-C648-40BB-BFCB-9AB904C2A097}" type="presParOf" srcId="{5A8139B6-91BE-4CD6-9A26-1E8EB65606D1}" destId="{E8BBFEEE-B21B-4C1D-846B-B89F01B73A44}" srcOrd="14" destOrd="0" presId="urn:microsoft.com/office/officeart/2005/8/layout/hChevron3"/>
    <dgm:cxn modelId="{0B6B22D8-7F48-4240-8E4C-779E49ED37CA}" type="presParOf" srcId="{5A8139B6-91BE-4CD6-9A26-1E8EB65606D1}" destId="{79E1544A-52D1-4DF3-B1EF-1D7B51F38FFB}" srcOrd="15" destOrd="0" presId="urn:microsoft.com/office/officeart/2005/8/layout/hChevron3"/>
    <dgm:cxn modelId="{3EC2B338-A00C-4A6E-975E-8084F004117A}" type="presParOf" srcId="{5A8139B6-91BE-4CD6-9A26-1E8EB65606D1}" destId="{2297D37F-06A9-4D3B-9E7D-1BFE806033E6}" srcOrd="16" destOrd="0" presId="urn:microsoft.com/office/officeart/2005/8/layout/hChevron3"/>
    <dgm:cxn modelId="{430BCF5F-58E7-4BD0-88BD-64AD6818FB00}" type="presParOf" srcId="{5A8139B6-91BE-4CD6-9A26-1E8EB65606D1}" destId="{860E36E1-9B69-4A8E-B7F1-1A203219B22F}" srcOrd="17" destOrd="0" presId="urn:microsoft.com/office/officeart/2005/8/layout/hChevron3"/>
    <dgm:cxn modelId="{2455F435-7A6F-438C-8A67-346DE979ECE7}" type="presParOf" srcId="{5A8139B6-91BE-4CD6-9A26-1E8EB65606D1}" destId="{8BF2E94A-9EDA-4D1B-B447-B22DF4954F6F}" srcOrd="18" destOrd="0" presId="urn:microsoft.com/office/officeart/2005/8/layout/hChevron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5F09BBEB-BCC3-459F-84E8-C3F45965DA09}" type="doc">
      <dgm:prSet loTypeId="urn:microsoft.com/office/officeart/2005/8/layout/hChevron3" loCatId="process" qsTypeId="urn:microsoft.com/office/officeart/2005/8/quickstyle/simple1" qsCatId="simple" csTypeId="urn:microsoft.com/office/officeart/2005/8/colors/accent1_2" csCatId="accent1" phldr="1"/>
      <dgm:spPr/>
    </dgm:pt>
    <dgm:pt modelId="{D9A46A24-1A39-40C4-BDEF-CFA7810A2AAE}">
      <dgm:prSet custT="1"/>
      <dgm:spPr>
        <a:solidFill>
          <a:schemeClr val="bg2"/>
        </a:solidFill>
      </dgm:spPr>
      <dgm:t>
        <a:bodyPr/>
        <a:lstStyle/>
        <a:p>
          <a:r>
            <a:rPr lang="en-US" sz="1800" dirty="0"/>
            <a:t>Continuous Integration</a:t>
          </a:r>
        </a:p>
      </dgm:t>
    </dgm:pt>
    <dgm:pt modelId="{66FFC086-41A2-4587-A80D-C476FEB0A87D}" type="parTrans" cxnId="{D4CE26BC-77E7-45C7-A7B2-153FEC32CCF0}">
      <dgm:prSet/>
      <dgm:spPr/>
      <dgm:t>
        <a:bodyPr/>
        <a:lstStyle/>
        <a:p>
          <a:endParaRPr lang="en-US" sz="1200"/>
        </a:p>
      </dgm:t>
    </dgm:pt>
    <dgm:pt modelId="{F798BDF2-5A93-4BDF-814C-A30D18340DBF}" type="sibTrans" cxnId="{D4CE26BC-77E7-45C7-A7B2-153FEC32CCF0}">
      <dgm:prSet/>
      <dgm:spPr/>
      <dgm:t>
        <a:bodyPr/>
        <a:lstStyle/>
        <a:p>
          <a:endParaRPr lang="en-US" sz="1200"/>
        </a:p>
      </dgm:t>
    </dgm:pt>
    <dgm:pt modelId="{34418343-4F07-404D-BE38-92B2D24B7E05}">
      <dgm:prSet custT="1"/>
      <dgm:spPr>
        <a:solidFill>
          <a:schemeClr val="bg2"/>
        </a:solidFill>
      </dgm:spPr>
      <dgm:t>
        <a:bodyPr/>
        <a:lstStyle/>
        <a:p>
          <a:r>
            <a:rPr lang="en-US" sz="1800" dirty="0"/>
            <a:t>Continuous Delivery</a:t>
          </a:r>
        </a:p>
      </dgm:t>
    </dgm:pt>
    <dgm:pt modelId="{A7A8E09D-662C-45E2-9798-75DFCF5AD338}" type="parTrans" cxnId="{72105B5F-CE7A-4453-8ABE-41BD72E534BE}">
      <dgm:prSet/>
      <dgm:spPr/>
      <dgm:t>
        <a:bodyPr/>
        <a:lstStyle/>
        <a:p>
          <a:endParaRPr lang="en-US" sz="1200"/>
        </a:p>
      </dgm:t>
    </dgm:pt>
    <dgm:pt modelId="{492097AD-6096-4A56-ACAB-319019CDAEEB}" type="sibTrans" cxnId="{72105B5F-CE7A-4453-8ABE-41BD72E534BE}">
      <dgm:prSet/>
      <dgm:spPr/>
      <dgm:t>
        <a:bodyPr/>
        <a:lstStyle/>
        <a:p>
          <a:endParaRPr lang="en-US" sz="1200"/>
        </a:p>
      </dgm:t>
    </dgm:pt>
    <dgm:pt modelId="{5A8139B6-91BE-4CD6-9A26-1E8EB65606D1}" type="pres">
      <dgm:prSet presAssocID="{5F09BBEB-BCC3-459F-84E8-C3F45965DA09}" presName="Name0" presStyleCnt="0">
        <dgm:presLayoutVars>
          <dgm:dir/>
          <dgm:resizeHandles val="exact"/>
        </dgm:presLayoutVars>
      </dgm:prSet>
      <dgm:spPr/>
    </dgm:pt>
    <dgm:pt modelId="{100BB1A8-A75B-46B4-A88C-52BAAA4EA6C2}" type="pres">
      <dgm:prSet presAssocID="{D9A46A24-1A39-40C4-BDEF-CFA7810A2AAE}" presName="parTxOnly" presStyleLbl="node1" presStyleIdx="0" presStyleCnt="2" custScaleX="58075" custLinFactNeighborX="-40788" custLinFactNeighborY="7816">
        <dgm:presLayoutVars>
          <dgm:bulletEnabled val="1"/>
        </dgm:presLayoutVars>
      </dgm:prSet>
      <dgm:spPr/>
    </dgm:pt>
    <dgm:pt modelId="{F4229669-D6F8-4B59-A4CD-D5346B3C39F1}" type="pres">
      <dgm:prSet presAssocID="{F798BDF2-5A93-4BDF-814C-A30D18340DBF}" presName="parSpace" presStyleCnt="0"/>
      <dgm:spPr/>
    </dgm:pt>
    <dgm:pt modelId="{C41A44A8-F315-467A-BC7A-DF5D204D36AC}" type="pres">
      <dgm:prSet presAssocID="{34418343-4F07-404D-BE38-92B2D24B7E05}" presName="parTxOnly" presStyleLbl="node1" presStyleIdx="1" presStyleCnt="2" custScaleX="45034" custLinFactNeighborX="35969" custLinFactNeighborY="-3574">
        <dgm:presLayoutVars>
          <dgm:bulletEnabled val="1"/>
        </dgm:presLayoutVars>
      </dgm:prSet>
      <dgm:spPr/>
    </dgm:pt>
  </dgm:ptLst>
  <dgm:cxnLst>
    <dgm:cxn modelId="{3F1E4133-2A1E-4235-9328-E58716960D9C}" type="presOf" srcId="{D9A46A24-1A39-40C4-BDEF-CFA7810A2AAE}" destId="{100BB1A8-A75B-46B4-A88C-52BAAA4EA6C2}" srcOrd="0" destOrd="0" presId="urn:microsoft.com/office/officeart/2005/8/layout/hChevron3"/>
    <dgm:cxn modelId="{72105B5F-CE7A-4453-8ABE-41BD72E534BE}" srcId="{5F09BBEB-BCC3-459F-84E8-C3F45965DA09}" destId="{34418343-4F07-404D-BE38-92B2D24B7E05}" srcOrd="1" destOrd="0" parTransId="{A7A8E09D-662C-45E2-9798-75DFCF5AD338}" sibTransId="{492097AD-6096-4A56-ACAB-319019CDAEEB}"/>
    <dgm:cxn modelId="{7E9AAF4F-F86E-4539-8342-B42AC99F5AEA}" type="presOf" srcId="{34418343-4F07-404D-BE38-92B2D24B7E05}" destId="{C41A44A8-F315-467A-BC7A-DF5D204D36AC}" srcOrd="0" destOrd="0" presId="urn:microsoft.com/office/officeart/2005/8/layout/hChevron3"/>
    <dgm:cxn modelId="{D4CE26BC-77E7-45C7-A7B2-153FEC32CCF0}" srcId="{5F09BBEB-BCC3-459F-84E8-C3F45965DA09}" destId="{D9A46A24-1A39-40C4-BDEF-CFA7810A2AAE}" srcOrd="0" destOrd="0" parTransId="{66FFC086-41A2-4587-A80D-C476FEB0A87D}" sibTransId="{F798BDF2-5A93-4BDF-814C-A30D18340DBF}"/>
    <dgm:cxn modelId="{55A360EF-56B4-4E1B-B6DC-788CB3D5C2D3}" type="presOf" srcId="{5F09BBEB-BCC3-459F-84E8-C3F45965DA09}" destId="{5A8139B6-91BE-4CD6-9A26-1E8EB65606D1}" srcOrd="0" destOrd="0" presId="urn:microsoft.com/office/officeart/2005/8/layout/hChevron3"/>
    <dgm:cxn modelId="{DDC0E7FD-96EA-4482-B703-BF8FE526B224}" type="presParOf" srcId="{5A8139B6-91BE-4CD6-9A26-1E8EB65606D1}" destId="{100BB1A8-A75B-46B4-A88C-52BAAA4EA6C2}" srcOrd="0" destOrd="0" presId="urn:microsoft.com/office/officeart/2005/8/layout/hChevron3"/>
    <dgm:cxn modelId="{8A7AB3D9-74DF-4991-94ED-11FEBCFC64DB}" type="presParOf" srcId="{5A8139B6-91BE-4CD6-9A26-1E8EB65606D1}" destId="{F4229669-D6F8-4B59-A4CD-D5346B3C39F1}" srcOrd="1" destOrd="0" presId="urn:microsoft.com/office/officeart/2005/8/layout/hChevron3"/>
    <dgm:cxn modelId="{6B0B2E57-CF46-45C3-B806-CBA9927886B9}" type="presParOf" srcId="{5A8139B6-91BE-4CD6-9A26-1E8EB65606D1}" destId="{C41A44A8-F315-467A-BC7A-DF5D204D36AC}" srcOrd="2" destOrd="0" presId="urn:microsoft.com/office/officeart/2005/8/layout/hChevron3"/>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5F09BBEB-BCC3-459F-84E8-C3F45965DA09}" type="doc">
      <dgm:prSet loTypeId="urn:microsoft.com/office/officeart/2005/8/layout/hChevron3" loCatId="process" qsTypeId="urn:microsoft.com/office/officeart/2005/8/quickstyle/simple1" qsCatId="simple" csTypeId="urn:microsoft.com/office/officeart/2005/8/colors/accent1_2" csCatId="accent1" phldr="1"/>
      <dgm:spPr/>
    </dgm:pt>
    <dgm:pt modelId="{DB686BFB-198E-4000-A208-50B01C895C5D}">
      <dgm:prSet phldrT="[Text]"/>
      <dgm:spPr>
        <a:solidFill>
          <a:schemeClr val="bg2"/>
        </a:solidFill>
      </dgm:spPr>
      <dgm:t>
        <a:bodyPr/>
        <a:lstStyle/>
        <a:p>
          <a:r>
            <a:rPr lang="en-US" dirty="0"/>
            <a:t>Plan</a:t>
          </a:r>
        </a:p>
      </dgm:t>
    </dgm:pt>
    <dgm:pt modelId="{308DC400-404E-42BD-BE70-9AF5501A8294}" type="parTrans" cxnId="{19255C41-D653-4AA7-B5D5-F563627BA0CF}">
      <dgm:prSet/>
      <dgm:spPr/>
      <dgm:t>
        <a:bodyPr/>
        <a:lstStyle/>
        <a:p>
          <a:endParaRPr lang="en-US"/>
        </a:p>
      </dgm:t>
    </dgm:pt>
    <dgm:pt modelId="{71D97F50-AB3B-4D05-8099-47186F345C43}" type="sibTrans" cxnId="{19255C41-D653-4AA7-B5D5-F563627BA0CF}">
      <dgm:prSet/>
      <dgm:spPr/>
      <dgm:t>
        <a:bodyPr/>
        <a:lstStyle/>
        <a:p>
          <a:endParaRPr lang="en-US"/>
        </a:p>
      </dgm:t>
    </dgm:pt>
    <dgm:pt modelId="{28FF80C1-E366-4469-835E-804BEA7EF9E9}">
      <dgm:prSet phldrT="[Text]"/>
      <dgm:spPr>
        <a:solidFill>
          <a:schemeClr val="bg2"/>
        </a:solidFill>
      </dgm:spPr>
      <dgm:t>
        <a:bodyPr/>
        <a:lstStyle/>
        <a:p>
          <a:r>
            <a:rPr lang="en-US" dirty="0"/>
            <a:t>Code</a:t>
          </a:r>
        </a:p>
      </dgm:t>
    </dgm:pt>
    <dgm:pt modelId="{C92A0CD3-241E-488E-AA57-8B6574467E0F}" type="parTrans" cxnId="{CDCFC11C-CFCD-4E79-A72B-8D05C57DADFF}">
      <dgm:prSet/>
      <dgm:spPr/>
      <dgm:t>
        <a:bodyPr/>
        <a:lstStyle/>
        <a:p>
          <a:endParaRPr lang="en-US"/>
        </a:p>
      </dgm:t>
    </dgm:pt>
    <dgm:pt modelId="{91D0DF27-8817-4650-BB53-D21704C7C991}" type="sibTrans" cxnId="{CDCFC11C-CFCD-4E79-A72B-8D05C57DADFF}">
      <dgm:prSet/>
      <dgm:spPr/>
      <dgm:t>
        <a:bodyPr/>
        <a:lstStyle/>
        <a:p>
          <a:endParaRPr lang="en-US"/>
        </a:p>
      </dgm:t>
    </dgm:pt>
    <dgm:pt modelId="{308794B5-59A1-4F06-A19F-19B515FA2D2C}">
      <dgm:prSet phldrT="[Text]"/>
      <dgm:spPr>
        <a:solidFill>
          <a:schemeClr val="bg2"/>
        </a:solidFill>
      </dgm:spPr>
      <dgm:t>
        <a:bodyPr/>
        <a:lstStyle/>
        <a:p>
          <a:r>
            <a:rPr lang="en-US" dirty="0"/>
            <a:t>Build</a:t>
          </a:r>
        </a:p>
      </dgm:t>
    </dgm:pt>
    <dgm:pt modelId="{40A90EE6-40C6-4C1A-975D-8DECA9BC3FD2}" type="parTrans" cxnId="{8635D613-FF8F-4F3F-8F79-7C6A9DD574D3}">
      <dgm:prSet/>
      <dgm:spPr/>
      <dgm:t>
        <a:bodyPr/>
        <a:lstStyle/>
        <a:p>
          <a:endParaRPr lang="en-US"/>
        </a:p>
      </dgm:t>
    </dgm:pt>
    <dgm:pt modelId="{2A857EBE-287F-47BF-BC3B-E1E5F39FA4B7}" type="sibTrans" cxnId="{8635D613-FF8F-4F3F-8F79-7C6A9DD574D3}">
      <dgm:prSet/>
      <dgm:spPr/>
      <dgm:t>
        <a:bodyPr/>
        <a:lstStyle/>
        <a:p>
          <a:endParaRPr lang="en-US"/>
        </a:p>
      </dgm:t>
    </dgm:pt>
    <dgm:pt modelId="{79B60177-2217-4C3E-BFB2-A7F514C11442}">
      <dgm:prSet phldrT="[Text]"/>
      <dgm:spPr>
        <a:solidFill>
          <a:schemeClr val="bg2"/>
        </a:solidFill>
      </dgm:spPr>
      <dgm:t>
        <a:bodyPr/>
        <a:lstStyle/>
        <a:p>
          <a:r>
            <a:rPr lang="en-US" dirty="0"/>
            <a:t>Unit Tests</a:t>
          </a:r>
        </a:p>
      </dgm:t>
    </dgm:pt>
    <dgm:pt modelId="{C0EE4951-222A-4A3C-884C-462AB7405FF1}" type="parTrans" cxnId="{9F73CDB9-E2B2-4C3B-BD07-14E9AE766AC9}">
      <dgm:prSet/>
      <dgm:spPr/>
      <dgm:t>
        <a:bodyPr/>
        <a:lstStyle/>
        <a:p>
          <a:endParaRPr lang="en-US"/>
        </a:p>
      </dgm:t>
    </dgm:pt>
    <dgm:pt modelId="{BB68D18C-C2C2-4B5D-A338-F21AC8AC055A}" type="sibTrans" cxnId="{9F73CDB9-E2B2-4C3B-BD07-14E9AE766AC9}">
      <dgm:prSet/>
      <dgm:spPr/>
      <dgm:t>
        <a:bodyPr/>
        <a:lstStyle/>
        <a:p>
          <a:endParaRPr lang="en-US"/>
        </a:p>
      </dgm:t>
    </dgm:pt>
    <dgm:pt modelId="{EA542168-3CF6-4E7D-BE36-F1874E1A6786}">
      <dgm:prSet phldrT="[Text]"/>
      <dgm:spPr>
        <a:solidFill>
          <a:schemeClr val="accent1"/>
        </a:solidFill>
      </dgm:spPr>
      <dgm:t>
        <a:bodyPr/>
        <a:lstStyle/>
        <a:p>
          <a:r>
            <a:rPr lang="en-US" dirty="0"/>
            <a:t>Artifact publish</a:t>
          </a:r>
        </a:p>
      </dgm:t>
    </dgm:pt>
    <dgm:pt modelId="{0F2809F5-F901-42CC-9BCD-A0A9B96DFE1C}" type="parTrans" cxnId="{A2117A40-75DD-4F93-9B85-0E6C330838BF}">
      <dgm:prSet/>
      <dgm:spPr/>
      <dgm:t>
        <a:bodyPr/>
        <a:lstStyle/>
        <a:p>
          <a:endParaRPr lang="en-US"/>
        </a:p>
      </dgm:t>
    </dgm:pt>
    <dgm:pt modelId="{EFA7C1C5-FEE2-496F-9C35-D5D7E067AD72}" type="sibTrans" cxnId="{A2117A40-75DD-4F93-9B85-0E6C330838BF}">
      <dgm:prSet/>
      <dgm:spPr/>
      <dgm:t>
        <a:bodyPr/>
        <a:lstStyle/>
        <a:p>
          <a:endParaRPr lang="en-US"/>
        </a:p>
      </dgm:t>
    </dgm:pt>
    <dgm:pt modelId="{C2993C98-6A6F-4187-B0C4-7E93C9DD87FA}">
      <dgm:prSet phldrT="[Text]"/>
      <dgm:spPr/>
      <dgm:t>
        <a:bodyPr/>
        <a:lstStyle/>
        <a:p>
          <a:r>
            <a:rPr lang="en-US" dirty="0"/>
            <a:t>Deploy</a:t>
          </a:r>
        </a:p>
      </dgm:t>
    </dgm:pt>
    <dgm:pt modelId="{9CBC2D13-0312-49BE-A158-5EA5D3005C80}" type="parTrans" cxnId="{026B8171-5599-4C67-B63E-7389ED643B06}">
      <dgm:prSet/>
      <dgm:spPr/>
      <dgm:t>
        <a:bodyPr/>
        <a:lstStyle/>
        <a:p>
          <a:endParaRPr lang="en-US"/>
        </a:p>
      </dgm:t>
    </dgm:pt>
    <dgm:pt modelId="{BE740BCE-24A9-4674-AEDF-D364E86B6D22}" type="sibTrans" cxnId="{026B8171-5599-4C67-B63E-7389ED643B06}">
      <dgm:prSet/>
      <dgm:spPr/>
      <dgm:t>
        <a:bodyPr/>
        <a:lstStyle/>
        <a:p>
          <a:endParaRPr lang="en-US"/>
        </a:p>
      </dgm:t>
    </dgm:pt>
    <dgm:pt modelId="{B3D0AF40-C106-41ED-9E6C-46321A70CAAB}">
      <dgm:prSet phldrT="[Text]"/>
      <dgm:spPr>
        <a:solidFill>
          <a:schemeClr val="bg2"/>
        </a:solidFill>
      </dgm:spPr>
      <dgm:t>
        <a:bodyPr/>
        <a:lstStyle/>
        <a:p>
          <a:r>
            <a:rPr lang="en-US" dirty="0"/>
            <a:t>Integration Tests</a:t>
          </a:r>
        </a:p>
      </dgm:t>
    </dgm:pt>
    <dgm:pt modelId="{D2A261CD-44A6-4CD9-BD0E-FC21222598C3}" type="parTrans" cxnId="{FB36DB1D-2A5C-47E1-BD93-3DE6146AF4C7}">
      <dgm:prSet/>
      <dgm:spPr/>
      <dgm:t>
        <a:bodyPr/>
        <a:lstStyle/>
        <a:p>
          <a:endParaRPr lang="en-US"/>
        </a:p>
      </dgm:t>
    </dgm:pt>
    <dgm:pt modelId="{D2A85F37-7CC7-4104-AF88-FFA6A57188E0}" type="sibTrans" cxnId="{FB36DB1D-2A5C-47E1-BD93-3DE6146AF4C7}">
      <dgm:prSet/>
      <dgm:spPr/>
      <dgm:t>
        <a:bodyPr/>
        <a:lstStyle/>
        <a:p>
          <a:endParaRPr lang="en-US"/>
        </a:p>
      </dgm:t>
    </dgm:pt>
    <dgm:pt modelId="{A37E9E2F-421E-4906-9EA5-4D3D0039337B}">
      <dgm:prSet phldrT="[Text]"/>
      <dgm:spPr>
        <a:solidFill>
          <a:schemeClr val="bg2"/>
        </a:solidFill>
      </dgm:spPr>
      <dgm:t>
        <a:bodyPr/>
        <a:lstStyle/>
        <a:p>
          <a:r>
            <a:rPr lang="en-US" dirty="0"/>
            <a:t>Code Coverage and </a:t>
          </a:r>
          <a:r>
            <a:rPr lang="en-US" dirty="0" err="1"/>
            <a:t>Vulerabilities</a:t>
          </a:r>
          <a:endParaRPr lang="en-US" dirty="0"/>
        </a:p>
      </dgm:t>
    </dgm:pt>
    <dgm:pt modelId="{CE6AC0C5-5287-487A-AA5B-84A420F4BCCF}" type="parTrans" cxnId="{BFE1E3BA-C15C-41DC-AAD8-92F9635D6BF2}">
      <dgm:prSet/>
      <dgm:spPr/>
      <dgm:t>
        <a:bodyPr/>
        <a:lstStyle/>
        <a:p>
          <a:endParaRPr lang="en-US"/>
        </a:p>
      </dgm:t>
    </dgm:pt>
    <dgm:pt modelId="{FB9F0D44-060C-450B-95E1-4D0DFC8E216B}" type="sibTrans" cxnId="{BFE1E3BA-C15C-41DC-AAD8-92F9635D6BF2}">
      <dgm:prSet/>
      <dgm:spPr/>
      <dgm:t>
        <a:bodyPr/>
        <a:lstStyle/>
        <a:p>
          <a:endParaRPr lang="en-US"/>
        </a:p>
      </dgm:t>
    </dgm:pt>
    <dgm:pt modelId="{244AB1FE-452B-48D8-8768-3BA11F7CDA2F}">
      <dgm:prSet phldrT="[Text]"/>
      <dgm:spPr>
        <a:solidFill>
          <a:schemeClr val="bg2"/>
        </a:solidFill>
      </dgm:spPr>
      <dgm:t>
        <a:bodyPr/>
        <a:lstStyle/>
        <a:p>
          <a:r>
            <a:rPr lang="en-US" dirty="0"/>
            <a:t>E2E Tests</a:t>
          </a:r>
        </a:p>
      </dgm:t>
    </dgm:pt>
    <dgm:pt modelId="{3AB6269D-FE5C-4FEF-9E3C-39AACC7EF09F}" type="parTrans" cxnId="{2CB7CF59-FCF1-4ACB-AC42-B02F3DA6E02C}">
      <dgm:prSet/>
      <dgm:spPr/>
      <dgm:t>
        <a:bodyPr/>
        <a:lstStyle/>
        <a:p>
          <a:endParaRPr lang="en-US"/>
        </a:p>
      </dgm:t>
    </dgm:pt>
    <dgm:pt modelId="{102BEBE8-1030-474E-80E3-A8F484E4F6D3}" type="sibTrans" cxnId="{2CB7CF59-FCF1-4ACB-AC42-B02F3DA6E02C}">
      <dgm:prSet/>
      <dgm:spPr/>
      <dgm:t>
        <a:bodyPr/>
        <a:lstStyle/>
        <a:p>
          <a:endParaRPr lang="en-US"/>
        </a:p>
      </dgm:t>
    </dgm:pt>
    <dgm:pt modelId="{C6B3F507-2D2A-4DC6-AC05-4B9C92757C16}">
      <dgm:prSet phldrT="[Text]"/>
      <dgm:spPr>
        <a:solidFill>
          <a:schemeClr val="bg2"/>
        </a:solidFill>
      </dgm:spPr>
      <dgm:t>
        <a:bodyPr/>
        <a:lstStyle/>
        <a:p>
          <a:r>
            <a:rPr lang="en-US" dirty="0"/>
            <a:t>Deploy and Release</a:t>
          </a:r>
        </a:p>
      </dgm:t>
    </dgm:pt>
    <dgm:pt modelId="{DE8F853C-71D4-4D0D-9A17-D8B374D814FD}" type="parTrans" cxnId="{2287F43C-9B45-4B41-8BD5-84AFAA7B2870}">
      <dgm:prSet/>
      <dgm:spPr/>
      <dgm:t>
        <a:bodyPr/>
        <a:lstStyle/>
        <a:p>
          <a:endParaRPr lang="en-US"/>
        </a:p>
      </dgm:t>
    </dgm:pt>
    <dgm:pt modelId="{D0C75D6A-40FE-4179-9416-F5DC0E331C7F}" type="sibTrans" cxnId="{2287F43C-9B45-4B41-8BD5-84AFAA7B2870}">
      <dgm:prSet/>
      <dgm:spPr/>
      <dgm:t>
        <a:bodyPr/>
        <a:lstStyle/>
        <a:p>
          <a:endParaRPr lang="en-US"/>
        </a:p>
      </dgm:t>
    </dgm:pt>
    <dgm:pt modelId="{5A8139B6-91BE-4CD6-9A26-1E8EB65606D1}" type="pres">
      <dgm:prSet presAssocID="{5F09BBEB-BCC3-459F-84E8-C3F45965DA09}" presName="Name0" presStyleCnt="0">
        <dgm:presLayoutVars>
          <dgm:dir/>
          <dgm:resizeHandles val="exact"/>
        </dgm:presLayoutVars>
      </dgm:prSet>
      <dgm:spPr/>
    </dgm:pt>
    <dgm:pt modelId="{E758B83E-CFEC-43EC-AF0D-E790A3C16319}" type="pres">
      <dgm:prSet presAssocID="{DB686BFB-198E-4000-A208-50B01C895C5D}" presName="parTxOnly" presStyleLbl="node1" presStyleIdx="0" presStyleCnt="10">
        <dgm:presLayoutVars>
          <dgm:bulletEnabled val="1"/>
        </dgm:presLayoutVars>
      </dgm:prSet>
      <dgm:spPr/>
    </dgm:pt>
    <dgm:pt modelId="{8B0AB190-C0DA-4BC9-AB8E-FC2ED0D56206}" type="pres">
      <dgm:prSet presAssocID="{71D97F50-AB3B-4D05-8099-47186F345C43}" presName="parSpace" presStyleCnt="0"/>
      <dgm:spPr/>
    </dgm:pt>
    <dgm:pt modelId="{57F52E1E-2C2F-47A9-A6D9-CB7537BF727C}" type="pres">
      <dgm:prSet presAssocID="{28FF80C1-E366-4469-835E-804BEA7EF9E9}" presName="parTxOnly" presStyleLbl="node1" presStyleIdx="1" presStyleCnt="10">
        <dgm:presLayoutVars>
          <dgm:bulletEnabled val="1"/>
        </dgm:presLayoutVars>
      </dgm:prSet>
      <dgm:spPr/>
    </dgm:pt>
    <dgm:pt modelId="{23AB88B7-C798-42E5-B3C5-6FD5532695B1}" type="pres">
      <dgm:prSet presAssocID="{91D0DF27-8817-4650-BB53-D21704C7C991}" presName="parSpace" presStyleCnt="0"/>
      <dgm:spPr/>
    </dgm:pt>
    <dgm:pt modelId="{0D14839E-F7AA-41F1-8F21-377D4525EA32}" type="pres">
      <dgm:prSet presAssocID="{308794B5-59A1-4F06-A19F-19B515FA2D2C}" presName="parTxOnly" presStyleLbl="node1" presStyleIdx="2" presStyleCnt="10">
        <dgm:presLayoutVars>
          <dgm:bulletEnabled val="1"/>
        </dgm:presLayoutVars>
      </dgm:prSet>
      <dgm:spPr/>
    </dgm:pt>
    <dgm:pt modelId="{6FCAC6DE-3B61-4FC5-BCC0-E4629EF4789A}" type="pres">
      <dgm:prSet presAssocID="{2A857EBE-287F-47BF-BC3B-E1E5F39FA4B7}" presName="parSpace" presStyleCnt="0"/>
      <dgm:spPr/>
    </dgm:pt>
    <dgm:pt modelId="{AC1BF143-926D-45ED-A5A3-43D05A5B5E05}" type="pres">
      <dgm:prSet presAssocID="{79B60177-2217-4C3E-BFB2-A7F514C11442}" presName="parTxOnly" presStyleLbl="node1" presStyleIdx="3" presStyleCnt="10">
        <dgm:presLayoutVars>
          <dgm:bulletEnabled val="1"/>
        </dgm:presLayoutVars>
      </dgm:prSet>
      <dgm:spPr/>
    </dgm:pt>
    <dgm:pt modelId="{0DE0C2D5-A75D-4380-B806-1FCE20FD6100}" type="pres">
      <dgm:prSet presAssocID="{BB68D18C-C2C2-4B5D-A338-F21AC8AC055A}" presName="parSpace" presStyleCnt="0"/>
      <dgm:spPr/>
    </dgm:pt>
    <dgm:pt modelId="{FAC99AAC-4206-4C8D-B75A-31CCAA24369E}" type="pres">
      <dgm:prSet presAssocID="{A37E9E2F-421E-4906-9EA5-4D3D0039337B}" presName="parTxOnly" presStyleLbl="node1" presStyleIdx="4" presStyleCnt="10">
        <dgm:presLayoutVars>
          <dgm:bulletEnabled val="1"/>
        </dgm:presLayoutVars>
      </dgm:prSet>
      <dgm:spPr/>
    </dgm:pt>
    <dgm:pt modelId="{C7EB8198-0BBC-4800-A04C-5A838FD89335}" type="pres">
      <dgm:prSet presAssocID="{FB9F0D44-060C-450B-95E1-4D0DFC8E216B}" presName="parSpace" presStyleCnt="0"/>
      <dgm:spPr/>
    </dgm:pt>
    <dgm:pt modelId="{EECB13DF-38FD-4199-93B9-448461C16185}" type="pres">
      <dgm:prSet presAssocID="{EA542168-3CF6-4E7D-BE36-F1874E1A6786}" presName="parTxOnly" presStyleLbl="node1" presStyleIdx="5" presStyleCnt="10">
        <dgm:presLayoutVars>
          <dgm:bulletEnabled val="1"/>
        </dgm:presLayoutVars>
      </dgm:prSet>
      <dgm:spPr/>
    </dgm:pt>
    <dgm:pt modelId="{E374F486-FB19-41B2-A0F0-48FB5502A237}" type="pres">
      <dgm:prSet presAssocID="{EFA7C1C5-FEE2-496F-9C35-D5D7E067AD72}" presName="parSpace" presStyleCnt="0"/>
      <dgm:spPr/>
    </dgm:pt>
    <dgm:pt modelId="{1C920BC9-2570-439E-8481-8C6F1CB98E73}" type="pres">
      <dgm:prSet presAssocID="{C2993C98-6A6F-4187-B0C4-7E93C9DD87FA}" presName="parTxOnly" presStyleLbl="node1" presStyleIdx="6" presStyleCnt="10">
        <dgm:presLayoutVars>
          <dgm:bulletEnabled val="1"/>
        </dgm:presLayoutVars>
      </dgm:prSet>
      <dgm:spPr/>
    </dgm:pt>
    <dgm:pt modelId="{83CF4DA9-86E0-4AE4-94AE-6C72C4A1D2F8}" type="pres">
      <dgm:prSet presAssocID="{BE740BCE-24A9-4674-AEDF-D364E86B6D22}" presName="parSpace" presStyleCnt="0"/>
      <dgm:spPr/>
    </dgm:pt>
    <dgm:pt modelId="{E8BBFEEE-B21B-4C1D-846B-B89F01B73A44}" type="pres">
      <dgm:prSet presAssocID="{B3D0AF40-C106-41ED-9E6C-46321A70CAAB}" presName="parTxOnly" presStyleLbl="node1" presStyleIdx="7" presStyleCnt="10">
        <dgm:presLayoutVars>
          <dgm:bulletEnabled val="1"/>
        </dgm:presLayoutVars>
      </dgm:prSet>
      <dgm:spPr/>
    </dgm:pt>
    <dgm:pt modelId="{79E1544A-52D1-4DF3-B1EF-1D7B51F38FFB}" type="pres">
      <dgm:prSet presAssocID="{D2A85F37-7CC7-4104-AF88-FFA6A57188E0}" presName="parSpace" presStyleCnt="0"/>
      <dgm:spPr/>
    </dgm:pt>
    <dgm:pt modelId="{2297D37F-06A9-4D3B-9E7D-1BFE806033E6}" type="pres">
      <dgm:prSet presAssocID="{244AB1FE-452B-48D8-8768-3BA11F7CDA2F}" presName="parTxOnly" presStyleLbl="node1" presStyleIdx="8" presStyleCnt="10">
        <dgm:presLayoutVars>
          <dgm:bulletEnabled val="1"/>
        </dgm:presLayoutVars>
      </dgm:prSet>
      <dgm:spPr/>
    </dgm:pt>
    <dgm:pt modelId="{860E36E1-9B69-4A8E-B7F1-1A203219B22F}" type="pres">
      <dgm:prSet presAssocID="{102BEBE8-1030-474E-80E3-A8F484E4F6D3}" presName="parSpace" presStyleCnt="0"/>
      <dgm:spPr/>
    </dgm:pt>
    <dgm:pt modelId="{8BF2E94A-9EDA-4D1B-B447-B22DF4954F6F}" type="pres">
      <dgm:prSet presAssocID="{C6B3F507-2D2A-4DC6-AC05-4B9C92757C16}" presName="parTxOnly" presStyleLbl="node1" presStyleIdx="9" presStyleCnt="10">
        <dgm:presLayoutVars>
          <dgm:bulletEnabled val="1"/>
        </dgm:presLayoutVars>
      </dgm:prSet>
      <dgm:spPr/>
    </dgm:pt>
  </dgm:ptLst>
  <dgm:cxnLst>
    <dgm:cxn modelId="{8635D613-FF8F-4F3F-8F79-7C6A9DD574D3}" srcId="{5F09BBEB-BCC3-459F-84E8-C3F45965DA09}" destId="{308794B5-59A1-4F06-A19F-19B515FA2D2C}" srcOrd="2" destOrd="0" parTransId="{40A90EE6-40C6-4C1A-975D-8DECA9BC3FD2}" sibTransId="{2A857EBE-287F-47BF-BC3B-E1E5F39FA4B7}"/>
    <dgm:cxn modelId="{7498D815-AE35-4CC1-87A5-4E163067D50B}" type="presOf" srcId="{C2993C98-6A6F-4187-B0C4-7E93C9DD87FA}" destId="{1C920BC9-2570-439E-8481-8C6F1CB98E73}" srcOrd="0" destOrd="0" presId="urn:microsoft.com/office/officeart/2005/8/layout/hChevron3"/>
    <dgm:cxn modelId="{CDCFC11C-CFCD-4E79-A72B-8D05C57DADFF}" srcId="{5F09BBEB-BCC3-459F-84E8-C3F45965DA09}" destId="{28FF80C1-E366-4469-835E-804BEA7EF9E9}" srcOrd="1" destOrd="0" parTransId="{C92A0CD3-241E-488E-AA57-8B6574467E0F}" sibTransId="{91D0DF27-8817-4650-BB53-D21704C7C991}"/>
    <dgm:cxn modelId="{FB36DB1D-2A5C-47E1-BD93-3DE6146AF4C7}" srcId="{5F09BBEB-BCC3-459F-84E8-C3F45965DA09}" destId="{B3D0AF40-C106-41ED-9E6C-46321A70CAAB}" srcOrd="7" destOrd="0" parTransId="{D2A261CD-44A6-4CD9-BD0E-FC21222598C3}" sibTransId="{D2A85F37-7CC7-4104-AF88-FFA6A57188E0}"/>
    <dgm:cxn modelId="{73D5EB2C-4DDA-469C-82CB-EB293E5A841C}" type="presOf" srcId="{A37E9E2F-421E-4906-9EA5-4D3D0039337B}" destId="{FAC99AAC-4206-4C8D-B75A-31CCAA24369E}" srcOrd="0" destOrd="0" presId="urn:microsoft.com/office/officeart/2005/8/layout/hChevron3"/>
    <dgm:cxn modelId="{BFE78C36-D48C-4ADF-B40F-FDA60F1CAFF1}" type="presOf" srcId="{308794B5-59A1-4F06-A19F-19B515FA2D2C}" destId="{0D14839E-F7AA-41F1-8F21-377D4525EA32}" srcOrd="0" destOrd="0" presId="urn:microsoft.com/office/officeart/2005/8/layout/hChevron3"/>
    <dgm:cxn modelId="{2287F43C-9B45-4B41-8BD5-84AFAA7B2870}" srcId="{5F09BBEB-BCC3-459F-84E8-C3F45965DA09}" destId="{C6B3F507-2D2A-4DC6-AC05-4B9C92757C16}" srcOrd="9" destOrd="0" parTransId="{DE8F853C-71D4-4D0D-9A17-D8B374D814FD}" sibTransId="{D0C75D6A-40FE-4179-9416-F5DC0E331C7F}"/>
    <dgm:cxn modelId="{A2117A40-75DD-4F93-9B85-0E6C330838BF}" srcId="{5F09BBEB-BCC3-459F-84E8-C3F45965DA09}" destId="{EA542168-3CF6-4E7D-BE36-F1874E1A6786}" srcOrd="5" destOrd="0" parTransId="{0F2809F5-F901-42CC-9BCD-A0A9B96DFE1C}" sibTransId="{EFA7C1C5-FEE2-496F-9C35-D5D7E067AD72}"/>
    <dgm:cxn modelId="{22FE0D61-FA1A-4575-9EA7-0847D35FB40F}" type="presOf" srcId="{244AB1FE-452B-48D8-8768-3BA11F7CDA2F}" destId="{2297D37F-06A9-4D3B-9E7D-1BFE806033E6}" srcOrd="0" destOrd="0" presId="urn:microsoft.com/office/officeart/2005/8/layout/hChevron3"/>
    <dgm:cxn modelId="{19255C41-D653-4AA7-B5D5-F563627BA0CF}" srcId="{5F09BBEB-BCC3-459F-84E8-C3F45965DA09}" destId="{DB686BFB-198E-4000-A208-50B01C895C5D}" srcOrd="0" destOrd="0" parTransId="{308DC400-404E-42BD-BE70-9AF5501A8294}" sibTransId="{71D97F50-AB3B-4D05-8099-47186F345C43}"/>
    <dgm:cxn modelId="{F9DECC50-2A9D-4CCE-A94B-38F80FBC12B2}" type="presOf" srcId="{DB686BFB-198E-4000-A208-50B01C895C5D}" destId="{E758B83E-CFEC-43EC-AF0D-E790A3C16319}" srcOrd="0" destOrd="0" presId="urn:microsoft.com/office/officeart/2005/8/layout/hChevron3"/>
    <dgm:cxn modelId="{026B8171-5599-4C67-B63E-7389ED643B06}" srcId="{5F09BBEB-BCC3-459F-84E8-C3F45965DA09}" destId="{C2993C98-6A6F-4187-B0C4-7E93C9DD87FA}" srcOrd="6" destOrd="0" parTransId="{9CBC2D13-0312-49BE-A158-5EA5D3005C80}" sibTransId="{BE740BCE-24A9-4674-AEDF-D364E86B6D22}"/>
    <dgm:cxn modelId="{2CB7CF59-FCF1-4ACB-AC42-B02F3DA6E02C}" srcId="{5F09BBEB-BCC3-459F-84E8-C3F45965DA09}" destId="{244AB1FE-452B-48D8-8768-3BA11F7CDA2F}" srcOrd="8" destOrd="0" parTransId="{3AB6269D-FE5C-4FEF-9E3C-39AACC7EF09F}" sibTransId="{102BEBE8-1030-474E-80E3-A8F484E4F6D3}"/>
    <dgm:cxn modelId="{6023F593-FCF4-43E2-85CE-AD10542CEE88}" type="presOf" srcId="{C6B3F507-2D2A-4DC6-AC05-4B9C92757C16}" destId="{8BF2E94A-9EDA-4D1B-B447-B22DF4954F6F}" srcOrd="0" destOrd="0" presId="urn:microsoft.com/office/officeart/2005/8/layout/hChevron3"/>
    <dgm:cxn modelId="{766E6C9B-742C-442E-8172-8BF8D40AD199}" type="presOf" srcId="{79B60177-2217-4C3E-BFB2-A7F514C11442}" destId="{AC1BF143-926D-45ED-A5A3-43D05A5B5E05}" srcOrd="0" destOrd="0" presId="urn:microsoft.com/office/officeart/2005/8/layout/hChevron3"/>
    <dgm:cxn modelId="{9F73CDB9-E2B2-4C3B-BD07-14E9AE766AC9}" srcId="{5F09BBEB-BCC3-459F-84E8-C3F45965DA09}" destId="{79B60177-2217-4C3E-BFB2-A7F514C11442}" srcOrd="3" destOrd="0" parTransId="{C0EE4951-222A-4A3C-884C-462AB7405FF1}" sibTransId="{BB68D18C-C2C2-4B5D-A338-F21AC8AC055A}"/>
    <dgm:cxn modelId="{BFE1E3BA-C15C-41DC-AAD8-92F9635D6BF2}" srcId="{5F09BBEB-BCC3-459F-84E8-C3F45965DA09}" destId="{A37E9E2F-421E-4906-9EA5-4D3D0039337B}" srcOrd="4" destOrd="0" parTransId="{CE6AC0C5-5287-487A-AA5B-84A420F4BCCF}" sibTransId="{FB9F0D44-060C-450B-95E1-4D0DFC8E216B}"/>
    <dgm:cxn modelId="{972F8AC6-E642-4970-B4CF-B938DF3C94A2}" type="presOf" srcId="{28FF80C1-E366-4469-835E-804BEA7EF9E9}" destId="{57F52E1E-2C2F-47A9-A6D9-CB7537BF727C}" srcOrd="0" destOrd="0" presId="urn:microsoft.com/office/officeart/2005/8/layout/hChevron3"/>
    <dgm:cxn modelId="{178236CB-EF09-4173-8EBE-FC737AED0D85}" type="presOf" srcId="{EA542168-3CF6-4E7D-BE36-F1874E1A6786}" destId="{EECB13DF-38FD-4199-93B9-448461C16185}" srcOrd="0" destOrd="0" presId="urn:microsoft.com/office/officeart/2005/8/layout/hChevron3"/>
    <dgm:cxn modelId="{6C1C96E4-80FF-48EC-9B74-7A88917D15EF}" type="presOf" srcId="{B3D0AF40-C106-41ED-9E6C-46321A70CAAB}" destId="{E8BBFEEE-B21B-4C1D-846B-B89F01B73A44}" srcOrd="0" destOrd="0" presId="urn:microsoft.com/office/officeart/2005/8/layout/hChevron3"/>
    <dgm:cxn modelId="{55A360EF-56B4-4E1B-B6DC-788CB3D5C2D3}" type="presOf" srcId="{5F09BBEB-BCC3-459F-84E8-C3F45965DA09}" destId="{5A8139B6-91BE-4CD6-9A26-1E8EB65606D1}" srcOrd="0" destOrd="0" presId="urn:microsoft.com/office/officeart/2005/8/layout/hChevron3"/>
    <dgm:cxn modelId="{F7229797-FA27-4730-8A33-B779CCDC5C3C}" type="presParOf" srcId="{5A8139B6-91BE-4CD6-9A26-1E8EB65606D1}" destId="{E758B83E-CFEC-43EC-AF0D-E790A3C16319}" srcOrd="0" destOrd="0" presId="urn:microsoft.com/office/officeart/2005/8/layout/hChevron3"/>
    <dgm:cxn modelId="{797CD30E-B045-4A2A-A262-5FA3F2383F0E}" type="presParOf" srcId="{5A8139B6-91BE-4CD6-9A26-1E8EB65606D1}" destId="{8B0AB190-C0DA-4BC9-AB8E-FC2ED0D56206}" srcOrd="1" destOrd="0" presId="urn:microsoft.com/office/officeart/2005/8/layout/hChevron3"/>
    <dgm:cxn modelId="{8350EBD2-82F9-43A1-8271-7B3C2601C7FF}" type="presParOf" srcId="{5A8139B6-91BE-4CD6-9A26-1E8EB65606D1}" destId="{57F52E1E-2C2F-47A9-A6D9-CB7537BF727C}" srcOrd="2" destOrd="0" presId="urn:microsoft.com/office/officeart/2005/8/layout/hChevron3"/>
    <dgm:cxn modelId="{065A1536-B084-4DE2-9756-A8BD56653EAA}" type="presParOf" srcId="{5A8139B6-91BE-4CD6-9A26-1E8EB65606D1}" destId="{23AB88B7-C798-42E5-B3C5-6FD5532695B1}" srcOrd="3" destOrd="0" presId="urn:microsoft.com/office/officeart/2005/8/layout/hChevron3"/>
    <dgm:cxn modelId="{900BF689-8BEA-4E5F-86F5-16B928223239}" type="presParOf" srcId="{5A8139B6-91BE-4CD6-9A26-1E8EB65606D1}" destId="{0D14839E-F7AA-41F1-8F21-377D4525EA32}" srcOrd="4" destOrd="0" presId="urn:microsoft.com/office/officeart/2005/8/layout/hChevron3"/>
    <dgm:cxn modelId="{FDD11ECE-9527-4A81-A422-BB7C9D8AFA6A}" type="presParOf" srcId="{5A8139B6-91BE-4CD6-9A26-1E8EB65606D1}" destId="{6FCAC6DE-3B61-4FC5-BCC0-E4629EF4789A}" srcOrd="5" destOrd="0" presId="urn:microsoft.com/office/officeart/2005/8/layout/hChevron3"/>
    <dgm:cxn modelId="{3C10773A-398D-41D7-B997-F0F842EF9BCD}" type="presParOf" srcId="{5A8139B6-91BE-4CD6-9A26-1E8EB65606D1}" destId="{AC1BF143-926D-45ED-A5A3-43D05A5B5E05}" srcOrd="6" destOrd="0" presId="urn:microsoft.com/office/officeart/2005/8/layout/hChevron3"/>
    <dgm:cxn modelId="{CC76DA5B-FB4F-4410-8237-D6E32C8F3069}" type="presParOf" srcId="{5A8139B6-91BE-4CD6-9A26-1E8EB65606D1}" destId="{0DE0C2D5-A75D-4380-B806-1FCE20FD6100}" srcOrd="7" destOrd="0" presId="urn:microsoft.com/office/officeart/2005/8/layout/hChevron3"/>
    <dgm:cxn modelId="{F2E2E515-6858-4F8B-B7EC-AA286C5DFF3C}" type="presParOf" srcId="{5A8139B6-91BE-4CD6-9A26-1E8EB65606D1}" destId="{FAC99AAC-4206-4C8D-B75A-31CCAA24369E}" srcOrd="8" destOrd="0" presId="urn:microsoft.com/office/officeart/2005/8/layout/hChevron3"/>
    <dgm:cxn modelId="{7A259C44-7F18-419D-B25D-87D26844FD0A}" type="presParOf" srcId="{5A8139B6-91BE-4CD6-9A26-1E8EB65606D1}" destId="{C7EB8198-0BBC-4800-A04C-5A838FD89335}" srcOrd="9" destOrd="0" presId="urn:microsoft.com/office/officeart/2005/8/layout/hChevron3"/>
    <dgm:cxn modelId="{1DB9D684-FDF1-4485-8F05-243A582343B3}" type="presParOf" srcId="{5A8139B6-91BE-4CD6-9A26-1E8EB65606D1}" destId="{EECB13DF-38FD-4199-93B9-448461C16185}" srcOrd="10" destOrd="0" presId="urn:microsoft.com/office/officeart/2005/8/layout/hChevron3"/>
    <dgm:cxn modelId="{F9BC0876-B7B1-4E36-866A-621301818E4D}" type="presParOf" srcId="{5A8139B6-91BE-4CD6-9A26-1E8EB65606D1}" destId="{E374F486-FB19-41B2-A0F0-48FB5502A237}" srcOrd="11" destOrd="0" presId="urn:microsoft.com/office/officeart/2005/8/layout/hChevron3"/>
    <dgm:cxn modelId="{68901253-C80F-4309-BEEB-846BF429E040}" type="presParOf" srcId="{5A8139B6-91BE-4CD6-9A26-1E8EB65606D1}" destId="{1C920BC9-2570-439E-8481-8C6F1CB98E73}" srcOrd="12" destOrd="0" presId="urn:microsoft.com/office/officeart/2005/8/layout/hChevron3"/>
    <dgm:cxn modelId="{5EB9676F-FACE-4045-893B-ED5656605287}" type="presParOf" srcId="{5A8139B6-91BE-4CD6-9A26-1E8EB65606D1}" destId="{83CF4DA9-86E0-4AE4-94AE-6C72C4A1D2F8}" srcOrd="13" destOrd="0" presId="urn:microsoft.com/office/officeart/2005/8/layout/hChevron3"/>
    <dgm:cxn modelId="{BC6C1E01-C648-40BB-BFCB-9AB904C2A097}" type="presParOf" srcId="{5A8139B6-91BE-4CD6-9A26-1E8EB65606D1}" destId="{E8BBFEEE-B21B-4C1D-846B-B89F01B73A44}" srcOrd="14" destOrd="0" presId="urn:microsoft.com/office/officeart/2005/8/layout/hChevron3"/>
    <dgm:cxn modelId="{0B6B22D8-7F48-4240-8E4C-779E49ED37CA}" type="presParOf" srcId="{5A8139B6-91BE-4CD6-9A26-1E8EB65606D1}" destId="{79E1544A-52D1-4DF3-B1EF-1D7B51F38FFB}" srcOrd="15" destOrd="0" presId="urn:microsoft.com/office/officeart/2005/8/layout/hChevron3"/>
    <dgm:cxn modelId="{3EC2B338-A00C-4A6E-975E-8084F004117A}" type="presParOf" srcId="{5A8139B6-91BE-4CD6-9A26-1E8EB65606D1}" destId="{2297D37F-06A9-4D3B-9E7D-1BFE806033E6}" srcOrd="16" destOrd="0" presId="urn:microsoft.com/office/officeart/2005/8/layout/hChevron3"/>
    <dgm:cxn modelId="{430BCF5F-58E7-4BD0-88BD-64AD6818FB00}" type="presParOf" srcId="{5A8139B6-91BE-4CD6-9A26-1E8EB65606D1}" destId="{860E36E1-9B69-4A8E-B7F1-1A203219B22F}" srcOrd="17" destOrd="0" presId="urn:microsoft.com/office/officeart/2005/8/layout/hChevron3"/>
    <dgm:cxn modelId="{2455F435-7A6F-438C-8A67-346DE979ECE7}" type="presParOf" srcId="{5A8139B6-91BE-4CD6-9A26-1E8EB65606D1}" destId="{8BF2E94A-9EDA-4D1B-B447-B22DF4954F6F}" srcOrd="18" destOrd="0" presId="urn:microsoft.com/office/officeart/2005/8/layout/hChevron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5F09BBEB-BCC3-459F-84E8-C3F45965DA09}" type="doc">
      <dgm:prSet loTypeId="urn:microsoft.com/office/officeart/2005/8/layout/hChevron3" loCatId="process" qsTypeId="urn:microsoft.com/office/officeart/2005/8/quickstyle/simple1" qsCatId="simple" csTypeId="urn:microsoft.com/office/officeart/2005/8/colors/accent1_2" csCatId="accent1" phldr="1"/>
      <dgm:spPr/>
    </dgm:pt>
    <dgm:pt modelId="{D9A46A24-1A39-40C4-BDEF-CFA7810A2AAE}">
      <dgm:prSet custT="1"/>
      <dgm:spPr>
        <a:solidFill>
          <a:schemeClr val="bg2"/>
        </a:solidFill>
      </dgm:spPr>
      <dgm:t>
        <a:bodyPr/>
        <a:lstStyle/>
        <a:p>
          <a:r>
            <a:rPr lang="en-US" sz="1800" dirty="0"/>
            <a:t>Continuous Integration</a:t>
          </a:r>
        </a:p>
      </dgm:t>
    </dgm:pt>
    <dgm:pt modelId="{66FFC086-41A2-4587-A80D-C476FEB0A87D}" type="parTrans" cxnId="{D4CE26BC-77E7-45C7-A7B2-153FEC32CCF0}">
      <dgm:prSet/>
      <dgm:spPr/>
      <dgm:t>
        <a:bodyPr/>
        <a:lstStyle/>
        <a:p>
          <a:endParaRPr lang="en-US" sz="1200"/>
        </a:p>
      </dgm:t>
    </dgm:pt>
    <dgm:pt modelId="{F798BDF2-5A93-4BDF-814C-A30D18340DBF}" type="sibTrans" cxnId="{D4CE26BC-77E7-45C7-A7B2-153FEC32CCF0}">
      <dgm:prSet/>
      <dgm:spPr/>
      <dgm:t>
        <a:bodyPr/>
        <a:lstStyle/>
        <a:p>
          <a:endParaRPr lang="en-US" sz="1200"/>
        </a:p>
      </dgm:t>
    </dgm:pt>
    <dgm:pt modelId="{34418343-4F07-404D-BE38-92B2D24B7E05}">
      <dgm:prSet custT="1"/>
      <dgm:spPr>
        <a:solidFill>
          <a:schemeClr val="bg2"/>
        </a:solidFill>
      </dgm:spPr>
      <dgm:t>
        <a:bodyPr/>
        <a:lstStyle/>
        <a:p>
          <a:r>
            <a:rPr lang="en-US" sz="1800" dirty="0"/>
            <a:t>Continuous Delivery</a:t>
          </a:r>
        </a:p>
      </dgm:t>
    </dgm:pt>
    <dgm:pt modelId="{A7A8E09D-662C-45E2-9798-75DFCF5AD338}" type="parTrans" cxnId="{72105B5F-CE7A-4453-8ABE-41BD72E534BE}">
      <dgm:prSet/>
      <dgm:spPr/>
      <dgm:t>
        <a:bodyPr/>
        <a:lstStyle/>
        <a:p>
          <a:endParaRPr lang="en-US" sz="1200"/>
        </a:p>
      </dgm:t>
    </dgm:pt>
    <dgm:pt modelId="{492097AD-6096-4A56-ACAB-319019CDAEEB}" type="sibTrans" cxnId="{72105B5F-CE7A-4453-8ABE-41BD72E534BE}">
      <dgm:prSet/>
      <dgm:spPr/>
      <dgm:t>
        <a:bodyPr/>
        <a:lstStyle/>
        <a:p>
          <a:endParaRPr lang="en-US" sz="1200"/>
        </a:p>
      </dgm:t>
    </dgm:pt>
    <dgm:pt modelId="{5A8139B6-91BE-4CD6-9A26-1E8EB65606D1}" type="pres">
      <dgm:prSet presAssocID="{5F09BBEB-BCC3-459F-84E8-C3F45965DA09}" presName="Name0" presStyleCnt="0">
        <dgm:presLayoutVars>
          <dgm:dir/>
          <dgm:resizeHandles val="exact"/>
        </dgm:presLayoutVars>
      </dgm:prSet>
      <dgm:spPr/>
    </dgm:pt>
    <dgm:pt modelId="{100BB1A8-A75B-46B4-A88C-52BAAA4EA6C2}" type="pres">
      <dgm:prSet presAssocID="{D9A46A24-1A39-40C4-BDEF-CFA7810A2AAE}" presName="parTxOnly" presStyleLbl="node1" presStyleIdx="0" presStyleCnt="2" custScaleX="58075" custLinFactNeighborX="-40788" custLinFactNeighborY="7816">
        <dgm:presLayoutVars>
          <dgm:bulletEnabled val="1"/>
        </dgm:presLayoutVars>
      </dgm:prSet>
      <dgm:spPr/>
    </dgm:pt>
    <dgm:pt modelId="{F4229669-D6F8-4B59-A4CD-D5346B3C39F1}" type="pres">
      <dgm:prSet presAssocID="{F798BDF2-5A93-4BDF-814C-A30D18340DBF}" presName="parSpace" presStyleCnt="0"/>
      <dgm:spPr/>
    </dgm:pt>
    <dgm:pt modelId="{C41A44A8-F315-467A-BC7A-DF5D204D36AC}" type="pres">
      <dgm:prSet presAssocID="{34418343-4F07-404D-BE38-92B2D24B7E05}" presName="parTxOnly" presStyleLbl="node1" presStyleIdx="1" presStyleCnt="2" custScaleX="45034" custLinFactNeighborX="35969" custLinFactNeighborY="-3574">
        <dgm:presLayoutVars>
          <dgm:bulletEnabled val="1"/>
        </dgm:presLayoutVars>
      </dgm:prSet>
      <dgm:spPr/>
    </dgm:pt>
  </dgm:ptLst>
  <dgm:cxnLst>
    <dgm:cxn modelId="{3F1E4133-2A1E-4235-9328-E58716960D9C}" type="presOf" srcId="{D9A46A24-1A39-40C4-BDEF-CFA7810A2AAE}" destId="{100BB1A8-A75B-46B4-A88C-52BAAA4EA6C2}" srcOrd="0" destOrd="0" presId="urn:microsoft.com/office/officeart/2005/8/layout/hChevron3"/>
    <dgm:cxn modelId="{72105B5F-CE7A-4453-8ABE-41BD72E534BE}" srcId="{5F09BBEB-BCC3-459F-84E8-C3F45965DA09}" destId="{34418343-4F07-404D-BE38-92B2D24B7E05}" srcOrd="1" destOrd="0" parTransId="{A7A8E09D-662C-45E2-9798-75DFCF5AD338}" sibTransId="{492097AD-6096-4A56-ACAB-319019CDAEEB}"/>
    <dgm:cxn modelId="{7E9AAF4F-F86E-4539-8342-B42AC99F5AEA}" type="presOf" srcId="{34418343-4F07-404D-BE38-92B2D24B7E05}" destId="{C41A44A8-F315-467A-BC7A-DF5D204D36AC}" srcOrd="0" destOrd="0" presId="urn:microsoft.com/office/officeart/2005/8/layout/hChevron3"/>
    <dgm:cxn modelId="{D4CE26BC-77E7-45C7-A7B2-153FEC32CCF0}" srcId="{5F09BBEB-BCC3-459F-84E8-C3F45965DA09}" destId="{D9A46A24-1A39-40C4-BDEF-CFA7810A2AAE}" srcOrd="0" destOrd="0" parTransId="{66FFC086-41A2-4587-A80D-C476FEB0A87D}" sibTransId="{F798BDF2-5A93-4BDF-814C-A30D18340DBF}"/>
    <dgm:cxn modelId="{55A360EF-56B4-4E1B-B6DC-788CB3D5C2D3}" type="presOf" srcId="{5F09BBEB-BCC3-459F-84E8-C3F45965DA09}" destId="{5A8139B6-91BE-4CD6-9A26-1E8EB65606D1}" srcOrd="0" destOrd="0" presId="urn:microsoft.com/office/officeart/2005/8/layout/hChevron3"/>
    <dgm:cxn modelId="{DDC0E7FD-96EA-4482-B703-BF8FE526B224}" type="presParOf" srcId="{5A8139B6-91BE-4CD6-9A26-1E8EB65606D1}" destId="{100BB1A8-A75B-46B4-A88C-52BAAA4EA6C2}" srcOrd="0" destOrd="0" presId="urn:microsoft.com/office/officeart/2005/8/layout/hChevron3"/>
    <dgm:cxn modelId="{8A7AB3D9-74DF-4991-94ED-11FEBCFC64DB}" type="presParOf" srcId="{5A8139B6-91BE-4CD6-9A26-1E8EB65606D1}" destId="{F4229669-D6F8-4B59-A4CD-D5346B3C39F1}" srcOrd="1" destOrd="0" presId="urn:microsoft.com/office/officeart/2005/8/layout/hChevron3"/>
    <dgm:cxn modelId="{6B0B2E57-CF46-45C3-B806-CBA9927886B9}" type="presParOf" srcId="{5A8139B6-91BE-4CD6-9A26-1E8EB65606D1}" destId="{C41A44A8-F315-467A-BC7A-DF5D204D36AC}" srcOrd="2" destOrd="0" presId="urn:microsoft.com/office/officeart/2005/8/layout/hChevron3"/>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5F09BBEB-BCC3-459F-84E8-C3F45965DA09}" type="doc">
      <dgm:prSet loTypeId="urn:microsoft.com/office/officeart/2005/8/layout/hChevron3" loCatId="process" qsTypeId="urn:microsoft.com/office/officeart/2005/8/quickstyle/simple1" qsCatId="simple" csTypeId="urn:microsoft.com/office/officeart/2005/8/colors/accent1_2" csCatId="accent1" phldr="1"/>
      <dgm:spPr/>
    </dgm:pt>
    <dgm:pt modelId="{DB686BFB-198E-4000-A208-50B01C895C5D}">
      <dgm:prSet phldrT="[Text]"/>
      <dgm:spPr>
        <a:solidFill>
          <a:schemeClr val="bg2"/>
        </a:solidFill>
      </dgm:spPr>
      <dgm:t>
        <a:bodyPr/>
        <a:lstStyle/>
        <a:p>
          <a:r>
            <a:rPr lang="en-US" dirty="0"/>
            <a:t>Plan</a:t>
          </a:r>
        </a:p>
      </dgm:t>
    </dgm:pt>
    <dgm:pt modelId="{308DC400-404E-42BD-BE70-9AF5501A8294}" type="parTrans" cxnId="{19255C41-D653-4AA7-B5D5-F563627BA0CF}">
      <dgm:prSet/>
      <dgm:spPr/>
      <dgm:t>
        <a:bodyPr/>
        <a:lstStyle/>
        <a:p>
          <a:endParaRPr lang="en-US"/>
        </a:p>
      </dgm:t>
    </dgm:pt>
    <dgm:pt modelId="{71D97F50-AB3B-4D05-8099-47186F345C43}" type="sibTrans" cxnId="{19255C41-D653-4AA7-B5D5-F563627BA0CF}">
      <dgm:prSet/>
      <dgm:spPr/>
      <dgm:t>
        <a:bodyPr/>
        <a:lstStyle/>
        <a:p>
          <a:endParaRPr lang="en-US"/>
        </a:p>
      </dgm:t>
    </dgm:pt>
    <dgm:pt modelId="{28FF80C1-E366-4469-835E-804BEA7EF9E9}">
      <dgm:prSet phldrT="[Text]"/>
      <dgm:spPr>
        <a:solidFill>
          <a:schemeClr val="bg2"/>
        </a:solidFill>
      </dgm:spPr>
      <dgm:t>
        <a:bodyPr/>
        <a:lstStyle/>
        <a:p>
          <a:r>
            <a:rPr lang="en-US" dirty="0"/>
            <a:t>Code</a:t>
          </a:r>
        </a:p>
      </dgm:t>
    </dgm:pt>
    <dgm:pt modelId="{C92A0CD3-241E-488E-AA57-8B6574467E0F}" type="parTrans" cxnId="{CDCFC11C-CFCD-4E79-A72B-8D05C57DADFF}">
      <dgm:prSet/>
      <dgm:spPr/>
      <dgm:t>
        <a:bodyPr/>
        <a:lstStyle/>
        <a:p>
          <a:endParaRPr lang="en-US"/>
        </a:p>
      </dgm:t>
    </dgm:pt>
    <dgm:pt modelId="{91D0DF27-8817-4650-BB53-D21704C7C991}" type="sibTrans" cxnId="{CDCFC11C-CFCD-4E79-A72B-8D05C57DADFF}">
      <dgm:prSet/>
      <dgm:spPr/>
      <dgm:t>
        <a:bodyPr/>
        <a:lstStyle/>
        <a:p>
          <a:endParaRPr lang="en-US"/>
        </a:p>
      </dgm:t>
    </dgm:pt>
    <dgm:pt modelId="{308794B5-59A1-4F06-A19F-19B515FA2D2C}">
      <dgm:prSet phldrT="[Text]"/>
      <dgm:spPr>
        <a:solidFill>
          <a:schemeClr val="bg2"/>
        </a:solidFill>
      </dgm:spPr>
      <dgm:t>
        <a:bodyPr/>
        <a:lstStyle/>
        <a:p>
          <a:r>
            <a:rPr lang="en-US" dirty="0"/>
            <a:t>Build</a:t>
          </a:r>
        </a:p>
      </dgm:t>
    </dgm:pt>
    <dgm:pt modelId="{40A90EE6-40C6-4C1A-975D-8DECA9BC3FD2}" type="parTrans" cxnId="{8635D613-FF8F-4F3F-8F79-7C6A9DD574D3}">
      <dgm:prSet/>
      <dgm:spPr/>
      <dgm:t>
        <a:bodyPr/>
        <a:lstStyle/>
        <a:p>
          <a:endParaRPr lang="en-US"/>
        </a:p>
      </dgm:t>
    </dgm:pt>
    <dgm:pt modelId="{2A857EBE-287F-47BF-BC3B-E1E5F39FA4B7}" type="sibTrans" cxnId="{8635D613-FF8F-4F3F-8F79-7C6A9DD574D3}">
      <dgm:prSet/>
      <dgm:spPr/>
      <dgm:t>
        <a:bodyPr/>
        <a:lstStyle/>
        <a:p>
          <a:endParaRPr lang="en-US"/>
        </a:p>
      </dgm:t>
    </dgm:pt>
    <dgm:pt modelId="{79B60177-2217-4C3E-BFB2-A7F514C11442}">
      <dgm:prSet phldrT="[Text]"/>
      <dgm:spPr>
        <a:solidFill>
          <a:schemeClr val="bg2"/>
        </a:solidFill>
      </dgm:spPr>
      <dgm:t>
        <a:bodyPr/>
        <a:lstStyle/>
        <a:p>
          <a:r>
            <a:rPr lang="en-US" dirty="0"/>
            <a:t>Unit Tests</a:t>
          </a:r>
        </a:p>
      </dgm:t>
    </dgm:pt>
    <dgm:pt modelId="{C0EE4951-222A-4A3C-884C-462AB7405FF1}" type="parTrans" cxnId="{9F73CDB9-E2B2-4C3B-BD07-14E9AE766AC9}">
      <dgm:prSet/>
      <dgm:spPr/>
      <dgm:t>
        <a:bodyPr/>
        <a:lstStyle/>
        <a:p>
          <a:endParaRPr lang="en-US"/>
        </a:p>
      </dgm:t>
    </dgm:pt>
    <dgm:pt modelId="{BB68D18C-C2C2-4B5D-A338-F21AC8AC055A}" type="sibTrans" cxnId="{9F73CDB9-E2B2-4C3B-BD07-14E9AE766AC9}">
      <dgm:prSet/>
      <dgm:spPr/>
      <dgm:t>
        <a:bodyPr/>
        <a:lstStyle/>
        <a:p>
          <a:endParaRPr lang="en-US"/>
        </a:p>
      </dgm:t>
    </dgm:pt>
    <dgm:pt modelId="{EA542168-3CF6-4E7D-BE36-F1874E1A6786}">
      <dgm:prSet phldrT="[Text]"/>
      <dgm:spPr>
        <a:solidFill>
          <a:schemeClr val="bg2"/>
        </a:solidFill>
      </dgm:spPr>
      <dgm:t>
        <a:bodyPr/>
        <a:lstStyle/>
        <a:p>
          <a:r>
            <a:rPr lang="en-US" dirty="0"/>
            <a:t>Artifact publish</a:t>
          </a:r>
        </a:p>
      </dgm:t>
    </dgm:pt>
    <dgm:pt modelId="{0F2809F5-F901-42CC-9BCD-A0A9B96DFE1C}" type="parTrans" cxnId="{A2117A40-75DD-4F93-9B85-0E6C330838BF}">
      <dgm:prSet/>
      <dgm:spPr/>
      <dgm:t>
        <a:bodyPr/>
        <a:lstStyle/>
        <a:p>
          <a:endParaRPr lang="en-US"/>
        </a:p>
      </dgm:t>
    </dgm:pt>
    <dgm:pt modelId="{EFA7C1C5-FEE2-496F-9C35-D5D7E067AD72}" type="sibTrans" cxnId="{A2117A40-75DD-4F93-9B85-0E6C330838BF}">
      <dgm:prSet/>
      <dgm:spPr/>
      <dgm:t>
        <a:bodyPr/>
        <a:lstStyle/>
        <a:p>
          <a:endParaRPr lang="en-US"/>
        </a:p>
      </dgm:t>
    </dgm:pt>
    <dgm:pt modelId="{C2993C98-6A6F-4187-B0C4-7E93C9DD87FA}">
      <dgm:prSet phldrT="[Text]"/>
      <dgm:spPr>
        <a:solidFill>
          <a:schemeClr val="bg2"/>
        </a:solidFill>
      </dgm:spPr>
      <dgm:t>
        <a:bodyPr/>
        <a:lstStyle/>
        <a:p>
          <a:r>
            <a:rPr lang="en-US" dirty="0"/>
            <a:t>Deploy</a:t>
          </a:r>
        </a:p>
      </dgm:t>
    </dgm:pt>
    <dgm:pt modelId="{9CBC2D13-0312-49BE-A158-5EA5D3005C80}" type="parTrans" cxnId="{026B8171-5599-4C67-B63E-7389ED643B06}">
      <dgm:prSet/>
      <dgm:spPr/>
      <dgm:t>
        <a:bodyPr/>
        <a:lstStyle/>
        <a:p>
          <a:endParaRPr lang="en-US"/>
        </a:p>
      </dgm:t>
    </dgm:pt>
    <dgm:pt modelId="{BE740BCE-24A9-4674-AEDF-D364E86B6D22}" type="sibTrans" cxnId="{026B8171-5599-4C67-B63E-7389ED643B06}">
      <dgm:prSet/>
      <dgm:spPr/>
      <dgm:t>
        <a:bodyPr/>
        <a:lstStyle/>
        <a:p>
          <a:endParaRPr lang="en-US"/>
        </a:p>
      </dgm:t>
    </dgm:pt>
    <dgm:pt modelId="{B3D0AF40-C106-41ED-9E6C-46321A70CAAB}">
      <dgm:prSet phldrT="[Text]"/>
      <dgm:spPr/>
      <dgm:t>
        <a:bodyPr/>
        <a:lstStyle/>
        <a:p>
          <a:r>
            <a:rPr lang="en-US" dirty="0"/>
            <a:t>Integration Tests</a:t>
          </a:r>
        </a:p>
      </dgm:t>
    </dgm:pt>
    <dgm:pt modelId="{D2A261CD-44A6-4CD9-BD0E-FC21222598C3}" type="parTrans" cxnId="{FB36DB1D-2A5C-47E1-BD93-3DE6146AF4C7}">
      <dgm:prSet/>
      <dgm:spPr/>
      <dgm:t>
        <a:bodyPr/>
        <a:lstStyle/>
        <a:p>
          <a:endParaRPr lang="en-US"/>
        </a:p>
      </dgm:t>
    </dgm:pt>
    <dgm:pt modelId="{D2A85F37-7CC7-4104-AF88-FFA6A57188E0}" type="sibTrans" cxnId="{FB36DB1D-2A5C-47E1-BD93-3DE6146AF4C7}">
      <dgm:prSet/>
      <dgm:spPr/>
      <dgm:t>
        <a:bodyPr/>
        <a:lstStyle/>
        <a:p>
          <a:endParaRPr lang="en-US"/>
        </a:p>
      </dgm:t>
    </dgm:pt>
    <dgm:pt modelId="{A37E9E2F-421E-4906-9EA5-4D3D0039337B}">
      <dgm:prSet phldrT="[Text]"/>
      <dgm:spPr>
        <a:solidFill>
          <a:schemeClr val="bg2"/>
        </a:solidFill>
      </dgm:spPr>
      <dgm:t>
        <a:bodyPr/>
        <a:lstStyle/>
        <a:p>
          <a:r>
            <a:rPr lang="en-US" dirty="0"/>
            <a:t>Code Coverage and </a:t>
          </a:r>
          <a:r>
            <a:rPr lang="en-US" dirty="0" err="1"/>
            <a:t>Vulerabilities</a:t>
          </a:r>
          <a:endParaRPr lang="en-US" dirty="0"/>
        </a:p>
      </dgm:t>
    </dgm:pt>
    <dgm:pt modelId="{CE6AC0C5-5287-487A-AA5B-84A420F4BCCF}" type="parTrans" cxnId="{BFE1E3BA-C15C-41DC-AAD8-92F9635D6BF2}">
      <dgm:prSet/>
      <dgm:spPr/>
      <dgm:t>
        <a:bodyPr/>
        <a:lstStyle/>
        <a:p>
          <a:endParaRPr lang="en-US"/>
        </a:p>
      </dgm:t>
    </dgm:pt>
    <dgm:pt modelId="{FB9F0D44-060C-450B-95E1-4D0DFC8E216B}" type="sibTrans" cxnId="{BFE1E3BA-C15C-41DC-AAD8-92F9635D6BF2}">
      <dgm:prSet/>
      <dgm:spPr/>
      <dgm:t>
        <a:bodyPr/>
        <a:lstStyle/>
        <a:p>
          <a:endParaRPr lang="en-US"/>
        </a:p>
      </dgm:t>
    </dgm:pt>
    <dgm:pt modelId="{244AB1FE-452B-48D8-8768-3BA11F7CDA2F}">
      <dgm:prSet phldrT="[Text]"/>
      <dgm:spPr/>
      <dgm:t>
        <a:bodyPr/>
        <a:lstStyle/>
        <a:p>
          <a:r>
            <a:rPr lang="en-US" dirty="0"/>
            <a:t>E2E Tests</a:t>
          </a:r>
        </a:p>
      </dgm:t>
    </dgm:pt>
    <dgm:pt modelId="{3AB6269D-FE5C-4FEF-9E3C-39AACC7EF09F}" type="parTrans" cxnId="{2CB7CF59-FCF1-4ACB-AC42-B02F3DA6E02C}">
      <dgm:prSet/>
      <dgm:spPr/>
      <dgm:t>
        <a:bodyPr/>
        <a:lstStyle/>
        <a:p>
          <a:endParaRPr lang="en-US"/>
        </a:p>
      </dgm:t>
    </dgm:pt>
    <dgm:pt modelId="{102BEBE8-1030-474E-80E3-A8F484E4F6D3}" type="sibTrans" cxnId="{2CB7CF59-FCF1-4ACB-AC42-B02F3DA6E02C}">
      <dgm:prSet/>
      <dgm:spPr/>
      <dgm:t>
        <a:bodyPr/>
        <a:lstStyle/>
        <a:p>
          <a:endParaRPr lang="en-US"/>
        </a:p>
      </dgm:t>
    </dgm:pt>
    <dgm:pt modelId="{C6B3F507-2D2A-4DC6-AC05-4B9C92757C16}">
      <dgm:prSet phldrT="[Text]"/>
      <dgm:spPr>
        <a:solidFill>
          <a:schemeClr val="bg2"/>
        </a:solidFill>
      </dgm:spPr>
      <dgm:t>
        <a:bodyPr/>
        <a:lstStyle/>
        <a:p>
          <a:r>
            <a:rPr lang="en-US" dirty="0"/>
            <a:t>Deploy and Release</a:t>
          </a:r>
        </a:p>
      </dgm:t>
    </dgm:pt>
    <dgm:pt modelId="{DE8F853C-71D4-4D0D-9A17-D8B374D814FD}" type="parTrans" cxnId="{2287F43C-9B45-4B41-8BD5-84AFAA7B2870}">
      <dgm:prSet/>
      <dgm:spPr/>
      <dgm:t>
        <a:bodyPr/>
        <a:lstStyle/>
        <a:p>
          <a:endParaRPr lang="en-US"/>
        </a:p>
      </dgm:t>
    </dgm:pt>
    <dgm:pt modelId="{D0C75D6A-40FE-4179-9416-F5DC0E331C7F}" type="sibTrans" cxnId="{2287F43C-9B45-4B41-8BD5-84AFAA7B2870}">
      <dgm:prSet/>
      <dgm:spPr/>
      <dgm:t>
        <a:bodyPr/>
        <a:lstStyle/>
        <a:p>
          <a:endParaRPr lang="en-US"/>
        </a:p>
      </dgm:t>
    </dgm:pt>
    <dgm:pt modelId="{5A8139B6-91BE-4CD6-9A26-1E8EB65606D1}" type="pres">
      <dgm:prSet presAssocID="{5F09BBEB-BCC3-459F-84E8-C3F45965DA09}" presName="Name0" presStyleCnt="0">
        <dgm:presLayoutVars>
          <dgm:dir/>
          <dgm:resizeHandles val="exact"/>
        </dgm:presLayoutVars>
      </dgm:prSet>
      <dgm:spPr/>
    </dgm:pt>
    <dgm:pt modelId="{E758B83E-CFEC-43EC-AF0D-E790A3C16319}" type="pres">
      <dgm:prSet presAssocID="{DB686BFB-198E-4000-A208-50B01C895C5D}" presName="parTxOnly" presStyleLbl="node1" presStyleIdx="0" presStyleCnt="10">
        <dgm:presLayoutVars>
          <dgm:bulletEnabled val="1"/>
        </dgm:presLayoutVars>
      </dgm:prSet>
      <dgm:spPr/>
    </dgm:pt>
    <dgm:pt modelId="{8B0AB190-C0DA-4BC9-AB8E-FC2ED0D56206}" type="pres">
      <dgm:prSet presAssocID="{71D97F50-AB3B-4D05-8099-47186F345C43}" presName="parSpace" presStyleCnt="0"/>
      <dgm:spPr/>
    </dgm:pt>
    <dgm:pt modelId="{57F52E1E-2C2F-47A9-A6D9-CB7537BF727C}" type="pres">
      <dgm:prSet presAssocID="{28FF80C1-E366-4469-835E-804BEA7EF9E9}" presName="parTxOnly" presStyleLbl="node1" presStyleIdx="1" presStyleCnt="10">
        <dgm:presLayoutVars>
          <dgm:bulletEnabled val="1"/>
        </dgm:presLayoutVars>
      </dgm:prSet>
      <dgm:spPr/>
    </dgm:pt>
    <dgm:pt modelId="{23AB88B7-C798-42E5-B3C5-6FD5532695B1}" type="pres">
      <dgm:prSet presAssocID="{91D0DF27-8817-4650-BB53-D21704C7C991}" presName="parSpace" presStyleCnt="0"/>
      <dgm:spPr/>
    </dgm:pt>
    <dgm:pt modelId="{0D14839E-F7AA-41F1-8F21-377D4525EA32}" type="pres">
      <dgm:prSet presAssocID="{308794B5-59A1-4F06-A19F-19B515FA2D2C}" presName="parTxOnly" presStyleLbl="node1" presStyleIdx="2" presStyleCnt="10">
        <dgm:presLayoutVars>
          <dgm:bulletEnabled val="1"/>
        </dgm:presLayoutVars>
      </dgm:prSet>
      <dgm:spPr/>
    </dgm:pt>
    <dgm:pt modelId="{6FCAC6DE-3B61-4FC5-BCC0-E4629EF4789A}" type="pres">
      <dgm:prSet presAssocID="{2A857EBE-287F-47BF-BC3B-E1E5F39FA4B7}" presName="parSpace" presStyleCnt="0"/>
      <dgm:spPr/>
    </dgm:pt>
    <dgm:pt modelId="{AC1BF143-926D-45ED-A5A3-43D05A5B5E05}" type="pres">
      <dgm:prSet presAssocID="{79B60177-2217-4C3E-BFB2-A7F514C11442}" presName="parTxOnly" presStyleLbl="node1" presStyleIdx="3" presStyleCnt="10">
        <dgm:presLayoutVars>
          <dgm:bulletEnabled val="1"/>
        </dgm:presLayoutVars>
      </dgm:prSet>
      <dgm:spPr/>
    </dgm:pt>
    <dgm:pt modelId="{0DE0C2D5-A75D-4380-B806-1FCE20FD6100}" type="pres">
      <dgm:prSet presAssocID="{BB68D18C-C2C2-4B5D-A338-F21AC8AC055A}" presName="parSpace" presStyleCnt="0"/>
      <dgm:spPr/>
    </dgm:pt>
    <dgm:pt modelId="{FAC99AAC-4206-4C8D-B75A-31CCAA24369E}" type="pres">
      <dgm:prSet presAssocID="{A37E9E2F-421E-4906-9EA5-4D3D0039337B}" presName="parTxOnly" presStyleLbl="node1" presStyleIdx="4" presStyleCnt="10">
        <dgm:presLayoutVars>
          <dgm:bulletEnabled val="1"/>
        </dgm:presLayoutVars>
      </dgm:prSet>
      <dgm:spPr/>
    </dgm:pt>
    <dgm:pt modelId="{C7EB8198-0BBC-4800-A04C-5A838FD89335}" type="pres">
      <dgm:prSet presAssocID="{FB9F0D44-060C-450B-95E1-4D0DFC8E216B}" presName="parSpace" presStyleCnt="0"/>
      <dgm:spPr/>
    </dgm:pt>
    <dgm:pt modelId="{EECB13DF-38FD-4199-93B9-448461C16185}" type="pres">
      <dgm:prSet presAssocID="{EA542168-3CF6-4E7D-BE36-F1874E1A6786}" presName="parTxOnly" presStyleLbl="node1" presStyleIdx="5" presStyleCnt="10">
        <dgm:presLayoutVars>
          <dgm:bulletEnabled val="1"/>
        </dgm:presLayoutVars>
      </dgm:prSet>
      <dgm:spPr/>
    </dgm:pt>
    <dgm:pt modelId="{E374F486-FB19-41B2-A0F0-48FB5502A237}" type="pres">
      <dgm:prSet presAssocID="{EFA7C1C5-FEE2-496F-9C35-D5D7E067AD72}" presName="parSpace" presStyleCnt="0"/>
      <dgm:spPr/>
    </dgm:pt>
    <dgm:pt modelId="{1C920BC9-2570-439E-8481-8C6F1CB98E73}" type="pres">
      <dgm:prSet presAssocID="{C2993C98-6A6F-4187-B0C4-7E93C9DD87FA}" presName="parTxOnly" presStyleLbl="node1" presStyleIdx="6" presStyleCnt="10">
        <dgm:presLayoutVars>
          <dgm:bulletEnabled val="1"/>
        </dgm:presLayoutVars>
      </dgm:prSet>
      <dgm:spPr/>
    </dgm:pt>
    <dgm:pt modelId="{83CF4DA9-86E0-4AE4-94AE-6C72C4A1D2F8}" type="pres">
      <dgm:prSet presAssocID="{BE740BCE-24A9-4674-AEDF-D364E86B6D22}" presName="parSpace" presStyleCnt="0"/>
      <dgm:spPr/>
    </dgm:pt>
    <dgm:pt modelId="{E8BBFEEE-B21B-4C1D-846B-B89F01B73A44}" type="pres">
      <dgm:prSet presAssocID="{B3D0AF40-C106-41ED-9E6C-46321A70CAAB}" presName="parTxOnly" presStyleLbl="node1" presStyleIdx="7" presStyleCnt="10">
        <dgm:presLayoutVars>
          <dgm:bulletEnabled val="1"/>
        </dgm:presLayoutVars>
      </dgm:prSet>
      <dgm:spPr/>
    </dgm:pt>
    <dgm:pt modelId="{79E1544A-52D1-4DF3-B1EF-1D7B51F38FFB}" type="pres">
      <dgm:prSet presAssocID="{D2A85F37-7CC7-4104-AF88-FFA6A57188E0}" presName="parSpace" presStyleCnt="0"/>
      <dgm:spPr/>
    </dgm:pt>
    <dgm:pt modelId="{2297D37F-06A9-4D3B-9E7D-1BFE806033E6}" type="pres">
      <dgm:prSet presAssocID="{244AB1FE-452B-48D8-8768-3BA11F7CDA2F}" presName="parTxOnly" presStyleLbl="node1" presStyleIdx="8" presStyleCnt="10">
        <dgm:presLayoutVars>
          <dgm:bulletEnabled val="1"/>
        </dgm:presLayoutVars>
      </dgm:prSet>
      <dgm:spPr/>
    </dgm:pt>
    <dgm:pt modelId="{860E36E1-9B69-4A8E-B7F1-1A203219B22F}" type="pres">
      <dgm:prSet presAssocID="{102BEBE8-1030-474E-80E3-A8F484E4F6D3}" presName="parSpace" presStyleCnt="0"/>
      <dgm:spPr/>
    </dgm:pt>
    <dgm:pt modelId="{8BF2E94A-9EDA-4D1B-B447-B22DF4954F6F}" type="pres">
      <dgm:prSet presAssocID="{C6B3F507-2D2A-4DC6-AC05-4B9C92757C16}" presName="parTxOnly" presStyleLbl="node1" presStyleIdx="9" presStyleCnt="10">
        <dgm:presLayoutVars>
          <dgm:bulletEnabled val="1"/>
        </dgm:presLayoutVars>
      </dgm:prSet>
      <dgm:spPr/>
    </dgm:pt>
  </dgm:ptLst>
  <dgm:cxnLst>
    <dgm:cxn modelId="{8635D613-FF8F-4F3F-8F79-7C6A9DD574D3}" srcId="{5F09BBEB-BCC3-459F-84E8-C3F45965DA09}" destId="{308794B5-59A1-4F06-A19F-19B515FA2D2C}" srcOrd="2" destOrd="0" parTransId="{40A90EE6-40C6-4C1A-975D-8DECA9BC3FD2}" sibTransId="{2A857EBE-287F-47BF-BC3B-E1E5F39FA4B7}"/>
    <dgm:cxn modelId="{7498D815-AE35-4CC1-87A5-4E163067D50B}" type="presOf" srcId="{C2993C98-6A6F-4187-B0C4-7E93C9DD87FA}" destId="{1C920BC9-2570-439E-8481-8C6F1CB98E73}" srcOrd="0" destOrd="0" presId="urn:microsoft.com/office/officeart/2005/8/layout/hChevron3"/>
    <dgm:cxn modelId="{CDCFC11C-CFCD-4E79-A72B-8D05C57DADFF}" srcId="{5F09BBEB-BCC3-459F-84E8-C3F45965DA09}" destId="{28FF80C1-E366-4469-835E-804BEA7EF9E9}" srcOrd="1" destOrd="0" parTransId="{C92A0CD3-241E-488E-AA57-8B6574467E0F}" sibTransId="{91D0DF27-8817-4650-BB53-D21704C7C991}"/>
    <dgm:cxn modelId="{FB36DB1D-2A5C-47E1-BD93-3DE6146AF4C7}" srcId="{5F09BBEB-BCC3-459F-84E8-C3F45965DA09}" destId="{B3D0AF40-C106-41ED-9E6C-46321A70CAAB}" srcOrd="7" destOrd="0" parTransId="{D2A261CD-44A6-4CD9-BD0E-FC21222598C3}" sibTransId="{D2A85F37-7CC7-4104-AF88-FFA6A57188E0}"/>
    <dgm:cxn modelId="{73D5EB2C-4DDA-469C-82CB-EB293E5A841C}" type="presOf" srcId="{A37E9E2F-421E-4906-9EA5-4D3D0039337B}" destId="{FAC99AAC-4206-4C8D-B75A-31CCAA24369E}" srcOrd="0" destOrd="0" presId="urn:microsoft.com/office/officeart/2005/8/layout/hChevron3"/>
    <dgm:cxn modelId="{BFE78C36-D48C-4ADF-B40F-FDA60F1CAFF1}" type="presOf" srcId="{308794B5-59A1-4F06-A19F-19B515FA2D2C}" destId="{0D14839E-F7AA-41F1-8F21-377D4525EA32}" srcOrd="0" destOrd="0" presId="urn:microsoft.com/office/officeart/2005/8/layout/hChevron3"/>
    <dgm:cxn modelId="{2287F43C-9B45-4B41-8BD5-84AFAA7B2870}" srcId="{5F09BBEB-BCC3-459F-84E8-C3F45965DA09}" destId="{C6B3F507-2D2A-4DC6-AC05-4B9C92757C16}" srcOrd="9" destOrd="0" parTransId="{DE8F853C-71D4-4D0D-9A17-D8B374D814FD}" sibTransId="{D0C75D6A-40FE-4179-9416-F5DC0E331C7F}"/>
    <dgm:cxn modelId="{A2117A40-75DD-4F93-9B85-0E6C330838BF}" srcId="{5F09BBEB-BCC3-459F-84E8-C3F45965DA09}" destId="{EA542168-3CF6-4E7D-BE36-F1874E1A6786}" srcOrd="5" destOrd="0" parTransId="{0F2809F5-F901-42CC-9BCD-A0A9B96DFE1C}" sibTransId="{EFA7C1C5-FEE2-496F-9C35-D5D7E067AD72}"/>
    <dgm:cxn modelId="{22FE0D61-FA1A-4575-9EA7-0847D35FB40F}" type="presOf" srcId="{244AB1FE-452B-48D8-8768-3BA11F7CDA2F}" destId="{2297D37F-06A9-4D3B-9E7D-1BFE806033E6}" srcOrd="0" destOrd="0" presId="urn:microsoft.com/office/officeart/2005/8/layout/hChevron3"/>
    <dgm:cxn modelId="{19255C41-D653-4AA7-B5D5-F563627BA0CF}" srcId="{5F09BBEB-BCC3-459F-84E8-C3F45965DA09}" destId="{DB686BFB-198E-4000-A208-50B01C895C5D}" srcOrd="0" destOrd="0" parTransId="{308DC400-404E-42BD-BE70-9AF5501A8294}" sibTransId="{71D97F50-AB3B-4D05-8099-47186F345C43}"/>
    <dgm:cxn modelId="{F9DECC50-2A9D-4CCE-A94B-38F80FBC12B2}" type="presOf" srcId="{DB686BFB-198E-4000-A208-50B01C895C5D}" destId="{E758B83E-CFEC-43EC-AF0D-E790A3C16319}" srcOrd="0" destOrd="0" presId="urn:microsoft.com/office/officeart/2005/8/layout/hChevron3"/>
    <dgm:cxn modelId="{026B8171-5599-4C67-B63E-7389ED643B06}" srcId="{5F09BBEB-BCC3-459F-84E8-C3F45965DA09}" destId="{C2993C98-6A6F-4187-B0C4-7E93C9DD87FA}" srcOrd="6" destOrd="0" parTransId="{9CBC2D13-0312-49BE-A158-5EA5D3005C80}" sibTransId="{BE740BCE-24A9-4674-AEDF-D364E86B6D22}"/>
    <dgm:cxn modelId="{2CB7CF59-FCF1-4ACB-AC42-B02F3DA6E02C}" srcId="{5F09BBEB-BCC3-459F-84E8-C3F45965DA09}" destId="{244AB1FE-452B-48D8-8768-3BA11F7CDA2F}" srcOrd="8" destOrd="0" parTransId="{3AB6269D-FE5C-4FEF-9E3C-39AACC7EF09F}" sibTransId="{102BEBE8-1030-474E-80E3-A8F484E4F6D3}"/>
    <dgm:cxn modelId="{6023F593-FCF4-43E2-85CE-AD10542CEE88}" type="presOf" srcId="{C6B3F507-2D2A-4DC6-AC05-4B9C92757C16}" destId="{8BF2E94A-9EDA-4D1B-B447-B22DF4954F6F}" srcOrd="0" destOrd="0" presId="urn:microsoft.com/office/officeart/2005/8/layout/hChevron3"/>
    <dgm:cxn modelId="{766E6C9B-742C-442E-8172-8BF8D40AD199}" type="presOf" srcId="{79B60177-2217-4C3E-BFB2-A7F514C11442}" destId="{AC1BF143-926D-45ED-A5A3-43D05A5B5E05}" srcOrd="0" destOrd="0" presId="urn:microsoft.com/office/officeart/2005/8/layout/hChevron3"/>
    <dgm:cxn modelId="{9F73CDB9-E2B2-4C3B-BD07-14E9AE766AC9}" srcId="{5F09BBEB-BCC3-459F-84E8-C3F45965DA09}" destId="{79B60177-2217-4C3E-BFB2-A7F514C11442}" srcOrd="3" destOrd="0" parTransId="{C0EE4951-222A-4A3C-884C-462AB7405FF1}" sibTransId="{BB68D18C-C2C2-4B5D-A338-F21AC8AC055A}"/>
    <dgm:cxn modelId="{BFE1E3BA-C15C-41DC-AAD8-92F9635D6BF2}" srcId="{5F09BBEB-BCC3-459F-84E8-C3F45965DA09}" destId="{A37E9E2F-421E-4906-9EA5-4D3D0039337B}" srcOrd="4" destOrd="0" parTransId="{CE6AC0C5-5287-487A-AA5B-84A420F4BCCF}" sibTransId="{FB9F0D44-060C-450B-95E1-4D0DFC8E216B}"/>
    <dgm:cxn modelId="{972F8AC6-E642-4970-B4CF-B938DF3C94A2}" type="presOf" srcId="{28FF80C1-E366-4469-835E-804BEA7EF9E9}" destId="{57F52E1E-2C2F-47A9-A6D9-CB7537BF727C}" srcOrd="0" destOrd="0" presId="urn:microsoft.com/office/officeart/2005/8/layout/hChevron3"/>
    <dgm:cxn modelId="{178236CB-EF09-4173-8EBE-FC737AED0D85}" type="presOf" srcId="{EA542168-3CF6-4E7D-BE36-F1874E1A6786}" destId="{EECB13DF-38FD-4199-93B9-448461C16185}" srcOrd="0" destOrd="0" presId="urn:microsoft.com/office/officeart/2005/8/layout/hChevron3"/>
    <dgm:cxn modelId="{6C1C96E4-80FF-48EC-9B74-7A88917D15EF}" type="presOf" srcId="{B3D0AF40-C106-41ED-9E6C-46321A70CAAB}" destId="{E8BBFEEE-B21B-4C1D-846B-B89F01B73A44}" srcOrd="0" destOrd="0" presId="urn:microsoft.com/office/officeart/2005/8/layout/hChevron3"/>
    <dgm:cxn modelId="{55A360EF-56B4-4E1B-B6DC-788CB3D5C2D3}" type="presOf" srcId="{5F09BBEB-BCC3-459F-84E8-C3F45965DA09}" destId="{5A8139B6-91BE-4CD6-9A26-1E8EB65606D1}" srcOrd="0" destOrd="0" presId="urn:microsoft.com/office/officeart/2005/8/layout/hChevron3"/>
    <dgm:cxn modelId="{F7229797-FA27-4730-8A33-B779CCDC5C3C}" type="presParOf" srcId="{5A8139B6-91BE-4CD6-9A26-1E8EB65606D1}" destId="{E758B83E-CFEC-43EC-AF0D-E790A3C16319}" srcOrd="0" destOrd="0" presId="urn:microsoft.com/office/officeart/2005/8/layout/hChevron3"/>
    <dgm:cxn modelId="{797CD30E-B045-4A2A-A262-5FA3F2383F0E}" type="presParOf" srcId="{5A8139B6-91BE-4CD6-9A26-1E8EB65606D1}" destId="{8B0AB190-C0DA-4BC9-AB8E-FC2ED0D56206}" srcOrd="1" destOrd="0" presId="urn:microsoft.com/office/officeart/2005/8/layout/hChevron3"/>
    <dgm:cxn modelId="{8350EBD2-82F9-43A1-8271-7B3C2601C7FF}" type="presParOf" srcId="{5A8139B6-91BE-4CD6-9A26-1E8EB65606D1}" destId="{57F52E1E-2C2F-47A9-A6D9-CB7537BF727C}" srcOrd="2" destOrd="0" presId="urn:microsoft.com/office/officeart/2005/8/layout/hChevron3"/>
    <dgm:cxn modelId="{065A1536-B084-4DE2-9756-A8BD56653EAA}" type="presParOf" srcId="{5A8139B6-91BE-4CD6-9A26-1E8EB65606D1}" destId="{23AB88B7-C798-42E5-B3C5-6FD5532695B1}" srcOrd="3" destOrd="0" presId="urn:microsoft.com/office/officeart/2005/8/layout/hChevron3"/>
    <dgm:cxn modelId="{900BF689-8BEA-4E5F-86F5-16B928223239}" type="presParOf" srcId="{5A8139B6-91BE-4CD6-9A26-1E8EB65606D1}" destId="{0D14839E-F7AA-41F1-8F21-377D4525EA32}" srcOrd="4" destOrd="0" presId="urn:microsoft.com/office/officeart/2005/8/layout/hChevron3"/>
    <dgm:cxn modelId="{FDD11ECE-9527-4A81-A422-BB7C9D8AFA6A}" type="presParOf" srcId="{5A8139B6-91BE-4CD6-9A26-1E8EB65606D1}" destId="{6FCAC6DE-3B61-4FC5-BCC0-E4629EF4789A}" srcOrd="5" destOrd="0" presId="urn:microsoft.com/office/officeart/2005/8/layout/hChevron3"/>
    <dgm:cxn modelId="{3C10773A-398D-41D7-B997-F0F842EF9BCD}" type="presParOf" srcId="{5A8139B6-91BE-4CD6-9A26-1E8EB65606D1}" destId="{AC1BF143-926D-45ED-A5A3-43D05A5B5E05}" srcOrd="6" destOrd="0" presId="urn:microsoft.com/office/officeart/2005/8/layout/hChevron3"/>
    <dgm:cxn modelId="{CC76DA5B-FB4F-4410-8237-D6E32C8F3069}" type="presParOf" srcId="{5A8139B6-91BE-4CD6-9A26-1E8EB65606D1}" destId="{0DE0C2D5-A75D-4380-B806-1FCE20FD6100}" srcOrd="7" destOrd="0" presId="urn:microsoft.com/office/officeart/2005/8/layout/hChevron3"/>
    <dgm:cxn modelId="{F2E2E515-6858-4F8B-B7EC-AA286C5DFF3C}" type="presParOf" srcId="{5A8139B6-91BE-4CD6-9A26-1E8EB65606D1}" destId="{FAC99AAC-4206-4C8D-B75A-31CCAA24369E}" srcOrd="8" destOrd="0" presId="urn:microsoft.com/office/officeart/2005/8/layout/hChevron3"/>
    <dgm:cxn modelId="{7A259C44-7F18-419D-B25D-87D26844FD0A}" type="presParOf" srcId="{5A8139B6-91BE-4CD6-9A26-1E8EB65606D1}" destId="{C7EB8198-0BBC-4800-A04C-5A838FD89335}" srcOrd="9" destOrd="0" presId="urn:microsoft.com/office/officeart/2005/8/layout/hChevron3"/>
    <dgm:cxn modelId="{1DB9D684-FDF1-4485-8F05-243A582343B3}" type="presParOf" srcId="{5A8139B6-91BE-4CD6-9A26-1E8EB65606D1}" destId="{EECB13DF-38FD-4199-93B9-448461C16185}" srcOrd="10" destOrd="0" presId="urn:microsoft.com/office/officeart/2005/8/layout/hChevron3"/>
    <dgm:cxn modelId="{F9BC0876-B7B1-4E36-866A-621301818E4D}" type="presParOf" srcId="{5A8139B6-91BE-4CD6-9A26-1E8EB65606D1}" destId="{E374F486-FB19-41B2-A0F0-48FB5502A237}" srcOrd="11" destOrd="0" presId="urn:microsoft.com/office/officeart/2005/8/layout/hChevron3"/>
    <dgm:cxn modelId="{68901253-C80F-4309-BEEB-846BF429E040}" type="presParOf" srcId="{5A8139B6-91BE-4CD6-9A26-1E8EB65606D1}" destId="{1C920BC9-2570-439E-8481-8C6F1CB98E73}" srcOrd="12" destOrd="0" presId="urn:microsoft.com/office/officeart/2005/8/layout/hChevron3"/>
    <dgm:cxn modelId="{5EB9676F-FACE-4045-893B-ED5656605287}" type="presParOf" srcId="{5A8139B6-91BE-4CD6-9A26-1E8EB65606D1}" destId="{83CF4DA9-86E0-4AE4-94AE-6C72C4A1D2F8}" srcOrd="13" destOrd="0" presId="urn:microsoft.com/office/officeart/2005/8/layout/hChevron3"/>
    <dgm:cxn modelId="{BC6C1E01-C648-40BB-BFCB-9AB904C2A097}" type="presParOf" srcId="{5A8139B6-91BE-4CD6-9A26-1E8EB65606D1}" destId="{E8BBFEEE-B21B-4C1D-846B-B89F01B73A44}" srcOrd="14" destOrd="0" presId="urn:microsoft.com/office/officeart/2005/8/layout/hChevron3"/>
    <dgm:cxn modelId="{0B6B22D8-7F48-4240-8E4C-779E49ED37CA}" type="presParOf" srcId="{5A8139B6-91BE-4CD6-9A26-1E8EB65606D1}" destId="{79E1544A-52D1-4DF3-B1EF-1D7B51F38FFB}" srcOrd="15" destOrd="0" presId="urn:microsoft.com/office/officeart/2005/8/layout/hChevron3"/>
    <dgm:cxn modelId="{3EC2B338-A00C-4A6E-975E-8084F004117A}" type="presParOf" srcId="{5A8139B6-91BE-4CD6-9A26-1E8EB65606D1}" destId="{2297D37F-06A9-4D3B-9E7D-1BFE806033E6}" srcOrd="16" destOrd="0" presId="urn:microsoft.com/office/officeart/2005/8/layout/hChevron3"/>
    <dgm:cxn modelId="{430BCF5F-58E7-4BD0-88BD-64AD6818FB00}" type="presParOf" srcId="{5A8139B6-91BE-4CD6-9A26-1E8EB65606D1}" destId="{860E36E1-9B69-4A8E-B7F1-1A203219B22F}" srcOrd="17" destOrd="0" presId="urn:microsoft.com/office/officeart/2005/8/layout/hChevron3"/>
    <dgm:cxn modelId="{2455F435-7A6F-438C-8A67-346DE979ECE7}" type="presParOf" srcId="{5A8139B6-91BE-4CD6-9A26-1E8EB65606D1}" destId="{8BF2E94A-9EDA-4D1B-B447-B22DF4954F6F}" srcOrd="18" destOrd="0" presId="urn:microsoft.com/office/officeart/2005/8/layout/hChevron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18.xml><?xml version="1.0" encoding="utf-8"?>
<dgm:dataModel xmlns:dgm="http://schemas.openxmlformats.org/drawingml/2006/diagram" xmlns:a="http://schemas.openxmlformats.org/drawingml/2006/main">
  <dgm:ptLst>
    <dgm:pt modelId="{5F09BBEB-BCC3-459F-84E8-C3F45965DA09}" type="doc">
      <dgm:prSet loTypeId="urn:microsoft.com/office/officeart/2005/8/layout/hChevron3" loCatId="process" qsTypeId="urn:microsoft.com/office/officeart/2005/8/quickstyle/simple1" qsCatId="simple" csTypeId="urn:microsoft.com/office/officeart/2005/8/colors/accent1_2" csCatId="accent1" phldr="1"/>
      <dgm:spPr/>
    </dgm:pt>
    <dgm:pt modelId="{D9A46A24-1A39-40C4-BDEF-CFA7810A2AAE}">
      <dgm:prSet custT="1"/>
      <dgm:spPr>
        <a:solidFill>
          <a:schemeClr val="bg2"/>
        </a:solidFill>
      </dgm:spPr>
      <dgm:t>
        <a:bodyPr/>
        <a:lstStyle/>
        <a:p>
          <a:r>
            <a:rPr lang="en-US" sz="1800" dirty="0"/>
            <a:t>Continuous Integration</a:t>
          </a:r>
        </a:p>
      </dgm:t>
    </dgm:pt>
    <dgm:pt modelId="{66FFC086-41A2-4587-A80D-C476FEB0A87D}" type="parTrans" cxnId="{D4CE26BC-77E7-45C7-A7B2-153FEC32CCF0}">
      <dgm:prSet/>
      <dgm:spPr/>
      <dgm:t>
        <a:bodyPr/>
        <a:lstStyle/>
        <a:p>
          <a:endParaRPr lang="en-US" sz="1200"/>
        </a:p>
      </dgm:t>
    </dgm:pt>
    <dgm:pt modelId="{F798BDF2-5A93-4BDF-814C-A30D18340DBF}" type="sibTrans" cxnId="{D4CE26BC-77E7-45C7-A7B2-153FEC32CCF0}">
      <dgm:prSet/>
      <dgm:spPr/>
      <dgm:t>
        <a:bodyPr/>
        <a:lstStyle/>
        <a:p>
          <a:endParaRPr lang="en-US" sz="1200"/>
        </a:p>
      </dgm:t>
    </dgm:pt>
    <dgm:pt modelId="{34418343-4F07-404D-BE38-92B2D24B7E05}">
      <dgm:prSet custT="1"/>
      <dgm:spPr>
        <a:solidFill>
          <a:schemeClr val="bg2"/>
        </a:solidFill>
      </dgm:spPr>
      <dgm:t>
        <a:bodyPr/>
        <a:lstStyle/>
        <a:p>
          <a:r>
            <a:rPr lang="en-US" sz="1800" dirty="0"/>
            <a:t>Continuous Delivery</a:t>
          </a:r>
        </a:p>
      </dgm:t>
    </dgm:pt>
    <dgm:pt modelId="{A7A8E09D-662C-45E2-9798-75DFCF5AD338}" type="parTrans" cxnId="{72105B5F-CE7A-4453-8ABE-41BD72E534BE}">
      <dgm:prSet/>
      <dgm:spPr/>
      <dgm:t>
        <a:bodyPr/>
        <a:lstStyle/>
        <a:p>
          <a:endParaRPr lang="en-US" sz="1200"/>
        </a:p>
      </dgm:t>
    </dgm:pt>
    <dgm:pt modelId="{492097AD-6096-4A56-ACAB-319019CDAEEB}" type="sibTrans" cxnId="{72105B5F-CE7A-4453-8ABE-41BD72E534BE}">
      <dgm:prSet/>
      <dgm:spPr/>
      <dgm:t>
        <a:bodyPr/>
        <a:lstStyle/>
        <a:p>
          <a:endParaRPr lang="en-US" sz="1200"/>
        </a:p>
      </dgm:t>
    </dgm:pt>
    <dgm:pt modelId="{5A8139B6-91BE-4CD6-9A26-1E8EB65606D1}" type="pres">
      <dgm:prSet presAssocID="{5F09BBEB-BCC3-459F-84E8-C3F45965DA09}" presName="Name0" presStyleCnt="0">
        <dgm:presLayoutVars>
          <dgm:dir/>
          <dgm:resizeHandles val="exact"/>
        </dgm:presLayoutVars>
      </dgm:prSet>
      <dgm:spPr/>
    </dgm:pt>
    <dgm:pt modelId="{100BB1A8-A75B-46B4-A88C-52BAAA4EA6C2}" type="pres">
      <dgm:prSet presAssocID="{D9A46A24-1A39-40C4-BDEF-CFA7810A2AAE}" presName="parTxOnly" presStyleLbl="node1" presStyleIdx="0" presStyleCnt="2" custScaleX="58075" custLinFactNeighborX="-40788" custLinFactNeighborY="7816">
        <dgm:presLayoutVars>
          <dgm:bulletEnabled val="1"/>
        </dgm:presLayoutVars>
      </dgm:prSet>
      <dgm:spPr/>
    </dgm:pt>
    <dgm:pt modelId="{F4229669-D6F8-4B59-A4CD-D5346B3C39F1}" type="pres">
      <dgm:prSet presAssocID="{F798BDF2-5A93-4BDF-814C-A30D18340DBF}" presName="parSpace" presStyleCnt="0"/>
      <dgm:spPr/>
    </dgm:pt>
    <dgm:pt modelId="{C41A44A8-F315-467A-BC7A-DF5D204D36AC}" type="pres">
      <dgm:prSet presAssocID="{34418343-4F07-404D-BE38-92B2D24B7E05}" presName="parTxOnly" presStyleLbl="node1" presStyleIdx="1" presStyleCnt="2" custScaleX="45034" custLinFactNeighborX="35969" custLinFactNeighborY="-3574">
        <dgm:presLayoutVars>
          <dgm:bulletEnabled val="1"/>
        </dgm:presLayoutVars>
      </dgm:prSet>
      <dgm:spPr/>
    </dgm:pt>
  </dgm:ptLst>
  <dgm:cxnLst>
    <dgm:cxn modelId="{3F1E4133-2A1E-4235-9328-E58716960D9C}" type="presOf" srcId="{D9A46A24-1A39-40C4-BDEF-CFA7810A2AAE}" destId="{100BB1A8-A75B-46B4-A88C-52BAAA4EA6C2}" srcOrd="0" destOrd="0" presId="urn:microsoft.com/office/officeart/2005/8/layout/hChevron3"/>
    <dgm:cxn modelId="{72105B5F-CE7A-4453-8ABE-41BD72E534BE}" srcId="{5F09BBEB-BCC3-459F-84E8-C3F45965DA09}" destId="{34418343-4F07-404D-BE38-92B2D24B7E05}" srcOrd="1" destOrd="0" parTransId="{A7A8E09D-662C-45E2-9798-75DFCF5AD338}" sibTransId="{492097AD-6096-4A56-ACAB-319019CDAEEB}"/>
    <dgm:cxn modelId="{7E9AAF4F-F86E-4539-8342-B42AC99F5AEA}" type="presOf" srcId="{34418343-4F07-404D-BE38-92B2D24B7E05}" destId="{C41A44A8-F315-467A-BC7A-DF5D204D36AC}" srcOrd="0" destOrd="0" presId="urn:microsoft.com/office/officeart/2005/8/layout/hChevron3"/>
    <dgm:cxn modelId="{D4CE26BC-77E7-45C7-A7B2-153FEC32CCF0}" srcId="{5F09BBEB-BCC3-459F-84E8-C3F45965DA09}" destId="{D9A46A24-1A39-40C4-BDEF-CFA7810A2AAE}" srcOrd="0" destOrd="0" parTransId="{66FFC086-41A2-4587-A80D-C476FEB0A87D}" sibTransId="{F798BDF2-5A93-4BDF-814C-A30D18340DBF}"/>
    <dgm:cxn modelId="{55A360EF-56B4-4E1B-B6DC-788CB3D5C2D3}" type="presOf" srcId="{5F09BBEB-BCC3-459F-84E8-C3F45965DA09}" destId="{5A8139B6-91BE-4CD6-9A26-1E8EB65606D1}" srcOrd="0" destOrd="0" presId="urn:microsoft.com/office/officeart/2005/8/layout/hChevron3"/>
    <dgm:cxn modelId="{DDC0E7FD-96EA-4482-B703-BF8FE526B224}" type="presParOf" srcId="{5A8139B6-91BE-4CD6-9A26-1E8EB65606D1}" destId="{100BB1A8-A75B-46B4-A88C-52BAAA4EA6C2}" srcOrd="0" destOrd="0" presId="urn:microsoft.com/office/officeart/2005/8/layout/hChevron3"/>
    <dgm:cxn modelId="{8A7AB3D9-74DF-4991-94ED-11FEBCFC64DB}" type="presParOf" srcId="{5A8139B6-91BE-4CD6-9A26-1E8EB65606D1}" destId="{F4229669-D6F8-4B59-A4CD-D5346B3C39F1}" srcOrd="1" destOrd="0" presId="urn:microsoft.com/office/officeart/2005/8/layout/hChevron3"/>
    <dgm:cxn modelId="{6B0B2E57-CF46-45C3-B806-CBA9927886B9}" type="presParOf" srcId="{5A8139B6-91BE-4CD6-9A26-1E8EB65606D1}" destId="{C41A44A8-F315-467A-BC7A-DF5D204D36AC}" srcOrd="2" destOrd="0" presId="urn:microsoft.com/office/officeart/2005/8/layout/hChevron3"/>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19.xml><?xml version="1.0" encoding="utf-8"?>
<dgm:dataModel xmlns:dgm="http://schemas.openxmlformats.org/drawingml/2006/diagram" xmlns:a="http://schemas.openxmlformats.org/drawingml/2006/main">
  <dgm:ptLst>
    <dgm:pt modelId="{5F09BBEB-BCC3-459F-84E8-C3F45965DA09}" type="doc">
      <dgm:prSet loTypeId="urn:microsoft.com/office/officeart/2005/8/layout/hChevron3" loCatId="process" qsTypeId="urn:microsoft.com/office/officeart/2005/8/quickstyle/simple1" qsCatId="simple" csTypeId="urn:microsoft.com/office/officeart/2005/8/colors/accent1_2" csCatId="accent1" phldr="1"/>
      <dgm:spPr/>
    </dgm:pt>
    <dgm:pt modelId="{DB686BFB-198E-4000-A208-50B01C895C5D}">
      <dgm:prSet phldrT="[Text]"/>
      <dgm:spPr>
        <a:solidFill>
          <a:schemeClr val="bg2"/>
        </a:solidFill>
      </dgm:spPr>
      <dgm:t>
        <a:bodyPr/>
        <a:lstStyle/>
        <a:p>
          <a:r>
            <a:rPr lang="en-US" dirty="0"/>
            <a:t>Plan</a:t>
          </a:r>
        </a:p>
      </dgm:t>
    </dgm:pt>
    <dgm:pt modelId="{308DC400-404E-42BD-BE70-9AF5501A8294}" type="parTrans" cxnId="{19255C41-D653-4AA7-B5D5-F563627BA0CF}">
      <dgm:prSet/>
      <dgm:spPr/>
      <dgm:t>
        <a:bodyPr/>
        <a:lstStyle/>
        <a:p>
          <a:endParaRPr lang="en-US"/>
        </a:p>
      </dgm:t>
    </dgm:pt>
    <dgm:pt modelId="{71D97F50-AB3B-4D05-8099-47186F345C43}" type="sibTrans" cxnId="{19255C41-D653-4AA7-B5D5-F563627BA0CF}">
      <dgm:prSet/>
      <dgm:spPr/>
      <dgm:t>
        <a:bodyPr/>
        <a:lstStyle/>
        <a:p>
          <a:endParaRPr lang="en-US"/>
        </a:p>
      </dgm:t>
    </dgm:pt>
    <dgm:pt modelId="{28FF80C1-E366-4469-835E-804BEA7EF9E9}">
      <dgm:prSet phldrT="[Text]"/>
      <dgm:spPr>
        <a:solidFill>
          <a:schemeClr val="bg2"/>
        </a:solidFill>
      </dgm:spPr>
      <dgm:t>
        <a:bodyPr/>
        <a:lstStyle/>
        <a:p>
          <a:r>
            <a:rPr lang="en-US" dirty="0"/>
            <a:t>Code</a:t>
          </a:r>
        </a:p>
      </dgm:t>
    </dgm:pt>
    <dgm:pt modelId="{C92A0CD3-241E-488E-AA57-8B6574467E0F}" type="parTrans" cxnId="{CDCFC11C-CFCD-4E79-A72B-8D05C57DADFF}">
      <dgm:prSet/>
      <dgm:spPr/>
      <dgm:t>
        <a:bodyPr/>
        <a:lstStyle/>
        <a:p>
          <a:endParaRPr lang="en-US"/>
        </a:p>
      </dgm:t>
    </dgm:pt>
    <dgm:pt modelId="{91D0DF27-8817-4650-BB53-D21704C7C991}" type="sibTrans" cxnId="{CDCFC11C-CFCD-4E79-A72B-8D05C57DADFF}">
      <dgm:prSet/>
      <dgm:spPr/>
      <dgm:t>
        <a:bodyPr/>
        <a:lstStyle/>
        <a:p>
          <a:endParaRPr lang="en-US"/>
        </a:p>
      </dgm:t>
    </dgm:pt>
    <dgm:pt modelId="{308794B5-59A1-4F06-A19F-19B515FA2D2C}">
      <dgm:prSet phldrT="[Text]"/>
      <dgm:spPr>
        <a:solidFill>
          <a:schemeClr val="bg2"/>
        </a:solidFill>
      </dgm:spPr>
      <dgm:t>
        <a:bodyPr/>
        <a:lstStyle/>
        <a:p>
          <a:r>
            <a:rPr lang="en-US" dirty="0"/>
            <a:t>Build</a:t>
          </a:r>
        </a:p>
      </dgm:t>
    </dgm:pt>
    <dgm:pt modelId="{40A90EE6-40C6-4C1A-975D-8DECA9BC3FD2}" type="parTrans" cxnId="{8635D613-FF8F-4F3F-8F79-7C6A9DD574D3}">
      <dgm:prSet/>
      <dgm:spPr/>
      <dgm:t>
        <a:bodyPr/>
        <a:lstStyle/>
        <a:p>
          <a:endParaRPr lang="en-US"/>
        </a:p>
      </dgm:t>
    </dgm:pt>
    <dgm:pt modelId="{2A857EBE-287F-47BF-BC3B-E1E5F39FA4B7}" type="sibTrans" cxnId="{8635D613-FF8F-4F3F-8F79-7C6A9DD574D3}">
      <dgm:prSet/>
      <dgm:spPr/>
      <dgm:t>
        <a:bodyPr/>
        <a:lstStyle/>
        <a:p>
          <a:endParaRPr lang="en-US"/>
        </a:p>
      </dgm:t>
    </dgm:pt>
    <dgm:pt modelId="{79B60177-2217-4C3E-BFB2-A7F514C11442}">
      <dgm:prSet phldrT="[Text]"/>
      <dgm:spPr>
        <a:solidFill>
          <a:schemeClr val="bg2"/>
        </a:solidFill>
      </dgm:spPr>
      <dgm:t>
        <a:bodyPr/>
        <a:lstStyle/>
        <a:p>
          <a:r>
            <a:rPr lang="en-US" dirty="0"/>
            <a:t>Unit Tests</a:t>
          </a:r>
        </a:p>
      </dgm:t>
    </dgm:pt>
    <dgm:pt modelId="{C0EE4951-222A-4A3C-884C-462AB7405FF1}" type="parTrans" cxnId="{9F73CDB9-E2B2-4C3B-BD07-14E9AE766AC9}">
      <dgm:prSet/>
      <dgm:spPr/>
      <dgm:t>
        <a:bodyPr/>
        <a:lstStyle/>
        <a:p>
          <a:endParaRPr lang="en-US"/>
        </a:p>
      </dgm:t>
    </dgm:pt>
    <dgm:pt modelId="{BB68D18C-C2C2-4B5D-A338-F21AC8AC055A}" type="sibTrans" cxnId="{9F73CDB9-E2B2-4C3B-BD07-14E9AE766AC9}">
      <dgm:prSet/>
      <dgm:spPr/>
      <dgm:t>
        <a:bodyPr/>
        <a:lstStyle/>
        <a:p>
          <a:endParaRPr lang="en-US"/>
        </a:p>
      </dgm:t>
    </dgm:pt>
    <dgm:pt modelId="{EA542168-3CF6-4E7D-BE36-F1874E1A6786}">
      <dgm:prSet phldrT="[Text]"/>
      <dgm:spPr>
        <a:solidFill>
          <a:schemeClr val="bg2"/>
        </a:solidFill>
      </dgm:spPr>
      <dgm:t>
        <a:bodyPr/>
        <a:lstStyle/>
        <a:p>
          <a:r>
            <a:rPr lang="en-US" dirty="0"/>
            <a:t>Artifact publish</a:t>
          </a:r>
        </a:p>
      </dgm:t>
    </dgm:pt>
    <dgm:pt modelId="{0F2809F5-F901-42CC-9BCD-A0A9B96DFE1C}" type="parTrans" cxnId="{A2117A40-75DD-4F93-9B85-0E6C330838BF}">
      <dgm:prSet/>
      <dgm:spPr/>
      <dgm:t>
        <a:bodyPr/>
        <a:lstStyle/>
        <a:p>
          <a:endParaRPr lang="en-US"/>
        </a:p>
      </dgm:t>
    </dgm:pt>
    <dgm:pt modelId="{EFA7C1C5-FEE2-496F-9C35-D5D7E067AD72}" type="sibTrans" cxnId="{A2117A40-75DD-4F93-9B85-0E6C330838BF}">
      <dgm:prSet/>
      <dgm:spPr/>
      <dgm:t>
        <a:bodyPr/>
        <a:lstStyle/>
        <a:p>
          <a:endParaRPr lang="en-US"/>
        </a:p>
      </dgm:t>
    </dgm:pt>
    <dgm:pt modelId="{C2993C98-6A6F-4187-B0C4-7E93C9DD87FA}">
      <dgm:prSet phldrT="[Text]"/>
      <dgm:spPr>
        <a:solidFill>
          <a:schemeClr val="bg2"/>
        </a:solidFill>
      </dgm:spPr>
      <dgm:t>
        <a:bodyPr/>
        <a:lstStyle/>
        <a:p>
          <a:r>
            <a:rPr lang="en-US" dirty="0"/>
            <a:t>Deploy</a:t>
          </a:r>
        </a:p>
      </dgm:t>
    </dgm:pt>
    <dgm:pt modelId="{9CBC2D13-0312-49BE-A158-5EA5D3005C80}" type="parTrans" cxnId="{026B8171-5599-4C67-B63E-7389ED643B06}">
      <dgm:prSet/>
      <dgm:spPr/>
      <dgm:t>
        <a:bodyPr/>
        <a:lstStyle/>
        <a:p>
          <a:endParaRPr lang="en-US"/>
        </a:p>
      </dgm:t>
    </dgm:pt>
    <dgm:pt modelId="{BE740BCE-24A9-4674-AEDF-D364E86B6D22}" type="sibTrans" cxnId="{026B8171-5599-4C67-B63E-7389ED643B06}">
      <dgm:prSet/>
      <dgm:spPr/>
      <dgm:t>
        <a:bodyPr/>
        <a:lstStyle/>
        <a:p>
          <a:endParaRPr lang="en-US"/>
        </a:p>
      </dgm:t>
    </dgm:pt>
    <dgm:pt modelId="{B3D0AF40-C106-41ED-9E6C-46321A70CAAB}">
      <dgm:prSet phldrT="[Text]"/>
      <dgm:spPr>
        <a:solidFill>
          <a:schemeClr val="bg2"/>
        </a:solidFill>
      </dgm:spPr>
      <dgm:t>
        <a:bodyPr/>
        <a:lstStyle/>
        <a:p>
          <a:r>
            <a:rPr lang="en-US" dirty="0"/>
            <a:t>Integration Tests</a:t>
          </a:r>
        </a:p>
      </dgm:t>
    </dgm:pt>
    <dgm:pt modelId="{D2A261CD-44A6-4CD9-BD0E-FC21222598C3}" type="parTrans" cxnId="{FB36DB1D-2A5C-47E1-BD93-3DE6146AF4C7}">
      <dgm:prSet/>
      <dgm:spPr/>
      <dgm:t>
        <a:bodyPr/>
        <a:lstStyle/>
        <a:p>
          <a:endParaRPr lang="en-US"/>
        </a:p>
      </dgm:t>
    </dgm:pt>
    <dgm:pt modelId="{D2A85F37-7CC7-4104-AF88-FFA6A57188E0}" type="sibTrans" cxnId="{FB36DB1D-2A5C-47E1-BD93-3DE6146AF4C7}">
      <dgm:prSet/>
      <dgm:spPr/>
      <dgm:t>
        <a:bodyPr/>
        <a:lstStyle/>
        <a:p>
          <a:endParaRPr lang="en-US"/>
        </a:p>
      </dgm:t>
    </dgm:pt>
    <dgm:pt modelId="{A37E9E2F-421E-4906-9EA5-4D3D0039337B}">
      <dgm:prSet phldrT="[Text]"/>
      <dgm:spPr>
        <a:solidFill>
          <a:schemeClr val="bg2"/>
        </a:solidFill>
      </dgm:spPr>
      <dgm:t>
        <a:bodyPr/>
        <a:lstStyle/>
        <a:p>
          <a:r>
            <a:rPr lang="en-US" dirty="0"/>
            <a:t>Code Coverage and </a:t>
          </a:r>
          <a:r>
            <a:rPr lang="en-US" dirty="0" err="1"/>
            <a:t>Vulerabilities</a:t>
          </a:r>
          <a:endParaRPr lang="en-US" dirty="0"/>
        </a:p>
      </dgm:t>
    </dgm:pt>
    <dgm:pt modelId="{CE6AC0C5-5287-487A-AA5B-84A420F4BCCF}" type="parTrans" cxnId="{BFE1E3BA-C15C-41DC-AAD8-92F9635D6BF2}">
      <dgm:prSet/>
      <dgm:spPr/>
      <dgm:t>
        <a:bodyPr/>
        <a:lstStyle/>
        <a:p>
          <a:endParaRPr lang="en-US"/>
        </a:p>
      </dgm:t>
    </dgm:pt>
    <dgm:pt modelId="{FB9F0D44-060C-450B-95E1-4D0DFC8E216B}" type="sibTrans" cxnId="{BFE1E3BA-C15C-41DC-AAD8-92F9635D6BF2}">
      <dgm:prSet/>
      <dgm:spPr/>
      <dgm:t>
        <a:bodyPr/>
        <a:lstStyle/>
        <a:p>
          <a:endParaRPr lang="en-US"/>
        </a:p>
      </dgm:t>
    </dgm:pt>
    <dgm:pt modelId="{244AB1FE-452B-48D8-8768-3BA11F7CDA2F}">
      <dgm:prSet phldrT="[Text]"/>
      <dgm:spPr>
        <a:solidFill>
          <a:schemeClr val="bg2"/>
        </a:solidFill>
      </dgm:spPr>
      <dgm:t>
        <a:bodyPr/>
        <a:lstStyle/>
        <a:p>
          <a:r>
            <a:rPr lang="en-US" dirty="0"/>
            <a:t>E2E Tests</a:t>
          </a:r>
        </a:p>
      </dgm:t>
    </dgm:pt>
    <dgm:pt modelId="{3AB6269D-FE5C-4FEF-9E3C-39AACC7EF09F}" type="parTrans" cxnId="{2CB7CF59-FCF1-4ACB-AC42-B02F3DA6E02C}">
      <dgm:prSet/>
      <dgm:spPr/>
      <dgm:t>
        <a:bodyPr/>
        <a:lstStyle/>
        <a:p>
          <a:endParaRPr lang="en-US"/>
        </a:p>
      </dgm:t>
    </dgm:pt>
    <dgm:pt modelId="{102BEBE8-1030-474E-80E3-A8F484E4F6D3}" type="sibTrans" cxnId="{2CB7CF59-FCF1-4ACB-AC42-B02F3DA6E02C}">
      <dgm:prSet/>
      <dgm:spPr/>
      <dgm:t>
        <a:bodyPr/>
        <a:lstStyle/>
        <a:p>
          <a:endParaRPr lang="en-US"/>
        </a:p>
      </dgm:t>
    </dgm:pt>
    <dgm:pt modelId="{C6B3F507-2D2A-4DC6-AC05-4B9C92757C16}">
      <dgm:prSet phldrT="[Text]" custT="1"/>
      <dgm:spPr>
        <a:solidFill>
          <a:srgbClr val="00AFD0">
            <a:hueOff val="0"/>
            <a:satOff val="0"/>
            <a:lumOff val="0"/>
            <a:alphaOff val="0"/>
          </a:srgbClr>
        </a:solidFill>
        <a:ln w="25400" cap="flat" cmpd="sng" algn="ctr">
          <a:solidFill>
            <a:prstClr val="white">
              <a:hueOff val="0"/>
              <a:satOff val="0"/>
              <a:lumOff val="0"/>
              <a:alphaOff val="0"/>
            </a:prstClr>
          </a:solidFill>
          <a:prstDash val="solid"/>
        </a:ln>
        <a:effectLst/>
      </dgm:spPr>
      <dgm:t>
        <a:bodyPr spcFirstLastPara="0" vert="horz" wrap="square" lIns="32004" tIns="21336" rIns="10668" bIns="21336" numCol="1" spcCol="1270" anchor="ctr" anchorCtr="0"/>
        <a:lstStyle/>
        <a:p>
          <a:pPr marL="0" lvl="0" indent="0" algn="ctr" defTabSz="355600">
            <a:lnSpc>
              <a:spcPct val="90000"/>
            </a:lnSpc>
            <a:spcBef>
              <a:spcPct val="0"/>
            </a:spcBef>
            <a:spcAft>
              <a:spcPct val="35000"/>
            </a:spcAft>
            <a:buNone/>
          </a:pPr>
          <a:r>
            <a:rPr lang="en-US" sz="800" kern="1200" dirty="0">
              <a:solidFill>
                <a:prstClr val="white"/>
              </a:solidFill>
              <a:latin typeface="UniCredit"/>
              <a:ea typeface="+mn-ea"/>
              <a:cs typeface="+mn-cs"/>
            </a:rPr>
            <a:t>Deploy and Release</a:t>
          </a:r>
        </a:p>
      </dgm:t>
    </dgm:pt>
    <dgm:pt modelId="{DE8F853C-71D4-4D0D-9A17-D8B374D814FD}" type="parTrans" cxnId="{2287F43C-9B45-4B41-8BD5-84AFAA7B2870}">
      <dgm:prSet/>
      <dgm:spPr/>
      <dgm:t>
        <a:bodyPr/>
        <a:lstStyle/>
        <a:p>
          <a:endParaRPr lang="en-US"/>
        </a:p>
      </dgm:t>
    </dgm:pt>
    <dgm:pt modelId="{D0C75D6A-40FE-4179-9416-F5DC0E331C7F}" type="sibTrans" cxnId="{2287F43C-9B45-4B41-8BD5-84AFAA7B2870}">
      <dgm:prSet/>
      <dgm:spPr/>
      <dgm:t>
        <a:bodyPr/>
        <a:lstStyle/>
        <a:p>
          <a:endParaRPr lang="en-US"/>
        </a:p>
      </dgm:t>
    </dgm:pt>
    <dgm:pt modelId="{5A8139B6-91BE-4CD6-9A26-1E8EB65606D1}" type="pres">
      <dgm:prSet presAssocID="{5F09BBEB-BCC3-459F-84E8-C3F45965DA09}" presName="Name0" presStyleCnt="0">
        <dgm:presLayoutVars>
          <dgm:dir/>
          <dgm:resizeHandles val="exact"/>
        </dgm:presLayoutVars>
      </dgm:prSet>
      <dgm:spPr/>
    </dgm:pt>
    <dgm:pt modelId="{E758B83E-CFEC-43EC-AF0D-E790A3C16319}" type="pres">
      <dgm:prSet presAssocID="{DB686BFB-198E-4000-A208-50B01C895C5D}" presName="parTxOnly" presStyleLbl="node1" presStyleIdx="0" presStyleCnt="10">
        <dgm:presLayoutVars>
          <dgm:bulletEnabled val="1"/>
        </dgm:presLayoutVars>
      </dgm:prSet>
      <dgm:spPr/>
    </dgm:pt>
    <dgm:pt modelId="{8B0AB190-C0DA-4BC9-AB8E-FC2ED0D56206}" type="pres">
      <dgm:prSet presAssocID="{71D97F50-AB3B-4D05-8099-47186F345C43}" presName="parSpace" presStyleCnt="0"/>
      <dgm:spPr/>
    </dgm:pt>
    <dgm:pt modelId="{57F52E1E-2C2F-47A9-A6D9-CB7537BF727C}" type="pres">
      <dgm:prSet presAssocID="{28FF80C1-E366-4469-835E-804BEA7EF9E9}" presName="parTxOnly" presStyleLbl="node1" presStyleIdx="1" presStyleCnt="10">
        <dgm:presLayoutVars>
          <dgm:bulletEnabled val="1"/>
        </dgm:presLayoutVars>
      </dgm:prSet>
      <dgm:spPr/>
    </dgm:pt>
    <dgm:pt modelId="{23AB88B7-C798-42E5-B3C5-6FD5532695B1}" type="pres">
      <dgm:prSet presAssocID="{91D0DF27-8817-4650-BB53-D21704C7C991}" presName="parSpace" presStyleCnt="0"/>
      <dgm:spPr/>
    </dgm:pt>
    <dgm:pt modelId="{0D14839E-F7AA-41F1-8F21-377D4525EA32}" type="pres">
      <dgm:prSet presAssocID="{308794B5-59A1-4F06-A19F-19B515FA2D2C}" presName="parTxOnly" presStyleLbl="node1" presStyleIdx="2" presStyleCnt="10">
        <dgm:presLayoutVars>
          <dgm:bulletEnabled val="1"/>
        </dgm:presLayoutVars>
      </dgm:prSet>
      <dgm:spPr/>
    </dgm:pt>
    <dgm:pt modelId="{6FCAC6DE-3B61-4FC5-BCC0-E4629EF4789A}" type="pres">
      <dgm:prSet presAssocID="{2A857EBE-287F-47BF-BC3B-E1E5F39FA4B7}" presName="parSpace" presStyleCnt="0"/>
      <dgm:spPr/>
    </dgm:pt>
    <dgm:pt modelId="{AC1BF143-926D-45ED-A5A3-43D05A5B5E05}" type="pres">
      <dgm:prSet presAssocID="{79B60177-2217-4C3E-BFB2-A7F514C11442}" presName="parTxOnly" presStyleLbl="node1" presStyleIdx="3" presStyleCnt="10">
        <dgm:presLayoutVars>
          <dgm:bulletEnabled val="1"/>
        </dgm:presLayoutVars>
      </dgm:prSet>
      <dgm:spPr/>
    </dgm:pt>
    <dgm:pt modelId="{0DE0C2D5-A75D-4380-B806-1FCE20FD6100}" type="pres">
      <dgm:prSet presAssocID="{BB68D18C-C2C2-4B5D-A338-F21AC8AC055A}" presName="parSpace" presStyleCnt="0"/>
      <dgm:spPr/>
    </dgm:pt>
    <dgm:pt modelId="{FAC99AAC-4206-4C8D-B75A-31CCAA24369E}" type="pres">
      <dgm:prSet presAssocID="{A37E9E2F-421E-4906-9EA5-4D3D0039337B}" presName="parTxOnly" presStyleLbl="node1" presStyleIdx="4" presStyleCnt="10">
        <dgm:presLayoutVars>
          <dgm:bulletEnabled val="1"/>
        </dgm:presLayoutVars>
      </dgm:prSet>
      <dgm:spPr/>
    </dgm:pt>
    <dgm:pt modelId="{C7EB8198-0BBC-4800-A04C-5A838FD89335}" type="pres">
      <dgm:prSet presAssocID="{FB9F0D44-060C-450B-95E1-4D0DFC8E216B}" presName="parSpace" presStyleCnt="0"/>
      <dgm:spPr/>
    </dgm:pt>
    <dgm:pt modelId="{EECB13DF-38FD-4199-93B9-448461C16185}" type="pres">
      <dgm:prSet presAssocID="{EA542168-3CF6-4E7D-BE36-F1874E1A6786}" presName="parTxOnly" presStyleLbl="node1" presStyleIdx="5" presStyleCnt="10">
        <dgm:presLayoutVars>
          <dgm:bulletEnabled val="1"/>
        </dgm:presLayoutVars>
      </dgm:prSet>
      <dgm:spPr/>
    </dgm:pt>
    <dgm:pt modelId="{E374F486-FB19-41B2-A0F0-48FB5502A237}" type="pres">
      <dgm:prSet presAssocID="{EFA7C1C5-FEE2-496F-9C35-D5D7E067AD72}" presName="parSpace" presStyleCnt="0"/>
      <dgm:spPr/>
    </dgm:pt>
    <dgm:pt modelId="{1C920BC9-2570-439E-8481-8C6F1CB98E73}" type="pres">
      <dgm:prSet presAssocID="{C2993C98-6A6F-4187-B0C4-7E93C9DD87FA}" presName="parTxOnly" presStyleLbl="node1" presStyleIdx="6" presStyleCnt="10">
        <dgm:presLayoutVars>
          <dgm:bulletEnabled val="1"/>
        </dgm:presLayoutVars>
      </dgm:prSet>
      <dgm:spPr/>
    </dgm:pt>
    <dgm:pt modelId="{83CF4DA9-86E0-4AE4-94AE-6C72C4A1D2F8}" type="pres">
      <dgm:prSet presAssocID="{BE740BCE-24A9-4674-AEDF-D364E86B6D22}" presName="parSpace" presStyleCnt="0"/>
      <dgm:spPr/>
    </dgm:pt>
    <dgm:pt modelId="{E8BBFEEE-B21B-4C1D-846B-B89F01B73A44}" type="pres">
      <dgm:prSet presAssocID="{B3D0AF40-C106-41ED-9E6C-46321A70CAAB}" presName="parTxOnly" presStyleLbl="node1" presStyleIdx="7" presStyleCnt="10">
        <dgm:presLayoutVars>
          <dgm:bulletEnabled val="1"/>
        </dgm:presLayoutVars>
      </dgm:prSet>
      <dgm:spPr/>
    </dgm:pt>
    <dgm:pt modelId="{79E1544A-52D1-4DF3-B1EF-1D7B51F38FFB}" type="pres">
      <dgm:prSet presAssocID="{D2A85F37-7CC7-4104-AF88-FFA6A57188E0}" presName="parSpace" presStyleCnt="0"/>
      <dgm:spPr/>
    </dgm:pt>
    <dgm:pt modelId="{2297D37F-06A9-4D3B-9E7D-1BFE806033E6}" type="pres">
      <dgm:prSet presAssocID="{244AB1FE-452B-48D8-8768-3BA11F7CDA2F}" presName="parTxOnly" presStyleLbl="node1" presStyleIdx="8" presStyleCnt="10">
        <dgm:presLayoutVars>
          <dgm:bulletEnabled val="1"/>
        </dgm:presLayoutVars>
      </dgm:prSet>
      <dgm:spPr/>
    </dgm:pt>
    <dgm:pt modelId="{860E36E1-9B69-4A8E-B7F1-1A203219B22F}" type="pres">
      <dgm:prSet presAssocID="{102BEBE8-1030-474E-80E3-A8F484E4F6D3}" presName="parSpace" presStyleCnt="0"/>
      <dgm:spPr/>
    </dgm:pt>
    <dgm:pt modelId="{8BF2E94A-9EDA-4D1B-B447-B22DF4954F6F}" type="pres">
      <dgm:prSet presAssocID="{C6B3F507-2D2A-4DC6-AC05-4B9C92757C16}" presName="parTxOnly" presStyleLbl="node1" presStyleIdx="9" presStyleCnt="10">
        <dgm:presLayoutVars>
          <dgm:bulletEnabled val="1"/>
        </dgm:presLayoutVars>
      </dgm:prSet>
      <dgm:spPr>
        <a:xfrm>
          <a:off x="7620384" y="185295"/>
          <a:ext cx="1058372" cy="423348"/>
        </a:xfrm>
        <a:prstGeom prst="chevron">
          <a:avLst/>
        </a:prstGeom>
      </dgm:spPr>
    </dgm:pt>
  </dgm:ptLst>
  <dgm:cxnLst>
    <dgm:cxn modelId="{8635D613-FF8F-4F3F-8F79-7C6A9DD574D3}" srcId="{5F09BBEB-BCC3-459F-84E8-C3F45965DA09}" destId="{308794B5-59A1-4F06-A19F-19B515FA2D2C}" srcOrd="2" destOrd="0" parTransId="{40A90EE6-40C6-4C1A-975D-8DECA9BC3FD2}" sibTransId="{2A857EBE-287F-47BF-BC3B-E1E5F39FA4B7}"/>
    <dgm:cxn modelId="{7498D815-AE35-4CC1-87A5-4E163067D50B}" type="presOf" srcId="{C2993C98-6A6F-4187-B0C4-7E93C9DD87FA}" destId="{1C920BC9-2570-439E-8481-8C6F1CB98E73}" srcOrd="0" destOrd="0" presId="urn:microsoft.com/office/officeart/2005/8/layout/hChevron3"/>
    <dgm:cxn modelId="{CDCFC11C-CFCD-4E79-A72B-8D05C57DADFF}" srcId="{5F09BBEB-BCC3-459F-84E8-C3F45965DA09}" destId="{28FF80C1-E366-4469-835E-804BEA7EF9E9}" srcOrd="1" destOrd="0" parTransId="{C92A0CD3-241E-488E-AA57-8B6574467E0F}" sibTransId="{91D0DF27-8817-4650-BB53-D21704C7C991}"/>
    <dgm:cxn modelId="{FB36DB1D-2A5C-47E1-BD93-3DE6146AF4C7}" srcId="{5F09BBEB-BCC3-459F-84E8-C3F45965DA09}" destId="{B3D0AF40-C106-41ED-9E6C-46321A70CAAB}" srcOrd="7" destOrd="0" parTransId="{D2A261CD-44A6-4CD9-BD0E-FC21222598C3}" sibTransId="{D2A85F37-7CC7-4104-AF88-FFA6A57188E0}"/>
    <dgm:cxn modelId="{73D5EB2C-4DDA-469C-82CB-EB293E5A841C}" type="presOf" srcId="{A37E9E2F-421E-4906-9EA5-4D3D0039337B}" destId="{FAC99AAC-4206-4C8D-B75A-31CCAA24369E}" srcOrd="0" destOrd="0" presId="urn:microsoft.com/office/officeart/2005/8/layout/hChevron3"/>
    <dgm:cxn modelId="{BFE78C36-D48C-4ADF-B40F-FDA60F1CAFF1}" type="presOf" srcId="{308794B5-59A1-4F06-A19F-19B515FA2D2C}" destId="{0D14839E-F7AA-41F1-8F21-377D4525EA32}" srcOrd="0" destOrd="0" presId="urn:microsoft.com/office/officeart/2005/8/layout/hChevron3"/>
    <dgm:cxn modelId="{2287F43C-9B45-4B41-8BD5-84AFAA7B2870}" srcId="{5F09BBEB-BCC3-459F-84E8-C3F45965DA09}" destId="{C6B3F507-2D2A-4DC6-AC05-4B9C92757C16}" srcOrd="9" destOrd="0" parTransId="{DE8F853C-71D4-4D0D-9A17-D8B374D814FD}" sibTransId="{D0C75D6A-40FE-4179-9416-F5DC0E331C7F}"/>
    <dgm:cxn modelId="{A2117A40-75DD-4F93-9B85-0E6C330838BF}" srcId="{5F09BBEB-BCC3-459F-84E8-C3F45965DA09}" destId="{EA542168-3CF6-4E7D-BE36-F1874E1A6786}" srcOrd="5" destOrd="0" parTransId="{0F2809F5-F901-42CC-9BCD-A0A9B96DFE1C}" sibTransId="{EFA7C1C5-FEE2-496F-9C35-D5D7E067AD72}"/>
    <dgm:cxn modelId="{22FE0D61-FA1A-4575-9EA7-0847D35FB40F}" type="presOf" srcId="{244AB1FE-452B-48D8-8768-3BA11F7CDA2F}" destId="{2297D37F-06A9-4D3B-9E7D-1BFE806033E6}" srcOrd="0" destOrd="0" presId="urn:microsoft.com/office/officeart/2005/8/layout/hChevron3"/>
    <dgm:cxn modelId="{19255C41-D653-4AA7-B5D5-F563627BA0CF}" srcId="{5F09BBEB-BCC3-459F-84E8-C3F45965DA09}" destId="{DB686BFB-198E-4000-A208-50B01C895C5D}" srcOrd="0" destOrd="0" parTransId="{308DC400-404E-42BD-BE70-9AF5501A8294}" sibTransId="{71D97F50-AB3B-4D05-8099-47186F345C43}"/>
    <dgm:cxn modelId="{F9DECC50-2A9D-4CCE-A94B-38F80FBC12B2}" type="presOf" srcId="{DB686BFB-198E-4000-A208-50B01C895C5D}" destId="{E758B83E-CFEC-43EC-AF0D-E790A3C16319}" srcOrd="0" destOrd="0" presId="urn:microsoft.com/office/officeart/2005/8/layout/hChevron3"/>
    <dgm:cxn modelId="{026B8171-5599-4C67-B63E-7389ED643B06}" srcId="{5F09BBEB-BCC3-459F-84E8-C3F45965DA09}" destId="{C2993C98-6A6F-4187-B0C4-7E93C9DD87FA}" srcOrd="6" destOrd="0" parTransId="{9CBC2D13-0312-49BE-A158-5EA5D3005C80}" sibTransId="{BE740BCE-24A9-4674-AEDF-D364E86B6D22}"/>
    <dgm:cxn modelId="{2CB7CF59-FCF1-4ACB-AC42-B02F3DA6E02C}" srcId="{5F09BBEB-BCC3-459F-84E8-C3F45965DA09}" destId="{244AB1FE-452B-48D8-8768-3BA11F7CDA2F}" srcOrd="8" destOrd="0" parTransId="{3AB6269D-FE5C-4FEF-9E3C-39AACC7EF09F}" sibTransId="{102BEBE8-1030-474E-80E3-A8F484E4F6D3}"/>
    <dgm:cxn modelId="{6023F593-FCF4-43E2-85CE-AD10542CEE88}" type="presOf" srcId="{C6B3F507-2D2A-4DC6-AC05-4B9C92757C16}" destId="{8BF2E94A-9EDA-4D1B-B447-B22DF4954F6F}" srcOrd="0" destOrd="0" presId="urn:microsoft.com/office/officeart/2005/8/layout/hChevron3"/>
    <dgm:cxn modelId="{766E6C9B-742C-442E-8172-8BF8D40AD199}" type="presOf" srcId="{79B60177-2217-4C3E-BFB2-A7F514C11442}" destId="{AC1BF143-926D-45ED-A5A3-43D05A5B5E05}" srcOrd="0" destOrd="0" presId="urn:microsoft.com/office/officeart/2005/8/layout/hChevron3"/>
    <dgm:cxn modelId="{9F73CDB9-E2B2-4C3B-BD07-14E9AE766AC9}" srcId="{5F09BBEB-BCC3-459F-84E8-C3F45965DA09}" destId="{79B60177-2217-4C3E-BFB2-A7F514C11442}" srcOrd="3" destOrd="0" parTransId="{C0EE4951-222A-4A3C-884C-462AB7405FF1}" sibTransId="{BB68D18C-C2C2-4B5D-A338-F21AC8AC055A}"/>
    <dgm:cxn modelId="{BFE1E3BA-C15C-41DC-AAD8-92F9635D6BF2}" srcId="{5F09BBEB-BCC3-459F-84E8-C3F45965DA09}" destId="{A37E9E2F-421E-4906-9EA5-4D3D0039337B}" srcOrd="4" destOrd="0" parTransId="{CE6AC0C5-5287-487A-AA5B-84A420F4BCCF}" sibTransId="{FB9F0D44-060C-450B-95E1-4D0DFC8E216B}"/>
    <dgm:cxn modelId="{972F8AC6-E642-4970-B4CF-B938DF3C94A2}" type="presOf" srcId="{28FF80C1-E366-4469-835E-804BEA7EF9E9}" destId="{57F52E1E-2C2F-47A9-A6D9-CB7537BF727C}" srcOrd="0" destOrd="0" presId="urn:microsoft.com/office/officeart/2005/8/layout/hChevron3"/>
    <dgm:cxn modelId="{178236CB-EF09-4173-8EBE-FC737AED0D85}" type="presOf" srcId="{EA542168-3CF6-4E7D-BE36-F1874E1A6786}" destId="{EECB13DF-38FD-4199-93B9-448461C16185}" srcOrd="0" destOrd="0" presId="urn:microsoft.com/office/officeart/2005/8/layout/hChevron3"/>
    <dgm:cxn modelId="{6C1C96E4-80FF-48EC-9B74-7A88917D15EF}" type="presOf" srcId="{B3D0AF40-C106-41ED-9E6C-46321A70CAAB}" destId="{E8BBFEEE-B21B-4C1D-846B-B89F01B73A44}" srcOrd="0" destOrd="0" presId="urn:microsoft.com/office/officeart/2005/8/layout/hChevron3"/>
    <dgm:cxn modelId="{55A360EF-56B4-4E1B-B6DC-788CB3D5C2D3}" type="presOf" srcId="{5F09BBEB-BCC3-459F-84E8-C3F45965DA09}" destId="{5A8139B6-91BE-4CD6-9A26-1E8EB65606D1}" srcOrd="0" destOrd="0" presId="urn:microsoft.com/office/officeart/2005/8/layout/hChevron3"/>
    <dgm:cxn modelId="{F7229797-FA27-4730-8A33-B779CCDC5C3C}" type="presParOf" srcId="{5A8139B6-91BE-4CD6-9A26-1E8EB65606D1}" destId="{E758B83E-CFEC-43EC-AF0D-E790A3C16319}" srcOrd="0" destOrd="0" presId="urn:microsoft.com/office/officeart/2005/8/layout/hChevron3"/>
    <dgm:cxn modelId="{797CD30E-B045-4A2A-A262-5FA3F2383F0E}" type="presParOf" srcId="{5A8139B6-91BE-4CD6-9A26-1E8EB65606D1}" destId="{8B0AB190-C0DA-4BC9-AB8E-FC2ED0D56206}" srcOrd="1" destOrd="0" presId="urn:microsoft.com/office/officeart/2005/8/layout/hChevron3"/>
    <dgm:cxn modelId="{8350EBD2-82F9-43A1-8271-7B3C2601C7FF}" type="presParOf" srcId="{5A8139B6-91BE-4CD6-9A26-1E8EB65606D1}" destId="{57F52E1E-2C2F-47A9-A6D9-CB7537BF727C}" srcOrd="2" destOrd="0" presId="urn:microsoft.com/office/officeart/2005/8/layout/hChevron3"/>
    <dgm:cxn modelId="{065A1536-B084-4DE2-9756-A8BD56653EAA}" type="presParOf" srcId="{5A8139B6-91BE-4CD6-9A26-1E8EB65606D1}" destId="{23AB88B7-C798-42E5-B3C5-6FD5532695B1}" srcOrd="3" destOrd="0" presId="urn:microsoft.com/office/officeart/2005/8/layout/hChevron3"/>
    <dgm:cxn modelId="{900BF689-8BEA-4E5F-86F5-16B928223239}" type="presParOf" srcId="{5A8139B6-91BE-4CD6-9A26-1E8EB65606D1}" destId="{0D14839E-F7AA-41F1-8F21-377D4525EA32}" srcOrd="4" destOrd="0" presId="urn:microsoft.com/office/officeart/2005/8/layout/hChevron3"/>
    <dgm:cxn modelId="{FDD11ECE-9527-4A81-A422-BB7C9D8AFA6A}" type="presParOf" srcId="{5A8139B6-91BE-4CD6-9A26-1E8EB65606D1}" destId="{6FCAC6DE-3B61-4FC5-BCC0-E4629EF4789A}" srcOrd="5" destOrd="0" presId="urn:microsoft.com/office/officeart/2005/8/layout/hChevron3"/>
    <dgm:cxn modelId="{3C10773A-398D-41D7-B997-F0F842EF9BCD}" type="presParOf" srcId="{5A8139B6-91BE-4CD6-9A26-1E8EB65606D1}" destId="{AC1BF143-926D-45ED-A5A3-43D05A5B5E05}" srcOrd="6" destOrd="0" presId="urn:microsoft.com/office/officeart/2005/8/layout/hChevron3"/>
    <dgm:cxn modelId="{CC76DA5B-FB4F-4410-8237-D6E32C8F3069}" type="presParOf" srcId="{5A8139B6-91BE-4CD6-9A26-1E8EB65606D1}" destId="{0DE0C2D5-A75D-4380-B806-1FCE20FD6100}" srcOrd="7" destOrd="0" presId="urn:microsoft.com/office/officeart/2005/8/layout/hChevron3"/>
    <dgm:cxn modelId="{F2E2E515-6858-4F8B-B7EC-AA286C5DFF3C}" type="presParOf" srcId="{5A8139B6-91BE-4CD6-9A26-1E8EB65606D1}" destId="{FAC99AAC-4206-4C8D-B75A-31CCAA24369E}" srcOrd="8" destOrd="0" presId="urn:microsoft.com/office/officeart/2005/8/layout/hChevron3"/>
    <dgm:cxn modelId="{7A259C44-7F18-419D-B25D-87D26844FD0A}" type="presParOf" srcId="{5A8139B6-91BE-4CD6-9A26-1E8EB65606D1}" destId="{C7EB8198-0BBC-4800-A04C-5A838FD89335}" srcOrd="9" destOrd="0" presId="urn:microsoft.com/office/officeart/2005/8/layout/hChevron3"/>
    <dgm:cxn modelId="{1DB9D684-FDF1-4485-8F05-243A582343B3}" type="presParOf" srcId="{5A8139B6-91BE-4CD6-9A26-1E8EB65606D1}" destId="{EECB13DF-38FD-4199-93B9-448461C16185}" srcOrd="10" destOrd="0" presId="urn:microsoft.com/office/officeart/2005/8/layout/hChevron3"/>
    <dgm:cxn modelId="{F9BC0876-B7B1-4E36-866A-621301818E4D}" type="presParOf" srcId="{5A8139B6-91BE-4CD6-9A26-1E8EB65606D1}" destId="{E374F486-FB19-41B2-A0F0-48FB5502A237}" srcOrd="11" destOrd="0" presId="urn:microsoft.com/office/officeart/2005/8/layout/hChevron3"/>
    <dgm:cxn modelId="{68901253-C80F-4309-BEEB-846BF429E040}" type="presParOf" srcId="{5A8139B6-91BE-4CD6-9A26-1E8EB65606D1}" destId="{1C920BC9-2570-439E-8481-8C6F1CB98E73}" srcOrd="12" destOrd="0" presId="urn:microsoft.com/office/officeart/2005/8/layout/hChevron3"/>
    <dgm:cxn modelId="{5EB9676F-FACE-4045-893B-ED5656605287}" type="presParOf" srcId="{5A8139B6-91BE-4CD6-9A26-1E8EB65606D1}" destId="{83CF4DA9-86E0-4AE4-94AE-6C72C4A1D2F8}" srcOrd="13" destOrd="0" presId="urn:microsoft.com/office/officeart/2005/8/layout/hChevron3"/>
    <dgm:cxn modelId="{BC6C1E01-C648-40BB-BFCB-9AB904C2A097}" type="presParOf" srcId="{5A8139B6-91BE-4CD6-9A26-1E8EB65606D1}" destId="{E8BBFEEE-B21B-4C1D-846B-B89F01B73A44}" srcOrd="14" destOrd="0" presId="urn:microsoft.com/office/officeart/2005/8/layout/hChevron3"/>
    <dgm:cxn modelId="{0B6B22D8-7F48-4240-8E4C-779E49ED37CA}" type="presParOf" srcId="{5A8139B6-91BE-4CD6-9A26-1E8EB65606D1}" destId="{79E1544A-52D1-4DF3-B1EF-1D7B51F38FFB}" srcOrd="15" destOrd="0" presId="urn:microsoft.com/office/officeart/2005/8/layout/hChevron3"/>
    <dgm:cxn modelId="{3EC2B338-A00C-4A6E-975E-8084F004117A}" type="presParOf" srcId="{5A8139B6-91BE-4CD6-9A26-1E8EB65606D1}" destId="{2297D37F-06A9-4D3B-9E7D-1BFE806033E6}" srcOrd="16" destOrd="0" presId="urn:microsoft.com/office/officeart/2005/8/layout/hChevron3"/>
    <dgm:cxn modelId="{430BCF5F-58E7-4BD0-88BD-64AD6818FB00}" type="presParOf" srcId="{5A8139B6-91BE-4CD6-9A26-1E8EB65606D1}" destId="{860E36E1-9B69-4A8E-B7F1-1A203219B22F}" srcOrd="17" destOrd="0" presId="urn:microsoft.com/office/officeart/2005/8/layout/hChevron3"/>
    <dgm:cxn modelId="{2455F435-7A6F-438C-8A67-346DE979ECE7}" type="presParOf" srcId="{5A8139B6-91BE-4CD6-9A26-1E8EB65606D1}" destId="{8BF2E94A-9EDA-4D1B-B447-B22DF4954F6F}" srcOrd="18" destOrd="0" presId="urn:microsoft.com/office/officeart/2005/8/layout/hChevron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F09BBEB-BCC3-459F-84E8-C3F45965DA09}" type="doc">
      <dgm:prSet loTypeId="urn:microsoft.com/office/officeart/2005/8/layout/hChevron3" loCatId="process" qsTypeId="urn:microsoft.com/office/officeart/2005/8/quickstyle/simple1" qsCatId="simple" csTypeId="urn:microsoft.com/office/officeart/2005/8/colors/accent1_2" csCatId="accent1" phldr="1"/>
      <dgm:spPr/>
    </dgm:pt>
    <dgm:pt modelId="{D9A46A24-1A39-40C4-BDEF-CFA7810A2AAE}">
      <dgm:prSet custT="1"/>
      <dgm:spPr/>
      <dgm:t>
        <a:bodyPr/>
        <a:lstStyle/>
        <a:p>
          <a:r>
            <a:rPr lang="en-US" sz="1800" dirty="0"/>
            <a:t>Continuous Integration</a:t>
          </a:r>
        </a:p>
      </dgm:t>
    </dgm:pt>
    <dgm:pt modelId="{66FFC086-41A2-4587-A80D-C476FEB0A87D}" type="parTrans" cxnId="{D4CE26BC-77E7-45C7-A7B2-153FEC32CCF0}">
      <dgm:prSet/>
      <dgm:spPr/>
      <dgm:t>
        <a:bodyPr/>
        <a:lstStyle/>
        <a:p>
          <a:endParaRPr lang="en-US" sz="1200"/>
        </a:p>
      </dgm:t>
    </dgm:pt>
    <dgm:pt modelId="{F798BDF2-5A93-4BDF-814C-A30D18340DBF}" type="sibTrans" cxnId="{D4CE26BC-77E7-45C7-A7B2-153FEC32CCF0}">
      <dgm:prSet/>
      <dgm:spPr/>
      <dgm:t>
        <a:bodyPr/>
        <a:lstStyle/>
        <a:p>
          <a:endParaRPr lang="en-US" sz="1200"/>
        </a:p>
      </dgm:t>
    </dgm:pt>
    <dgm:pt modelId="{34418343-4F07-404D-BE38-92B2D24B7E05}">
      <dgm:prSet custT="1"/>
      <dgm:spPr/>
      <dgm:t>
        <a:bodyPr/>
        <a:lstStyle/>
        <a:p>
          <a:r>
            <a:rPr lang="en-US" sz="1800" dirty="0"/>
            <a:t>Continuous Delivery</a:t>
          </a:r>
        </a:p>
      </dgm:t>
    </dgm:pt>
    <dgm:pt modelId="{A7A8E09D-662C-45E2-9798-75DFCF5AD338}" type="parTrans" cxnId="{72105B5F-CE7A-4453-8ABE-41BD72E534BE}">
      <dgm:prSet/>
      <dgm:spPr/>
      <dgm:t>
        <a:bodyPr/>
        <a:lstStyle/>
        <a:p>
          <a:endParaRPr lang="en-US" sz="1200"/>
        </a:p>
      </dgm:t>
    </dgm:pt>
    <dgm:pt modelId="{492097AD-6096-4A56-ACAB-319019CDAEEB}" type="sibTrans" cxnId="{72105B5F-CE7A-4453-8ABE-41BD72E534BE}">
      <dgm:prSet/>
      <dgm:spPr/>
      <dgm:t>
        <a:bodyPr/>
        <a:lstStyle/>
        <a:p>
          <a:endParaRPr lang="en-US" sz="1200"/>
        </a:p>
      </dgm:t>
    </dgm:pt>
    <dgm:pt modelId="{5A8139B6-91BE-4CD6-9A26-1E8EB65606D1}" type="pres">
      <dgm:prSet presAssocID="{5F09BBEB-BCC3-459F-84E8-C3F45965DA09}" presName="Name0" presStyleCnt="0">
        <dgm:presLayoutVars>
          <dgm:dir/>
          <dgm:resizeHandles val="exact"/>
        </dgm:presLayoutVars>
      </dgm:prSet>
      <dgm:spPr/>
    </dgm:pt>
    <dgm:pt modelId="{100BB1A8-A75B-46B4-A88C-52BAAA4EA6C2}" type="pres">
      <dgm:prSet presAssocID="{D9A46A24-1A39-40C4-BDEF-CFA7810A2AAE}" presName="parTxOnly" presStyleLbl="node1" presStyleIdx="0" presStyleCnt="2" custScaleX="58075" custLinFactNeighborX="-40788" custLinFactNeighborY="7816">
        <dgm:presLayoutVars>
          <dgm:bulletEnabled val="1"/>
        </dgm:presLayoutVars>
      </dgm:prSet>
      <dgm:spPr/>
    </dgm:pt>
    <dgm:pt modelId="{F4229669-D6F8-4B59-A4CD-D5346B3C39F1}" type="pres">
      <dgm:prSet presAssocID="{F798BDF2-5A93-4BDF-814C-A30D18340DBF}" presName="parSpace" presStyleCnt="0"/>
      <dgm:spPr/>
    </dgm:pt>
    <dgm:pt modelId="{C41A44A8-F315-467A-BC7A-DF5D204D36AC}" type="pres">
      <dgm:prSet presAssocID="{34418343-4F07-404D-BE38-92B2D24B7E05}" presName="parTxOnly" presStyleLbl="node1" presStyleIdx="1" presStyleCnt="2" custScaleX="45034" custLinFactNeighborX="35969" custLinFactNeighborY="-3574">
        <dgm:presLayoutVars>
          <dgm:bulletEnabled val="1"/>
        </dgm:presLayoutVars>
      </dgm:prSet>
      <dgm:spPr/>
    </dgm:pt>
  </dgm:ptLst>
  <dgm:cxnLst>
    <dgm:cxn modelId="{3F1E4133-2A1E-4235-9328-E58716960D9C}" type="presOf" srcId="{D9A46A24-1A39-40C4-BDEF-CFA7810A2AAE}" destId="{100BB1A8-A75B-46B4-A88C-52BAAA4EA6C2}" srcOrd="0" destOrd="0" presId="urn:microsoft.com/office/officeart/2005/8/layout/hChevron3"/>
    <dgm:cxn modelId="{72105B5F-CE7A-4453-8ABE-41BD72E534BE}" srcId="{5F09BBEB-BCC3-459F-84E8-C3F45965DA09}" destId="{34418343-4F07-404D-BE38-92B2D24B7E05}" srcOrd="1" destOrd="0" parTransId="{A7A8E09D-662C-45E2-9798-75DFCF5AD338}" sibTransId="{492097AD-6096-4A56-ACAB-319019CDAEEB}"/>
    <dgm:cxn modelId="{7E9AAF4F-F86E-4539-8342-B42AC99F5AEA}" type="presOf" srcId="{34418343-4F07-404D-BE38-92B2D24B7E05}" destId="{C41A44A8-F315-467A-BC7A-DF5D204D36AC}" srcOrd="0" destOrd="0" presId="urn:microsoft.com/office/officeart/2005/8/layout/hChevron3"/>
    <dgm:cxn modelId="{D4CE26BC-77E7-45C7-A7B2-153FEC32CCF0}" srcId="{5F09BBEB-BCC3-459F-84E8-C3F45965DA09}" destId="{D9A46A24-1A39-40C4-BDEF-CFA7810A2AAE}" srcOrd="0" destOrd="0" parTransId="{66FFC086-41A2-4587-A80D-C476FEB0A87D}" sibTransId="{F798BDF2-5A93-4BDF-814C-A30D18340DBF}"/>
    <dgm:cxn modelId="{55A360EF-56B4-4E1B-B6DC-788CB3D5C2D3}" type="presOf" srcId="{5F09BBEB-BCC3-459F-84E8-C3F45965DA09}" destId="{5A8139B6-91BE-4CD6-9A26-1E8EB65606D1}" srcOrd="0" destOrd="0" presId="urn:microsoft.com/office/officeart/2005/8/layout/hChevron3"/>
    <dgm:cxn modelId="{DDC0E7FD-96EA-4482-B703-BF8FE526B224}" type="presParOf" srcId="{5A8139B6-91BE-4CD6-9A26-1E8EB65606D1}" destId="{100BB1A8-A75B-46B4-A88C-52BAAA4EA6C2}" srcOrd="0" destOrd="0" presId="urn:microsoft.com/office/officeart/2005/8/layout/hChevron3"/>
    <dgm:cxn modelId="{8A7AB3D9-74DF-4991-94ED-11FEBCFC64DB}" type="presParOf" srcId="{5A8139B6-91BE-4CD6-9A26-1E8EB65606D1}" destId="{F4229669-D6F8-4B59-A4CD-D5346B3C39F1}" srcOrd="1" destOrd="0" presId="urn:microsoft.com/office/officeart/2005/8/layout/hChevron3"/>
    <dgm:cxn modelId="{6B0B2E57-CF46-45C3-B806-CBA9927886B9}" type="presParOf" srcId="{5A8139B6-91BE-4CD6-9A26-1E8EB65606D1}" destId="{C41A44A8-F315-467A-BC7A-DF5D204D36AC}" srcOrd="2" destOrd="0" presId="urn:microsoft.com/office/officeart/2005/8/layout/hChevron3"/>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20.xml><?xml version="1.0" encoding="utf-8"?>
<dgm:dataModel xmlns:dgm="http://schemas.openxmlformats.org/drawingml/2006/diagram" xmlns:a="http://schemas.openxmlformats.org/drawingml/2006/main">
  <dgm:ptLst>
    <dgm:pt modelId="{5F09BBEB-BCC3-459F-84E8-C3F45965DA09}" type="doc">
      <dgm:prSet loTypeId="urn:microsoft.com/office/officeart/2005/8/layout/hChevron3" loCatId="process" qsTypeId="urn:microsoft.com/office/officeart/2005/8/quickstyle/simple1" qsCatId="simple" csTypeId="urn:microsoft.com/office/officeart/2005/8/colors/accent1_2" csCatId="accent1" phldr="1"/>
      <dgm:spPr/>
    </dgm:pt>
    <dgm:pt modelId="{D9A46A24-1A39-40C4-BDEF-CFA7810A2AAE}">
      <dgm:prSet custT="1"/>
      <dgm:spPr>
        <a:solidFill>
          <a:schemeClr val="bg2"/>
        </a:solidFill>
      </dgm:spPr>
      <dgm:t>
        <a:bodyPr/>
        <a:lstStyle/>
        <a:p>
          <a:r>
            <a:rPr lang="en-US" sz="1800" dirty="0"/>
            <a:t>Continuous Integration</a:t>
          </a:r>
        </a:p>
      </dgm:t>
    </dgm:pt>
    <dgm:pt modelId="{66FFC086-41A2-4587-A80D-C476FEB0A87D}" type="parTrans" cxnId="{D4CE26BC-77E7-45C7-A7B2-153FEC32CCF0}">
      <dgm:prSet/>
      <dgm:spPr/>
      <dgm:t>
        <a:bodyPr/>
        <a:lstStyle/>
        <a:p>
          <a:endParaRPr lang="en-US" sz="1200"/>
        </a:p>
      </dgm:t>
    </dgm:pt>
    <dgm:pt modelId="{F798BDF2-5A93-4BDF-814C-A30D18340DBF}" type="sibTrans" cxnId="{D4CE26BC-77E7-45C7-A7B2-153FEC32CCF0}">
      <dgm:prSet/>
      <dgm:spPr/>
      <dgm:t>
        <a:bodyPr/>
        <a:lstStyle/>
        <a:p>
          <a:endParaRPr lang="en-US" sz="1200"/>
        </a:p>
      </dgm:t>
    </dgm:pt>
    <dgm:pt modelId="{34418343-4F07-404D-BE38-92B2D24B7E05}">
      <dgm:prSet custT="1"/>
      <dgm:spPr>
        <a:solidFill>
          <a:schemeClr val="bg2"/>
        </a:solidFill>
      </dgm:spPr>
      <dgm:t>
        <a:bodyPr/>
        <a:lstStyle/>
        <a:p>
          <a:r>
            <a:rPr lang="en-US" sz="1800" dirty="0"/>
            <a:t>Continuous Delivery</a:t>
          </a:r>
        </a:p>
      </dgm:t>
    </dgm:pt>
    <dgm:pt modelId="{A7A8E09D-662C-45E2-9798-75DFCF5AD338}" type="parTrans" cxnId="{72105B5F-CE7A-4453-8ABE-41BD72E534BE}">
      <dgm:prSet/>
      <dgm:spPr/>
      <dgm:t>
        <a:bodyPr/>
        <a:lstStyle/>
        <a:p>
          <a:endParaRPr lang="en-US" sz="1200"/>
        </a:p>
      </dgm:t>
    </dgm:pt>
    <dgm:pt modelId="{492097AD-6096-4A56-ACAB-319019CDAEEB}" type="sibTrans" cxnId="{72105B5F-CE7A-4453-8ABE-41BD72E534BE}">
      <dgm:prSet/>
      <dgm:spPr/>
      <dgm:t>
        <a:bodyPr/>
        <a:lstStyle/>
        <a:p>
          <a:endParaRPr lang="en-US" sz="1200"/>
        </a:p>
      </dgm:t>
    </dgm:pt>
    <dgm:pt modelId="{5A8139B6-91BE-4CD6-9A26-1E8EB65606D1}" type="pres">
      <dgm:prSet presAssocID="{5F09BBEB-BCC3-459F-84E8-C3F45965DA09}" presName="Name0" presStyleCnt="0">
        <dgm:presLayoutVars>
          <dgm:dir/>
          <dgm:resizeHandles val="exact"/>
        </dgm:presLayoutVars>
      </dgm:prSet>
      <dgm:spPr/>
    </dgm:pt>
    <dgm:pt modelId="{100BB1A8-A75B-46B4-A88C-52BAAA4EA6C2}" type="pres">
      <dgm:prSet presAssocID="{D9A46A24-1A39-40C4-BDEF-CFA7810A2AAE}" presName="parTxOnly" presStyleLbl="node1" presStyleIdx="0" presStyleCnt="2" custScaleX="58075" custLinFactNeighborX="-40788" custLinFactNeighborY="7816">
        <dgm:presLayoutVars>
          <dgm:bulletEnabled val="1"/>
        </dgm:presLayoutVars>
      </dgm:prSet>
      <dgm:spPr/>
    </dgm:pt>
    <dgm:pt modelId="{F4229669-D6F8-4B59-A4CD-D5346B3C39F1}" type="pres">
      <dgm:prSet presAssocID="{F798BDF2-5A93-4BDF-814C-A30D18340DBF}" presName="parSpace" presStyleCnt="0"/>
      <dgm:spPr/>
    </dgm:pt>
    <dgm:pt modelId="{C41A44A8-F315-467A-BC7A-DF5D204D36AC}" type="pres">
      <dgm:prSet presAssocID="{34418343-4F07-404D-BE38-92B2D24B7E05}" presName="parTxOnly" presStyleLbl="node1" presStyleIdx="1" presStyleCnt="2" custScaleX="45034" custLinFactNeighborX="35969" custLinFactNeighborY="-3574">
        <dgm:presLayoutVars>
          <dgm:bulletEnabled val="1"/>
        </dgm:presLayoutVars>
      </dgm:prSet>
      <dgm:spPr/>
    </dgm:pt>
  </dgm:ptLst>
  <dgm:cxnLst>
    <dgm:cxn modelId="{3F1E4133-2A1E-4235-9328-E58716960D9C}" type="presOf" srcId="{D9A46A24-1A39-40C4-BDEF-CFA7810A2AAE}" destId="{100BB1A8-A75B-46B4-A88C-52BAAA4EA6C2}" srcOrd="0" destOrd="0" presId="urn:microsoft.com/office/officeart/2005/8/layout/hChevron3"/>
    <dgm:cxn modelId="{72105B5F-CE7A-4453-8ABE-41BD72E534BE}" srcId="{5F09BBEB-BCC3-459F-84E8-C3F45965DA09}" destId="{34418343-4F07-404D-BE38-92B2D24B7E05}" srcOrd="1" destOrd="0" parTransId="{A7A8E09D-662C-45E2-9798-75DFCF5AD338}" sibTransId="{492097AD-6096-4A56-ACAB-319019CDAEEB}"/>
    <dgm:cxn modelId="{7E9AAF4F-F86E-4539-8342-B42AC99F5AEA}" type="presOf" srcId="{34418343-4F07-404D-BE38-92B2D24B7E05}" destId="{C41A44A8-F315-467A-BC7A-DF5D204D36AC}" srcOrd="0" destOrd="0" presId="urn:microsoft.com/office/officeart/2005/8/layout/hChevron3"/>
    <dgm:cxn modelId="{D4CE26BC-77E7-45C7-A7B2-153FEC32CCF0}" srcId="{5F09BBEB-BCC3-459F-84E8-C3F45965DA09}" destId="{D9A46A24-1A39-40C4-BDEF-CFA7810A2AAE}" srcOrd="0" destOrd="0" parTransId="{66FFC086-41A2-4587-A80D-C476FEB0A87D}" sibTransId="{F798BDF2-5A93-4BDF-814C-A30D18340DBF}"/>
    <dgm:cxn modelId="{55A360EF-56B4-4E1B-B6DC-788CB3D5C2D3}" type="presOf" srcId="{5F09BBEB-BCC3-459F-84E8-C3F45965DA09}" destId="{5A8139B6-91BE-4CD6-9A26-1E8EB65606D1}" srcOrd="0" destOrd="0" presId="urn:microsoft.com/office/officeart/2005/8/layout/hChevron3"/>
    <dgm:cxn modelId="{DDC0E7FD-96EA-4482-B703-BF8FE526B224}" type="presParOf" srcId="{5A8139B6-91BE-4CD6-9A26-1E8EB65606D1}" destId="{100BB1A8-A75B-46B4-A88C-52BAAA4EA6C2}" srcOrd="0" destOrd="0" presId="urn:microsoft.com/office/officeart/2005/8/layout/hChevron3"/>
    <dgm:cxn modelId="{8A7AB3D9-74DF-4991-94ED-11FEBCFC64DB}" type="presParOf" srcId="{5A8139B6-91BE-4CD6-9A26-1E8EB65606D1}" destId="{F4229669-D6F8-4B59-A4CD-D5346B3C39F1}" srcOrd="1" destOrd="0" presId="urn:microsoft.com/office/officeart/2005/8/layout/hChevron3"/>
    <dgm:cxn modelId="{6B0B2E57-CF46-45C3-B806-CBA9927886B9}" type="presParOf" srcId="{5A8139B6-91BE-4CD6-9A26-1E8EB65606D1}" destId="{C41A44A8-F315-467A-BC7A-DF5D204D36AC}" srcOrd="2" destOrd="0" presId="urn:microsoft.com/office/officeart/2005/8/layout/hChevron3"/>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5F09BBEB-BCC3-459F-84E8-C3F45965DA09}" type="doc">
      <dgm:prSet loTypeId="urn:microsoft.com/office/officeart/2005/8/layout/hChevron3" loCatId="process" qsTypeId="urn:microsoft.com/office/officeart/2005/8/quickstyle/simple1" qsCatId="simple" csTypeId="urn:microsoft.com/office/officeart/2005/8/colors/accent1_2" csCatId="accent1" phldr="1"/>
      <dgm:spPr/>
    </dgm:pt>
    <dgm:pt modelId="{DB686BFB-198E-4000-A208-50B01C895C5D}">
      <dgm:prSet phldrT="[Text]"/>
      <dgm:spPr>
        <a:solidFill>
          <a:schemeClr val="accent1"/>
        </a:solidFill>
      </dgm:spPr>
      <dgm:t>
        <a:bodyPr/>
        <a:lstStyle/>
        <a:p>
          <a:r>
            <a:rPr lang="en-US" dirty="0"/>
            <a:t>Plan</a:t>
          </a:r>
        </a:p>
      </dgm:t>
    </dgm:pt>
    <dgm:pt modelId="{308DC400-404E-42BD-BE70-9AF5501A8294}" type="parTrans" cxnId="{19255C41-D653-4AA7-B5D5-F563627BA0CF}">
      <dgm:prSet/>
      <dgm:spPr/>
      <dgm:t>
        <a:bodyPr/>
        <a:lstStyle/>
        <a:p>
          <a:endParaRPr lang="en-US"/>
        </a:p>
      </dgm:t>
    </dgm:pt>
    <dgm:pt modelId="{71D97F50-AB3B-4D05-8099-47186F345C43}" type="sibTrans" cxnId="{19255C41-D653-4AA7-B5D5-F563627BA0CF}">
      <dgm:prSet/>
      <dgm:spPr/>
      <dgm:t>
        <a:bodyPr/>
        <a:lstStyle/>
        <a:p>
          <a:endParaRPr lang="en-US"/>
        </a:p>
      </dgm:t>
    </dgm:pt>
    <dgm:pt modelId="{28FF80C1-E366-4469-835E-804BEA7EF9E9}">
      <dgm:prSet phldrT="[Text]"/>
      <dgm:spPr>
        <a:solidFill>
          <a:schemeClr val="bg2"/>
        </a:solidFill>
      </dgm:spPr>
      <dgm:t>
        <a:bodyPr/>
        <a:lstStyle/>
        <a:p>
          <a:r>
            <a:rPr lang="en-US" dirty="0"/>
            <a:t>Code</a:t>
          </a:r>
        </a:p>
      </dgm:t>
    </dgm:pt>
    <dgm:pt modelId="{C92A0CD3-241E-488E-AA57-8B6574467E0F}" type="parTrans" cxnId="{CDCFC11C-CFCD-4E79-A72B-8D05C57DADFF}">
      <dgm:prSet/>
      <dgm:spPr/>
      <dgm:t>
        <a:bodyPr/>
        <a:lstStyle/>
        <a:p>
          <a:endParaRPr lang="en-US"/>
        </a:p>
      </dgm:t>
    </dgm:pt>
    <dgm:pt modelId="{91D0DF27-8817-4650-BB53-D21704C7C991}" type="sibTrans" cxnId="{CDCFC11C-CFCD-4E79-A72B-8D05C57DADFF}">
      <dgm:prSet/>
      <dgm:spPr/>
      <dgm:t>
        <a:bodyPr/>
        <a:lstStyle/>
        <a:p>
          <a:endParaRPr lang="en-US"/>
        </a:p>
      </dgm:t>
    </dgm:pt>
    <dgm:pt modelId="{308794B5-59A1-4F06-A19F-19B515FA2D2C}">
      <dgm:prSet phldrT="[Text]"/>
      <dgm:spPr>
        <a:solidFill>
          <a:schemeClr val="bg2"/>
        </a:solidFill>
      </dgm:spPr>
      <dgm:t>
        <a:bodyPr/>
        <a:lstStyle/>
        <a:p>
          <a:r>
            <a:rPr lang="en-US" dirty="0"/>
            <a:t>Build</a:t>
          </a:r>
        </a:p>
      </dgm:t>
    </dgm:pt>
    <dgm:pt modelId="{40A90EE6-40C6-4C1A-975D-8DECA9BC3FD2}" type="parTrans" cxnId="{8635D613-FF8F-4F3F-8F79-7C6A9DD574D3}">
      <dgm:prSet/>
      <dgm:spPr/>
      <dgm:t>
        <a:bodyPr/>
        <a:lstStyle/>
        <a:p>
          <a:endParaRPr lang="en-US"/>
        </a:p>
      </dgm:t>
    </dgm:pt>
    <dgm:pt modelId="{2A857EBE-287F-47BF-BC3B-E1E5F39FA4B7}" type="sibTrans" cxnId="{8635D613-FF8F-4F3F-8F79-7C6A9DD574D3}">
      <dgm:prSet/>
      <dgm:spPr/>
      <dgm:t>
        <a:bodyPr/>
        <a:lstStyle/>
        <a:p>
          <a:endParaRPr lang="en-US"/>
        </a:p>
      </dgm:t>
    </dgm:pt>
    <dgm:pt modelId="{79B60177-2217-4C3E-BFB2-A7F514C11442}">
      <dgm:prSet phldrT="[Text]"/>
      <dgm:spPr>
        <a:solidFill>
          <a:schemeClr val="bg2"/>
        </a:solidFill>
      </dgm:spPr>
      <dgm:t>
        <a:bodyPr/>
        <a:lstStyle/>
        <a:p>
          <a:r>
            <a:rPr lang="en-US" dirty="0"/>
            <a:t>Unit Tests</a:t>
          </a:r>
        </a:p>
      </dgm:t>
    </dgm:pt>
    <dgm:pt modelId="{C0EE4951-222A-4A3C-884C-462AB7405FF1}" type="parTrans" cxnId="{9F73CDB9-E2B2-4C3B-BD07-14E9AE766AC9}">
      <dgm:prSet/>
      <dgm:spPr/>
      <dgm:t>
        <a:bodyPr/>
        <a:lstStyle/>
        <a:p>
          <a:endParaRPr lang="en-US"/>
        </a:p>
      </dgm:t>
    </dgm:pt>
    <dgm:pt modelId="{BB68D18C-C2C2-4B5D-A338-F21AC8AC055A}" type="sibTrans" cxnId="{9F73CDB9-E2B2-4C3B-BD07-14E9AE766AC9}">
      <dgm:prSet/>
      <dgm:spPr/>
      <dgm:t>
        <a:bodyPr/>
        <a:lstStyle/>
        <a:p>
          <a:endParaRPr lang="en-US"/>
        </a:p>
      </dgm:t>
    </dgm:pt>
    <dgm:pt modelId="{EA542168-3CF6-4E7D-BE36-F1874E1A6786}">
      <dgm:prSet phldrT="[Text]"/>
      <dgm:spPr>
        <a:solidFill>
          <a:schemeClr val="bg2"/>
        </a:solidFill>
      </dgm:spPr>
      <dgm:t>
        <a:bodyPr/>
        <a:lstStyle/>
        <a:p>
          <a:r>
            <a:rPr lang="en-US" dirty="0"/>
            <a:t>Artifact publish</a:t>
          </a:r>
        </a:p>
      </dgm:t>
    </dgm:pt>
    <dgm:pt modelId="{0F2809F5-F901-42CC-9BCD-A0A9B96DFE1C}" type="parTrans" cxnId="{A2117A40-75DD-4F93-9B85-0E6C330838BF}">
      <dgm:prSet/>
      <dgm:spPr/>
      <dgm:t>
        <a:bodyPr/>
        <a:lstStyle/>
        <a:p>
          <a:endParaRPr lang="en-US"/>
        </a:p>
      </dgm:t>
    </dgm:pt>
    <dgm:pt modelId="{EFA7C1C5-FEE2-496F-9C35-D5D7E067AD72}" type="sibTrans" cxnId="{A2117A40-75DD-4F93-9B85-0E6C330838BF}">
      <dgm:prSet/>
      <dgm:spPr/>
      <dgm:t>
        <a:bodyPr/>
        <a:lstStyle/>
        <a:p>
          <a:endParaRPr lang="en-US"/>
        </a:p>
      </dgm:t>
    </dgm:pt>
    <dgm:pt modelId="{C2993C98-6A6F-4187-B0C4-7E93C9DD87FA}">
      <dgm:prSet phldrT="[Text]"/>
      <dgm:spPr>
        <a:solidFill>
          <a:schemeClr val="bg2"/>
        </a:solidFill>
      </dgm:spPr>
      <dgm:t>
        <a:bodyPr/>
        <a:lstStyle/>
        <a:p>
          <a:r>
            <a:rPr lang="en-US" dirty="0"/>
            <a:t>Deploy</a:t>
          </a:r>
        </a:p>
      </dgm:t>
    </dgm:pt>
    <dgm:pt modelId="{9CBC2D13-0312-49BE-A158-5EA5D3005C80}" type="parTrans" cxnId="{026B8171-5599-4C67-B63E-7389ED643B06}">
      <dgm:prSet/>
      <dgm:spPr/>
      <dgm:t>
        <a:bodyPr/>
        <a:lstStyle/>
        <a:p>
          <a:endParaRPr lang="en-US"/>
        </a:p>
      </dgm:t>
    </dgm:pt>
    <dgm:pt modelId="{BE740BCE-24A9-4674-AEDF-D364E86B6D22}" type="sibTrans" cxnId="{026B8171-5599-4C67-B63E-7389ED643B06}">
      <dgm:prSet/>
      <dgm:spPr/>
      <dgm:t>
        <a:bodyPr/>
        <a:lstStyle/>
        <a:p>
          <a:endParaRPr lang="en-US"/>
        </a:p>
      </dgm:t>
    </dgm:pt>
    <dgm:pt modelId="{B3D0AF40-C106-41ED-9E6C-46321A70CAAB}">
      <dgm:prSet phldrT="[Text]"/>
      <dgm:spPr>
        <a:solidFill>
          <a:schemeClr val="bg2"/>
        </a:solidFill>
      </dgm:spPr>
      <dgm:t>
        <a:bodyPr/>
        <a:lstStyle/>
        <a:p>
          <a:r>
            <a:rPr lang="en-US" dirty="0"/>
            <a:t>Integration Tests</a:t>
          </a:r>
        </a:p>
      </dgm:t>
    </dgm:pt>
    <dgm:pt modelId="{D2A261CD-44A6-4CD9-BD0E-FC21222598C3}" type="parTrans" cxnId="{FB36DB1D-2A5C-47E1-BD93-3DE6146AF4C7}">
      <dgm:prSet/>
      <dgm:spPr/>
      <dgm:t>
        <a:bodyPr/>
        <a:lstStyle/>
        <a:p>
          <a:endParaRPr lang="en-US"/>
        </a:p>
      </dgm:t>
    </dgm:pt>
    <dgm:pt modelId="{D2A85F37-7CC7-4104-AF88-FFA6A57188E0}" type="sibTrans" cxnId="{FB36DB1D-2A5C-47E1-BD93-3DE6146AF4C7}">
      <dgm:prSet/>
      <dgm:spPr/>
      <dgm:t>
        <a:bodyPr/>
        <a:lstStyle/>
        <a:p>
          <a:endParaRPr lang="en-US"/>
        </a:p>
      </dgm:t>
    </dgm:pt>
    <dgm:pt modelId="{A37E9E2F-421E-4906-9EA5-4D3D0039337B}">
      <dgm:prSet phldrT="[Text]"/>
      <dgm:spPr>
        <a:solidFill>
          <a:schemeClr val="bg2"/>
        </a:solidFill>
      </dgm:spPr>
      <dgm:t>
        <a:bodyPr/>
        <a:lstStyle/>
        <a:p>
          <a:r>
            <a:rPr lang="en-US" dirty="0"/>
            <a:t>Code Coverage and </a:t>
          </a:r>
          <a:r>
            <a:rPr lang="en-US" dirty="0" err="1"/>
            <a:t>Vulerabilities</a:t>
          </a:r>
          <a:endParaRPr lang="en-US" dirty="0"/>
        </a:p>
      </dgm:t>
    </dgm:pt>
    <dgm:pt modelId="{CE6AC0C5-5287-487A-AA5B-84A420F4BCCF}" type="parTrans" cxnId="{BFE1E3BA-C15C-41DC-AAD8-92F9635D6BF2}">
      <dgm:prSet/>
      <dgm:spPr/>
      <dgm:t>
        <a:bodyPr/>
        <a:lstStyle/>
        <a:p>
          <a:endParaRPr lang="en-US"/>
        </a:p>
      </dgm:t>
    </dgm:pt>
    <dgm:pt modelId="{FB9F0D44-060C-450B-95E1-4D0DFC8E216B}" type="sibTrans" cxnId="{BFE1E3BA-C15C-41DC-AAD8-92F9635D6BF2}">
      <dgm:prSet/>
      <dgm:spPr/>
      <dgm:t>
        <a:bodyPr/>
        <a:lstStyle/>
        <a:p>
          <a:endParaRPr lang="en-US"/>
        </a:p>
      </dgm:t>
    </dgm:pt>
    <dgm:pt modelId="{244AB1FE-452B-48D8-8768-3BA11F7CDA2F}">
      <dgm:prSet phldrT="[Text]"/>
      <dgm:spPr>
        <a:solidFill>
          <a:schemeClr val="bg2"/>
        </a:solidFill>
      </dgm:spPr>
      <dgm:t>
        <a:bodyPr/>
        <a:lstStyle/>
        <a:p>
          <a:r>
            <a:rPr lang="en-US" dirty="0"/>
            <a:t>E2E Tests</a:t>
          </a:r>
        </a:p>
      </dgm:t>
    </dgm:pt>
    <dgm:pt modelId="{3AB6269D-FE5C-4FEF-9E3C-39AACC7EF09F}" type="parTrans" cxnId="{2CB7CF59-FCF1-4ACB-AC42-B02F3DA6E02C}">
      <dgm:prSet/>
      <dgm:spPr/>
      <dgm:t>
        <a:bodyPr/>
        <a:lstStyle/>
        <a:p>
          <a:endParaRPr lang="en-US"/>
        </a:p>
      </dgm:t>
    </dgm:pt>
    <dgm:pt modelId="{102BEBE8-1030-474E-80E3-A8F484E4F6D3}" type="sibTrans" cxnId="{2CB7CF59-FCF1-4ACB-AC42-B02F3DA6E02C}">
      <dgm:prSet/>
      <dgm:spPr/>
      <dgm:t>
        <a:bodyPr/>
        <a:lstStyle/>
        <a:p>
          <a:endParaRPr lang="en-US"/>
        </a:p>
      </dgm:t>
    </dgm:pt>
    <dgm:pt modelId="{C6B3F507-2D2A-4DC6-AC05-4B9C92757C16}">
      <dgm:prSet phldrT="[Text]"/>
      <dgm:spPr>
        <a:solidFill>
          <a:schemeClr val="bg2"/>
        </a:solidFill>
      </dgm:spPr>
      <dgm:t>
        <a:bodyPr/>
        <a:lstStyle/>
        <a:p>
          <a:r>
            <a:rPr lang="en-US" dirty="0"/>
            <a:t>Deploy and Release</a:t>
          </a:r>
        </a:p>
      </dgm:t>
    </dgm:pt>
    <dgm:pt modelId="{DE8F853C-71D4-4D0D-9A17-D8B374D814FD}" type="parTrans" cxnId="{2287F43C-9B45-4B41-8BD5-84AFAA7B2870}">
      <dgm:prSet/>
      <dgm:spPr/>
      <dgm:t>
        <a:bodyPr/>
        <a:lstStyle/>
        <a:p>
          <a:endParaRPr lang="en-US"/>
        </a:p>
      </dgm:t>
    </dgm:pt>
    <dgm:pt modelId="{D0C75D6A-40FE-4179-9416-F5DC0E331C7F}" type="sibTrans" cxnId="{2287F43C-9B45-4B41-8BD5-84AFAA7B2870}">
      <dgm:prSet/>
      <dgm:spPr/>
      <dgm:t>
        <a:bodyPr/>
        <a:lstStyle/>
        <a:p>
          <a:endParaRPr lang="en-US"/>
        </a:p>
      </dgm:t>
    </dgm:pt>
    <dgm:pt modelId="{5A8139B6-91BE-4CD6-9A26-1E8EB65606D1}" type="pres">
      <dgm:prSet presAssocID="{5F09BBEB-BCC3-459F-84E8-C3F45965DA09}" presName="Name0" presStyleCnt="0">
        <dgm:presLayoutVars>
          <dgm:dir/>
          <dgm:resizeHandles val="exact"/>
        </dgm:presLayoutVars>
      </dgm:prSet>
      <dgm:spPr/>
    </dgm:pt>
    <dgm:pt modelId="{E758B83E-CFEC-43EC-AF0D-E790A3C16319}" type="pres">
      <dgm:prSet presAssocID="{DB686BFB-198E-4000-A208-50B01C895C5D}" presName="parTxOnly" presStyleLbl="node1" presStyleIdx="0" presStyleCnt="10">
        <dgm:presLayoutVars>
          <dgm:bulletEnabled val="1"/>
        </dgm:presLayoutVars>
      </dgm:prSet>
      <dgm:spPr/>
    </dgm:pt>
    <dgm:pt modelId="{8B0AB190-C0DA-4BC9-AB8E-FC2ED0D56206}" type="pres">
      <dgm:prSet presAssocID="{71D97F50-AB3B-4D05-8099-47186F345C43}" presName="parSpace" presStyleCnt="0"/>
      <dgm:spPr/>
    </dgm:pt>
    <dgm:pt modelId="{57F52E1E-2C2F-47A9-A6D9-CB7537BF727C}" type="pres">
      <dgm:prSet presAssocID="{28FF80C1-E366-4469-835E-804BEA7EF9E9}" presName="parTxOnly" presStyleLbl="node1" presStyleIdx="1" presStyleCnt="10">
        <dgm:presLayoutVars>
          <dgm:bulletEnabled val="1"/>
        </dgm:presLayoutVars>
      </dgm:prSet>
      <dgm:spPr/>
    </dgm:pt>
    <dgm:pt modelId="{23AB88B7-C798-42E5-B3C5-6FD5532695B1}" type="pres">
      <dgm:prSet presAssocID="{91D0DF27-8817-4650-BB53-D21704C7C991}" presName="parSpace" presStyleCnt="0"/>
      <dgm:spPr/>
    </dgm:pt>
    <dgm:pt modelId="{0D14839E-F7AA-41F1-8F21-377D4525EA32}" type="pres">
      <dgm:prSet presAssocID="{308794B5-59A1-4F06-A19F-19B515FA2D2C}" presName="parTxOnly" presStyleLbl="node1" presStyleIdx="2" presStyleCnt="10">
        <dgm:presLayoutVars>
          <dgm:bulletEnabled val="1"/>
        </dgm:presLayoutVars>
      </dgm:prSet>
      <dgm:spPr/>
    </dgm:pt>
    <dgm:pt modelId="{6FCAC6DE-3B61-4FC5-BCC0-E4629EF4789A}" type="pres">
      <dgm:prSet presAssocID="{2A857EBE-287F-47BF-BC3B-E1E5F39FA4B7}" presName="parSpace" presStyleCnt="0"/>
      <dgm:spPr/>
    </dgm:pt>
    <dgm:pt modelId="{AC1BF143-926D-45ED-A5A3-43D05A5B5E05}" type="pres">
      <dgm:prSet presAssocID="{79B60177-2217-4C3E-BFB2-A7F514C11442}" presName="parTxOnly" presStyleLbl="node1" presStyleIdx="3" presStyleCnt="10">
        <dgm:presLayoutVars>
          <dgm:bulletEnabled val="1"/>
        </dgm:presLayoutVars>
      </dgm:prSet>
      <dgm:spPr/>
    </dgm:pt>
    <dgm:pt modelId="{0DE0C2D5-A75D-4380-B806-1FCE20FD6100}" type="pres">
      <dgm:prSet presAssocID="{BB68D18C-C2C2-4B5D-A338-F21AC8AC055A}" presName="parSpace" presStyleCnt="0"/>
      <dgm:spPr/>
    </dgm:pt>
    <dgm:pt modelId="{FAC99AAC-4206-4C8D-B75A-31CCAA24369E}" type="pres">
      <dgm:prSet presAssocID="{A37E9E2F-421E-4906-9EA5-4D3D0039337B}" presName="parTxOnly" presStyleLbl="node1" presStyleIdx="4" presStyleCnt="10">
        <dgm:presLayoutVars>
          <dgm:bulletEnabled val="1"/>
        </dgm:presLayoutVars>
      </dgm:prSet>
      <dgm:spPr/>
    </dgm:pt>
    <dgm:pt modelId="{C7EB8198-0BBC-4800-A04C-5A838FD89335}" type="pres">
      <dgm:prSet presAssocID="{FB9F0D44-060C-450B-95E1-4D0DFC8E216B}" presName="parSpace" presStyleCnt="0"/>
      <dgm:spPr/>
    </dgm:pt>
    <dgm:pt modelId="{EECB13DF-38FD-4199-93B9-448461C16185}" type="pres">
      <dgm:prSet presAssocID="{EA542168-3CF6-4E7D-BE36-F1874E1A6786}" presName="parTxOnly" presStyleLbl="node1" presStyleIdx="5" presStyleCnt="10">
        <dgm:presLayoutVars>
          <dgm:bulletEnabled val="1"/>
        </dgm:presLayoutVars>
      </dgm:prSet>
      <dgm:spPr/>
    </dgm:pt>
    <dgm:pt modelId="{E374F486-FB19-41B2-A0F0-48FB5502A237}" type="pres">
      <dgm:prSet presAssocID="{EFA7C1C5-FEE2-496F-9C35-D5D7E067AD72}" presName="parSpace" presStyleCnt="0"/>
      <dgm:spPr/>
    </dgm:pt>
    <dgm:pt modelId="{1C920BC9-2570-439E-8481-8C6F1CB98E73}" type="pres">
      <dgm:prSet presAssocID="{C2993C98-6A6F-4187-B0C4-7E93C9DD87FA}" presName="parTxOnly" presStyleLbl="node1" presStyleIdx="6" presStyleCnt="10">
        <dgm:presLayoutVars>
          <dgm:bulletEnabled val="1"/>
        </dgm:presLayoutVars>
      </dgm:prSet>
      <dgm:spPr/>
    </dgm:pt>
    <dgm:pt modelId="{83CF4DA9-86E0-4AE4-94AE-6C72C4A1D2F8}" type="pres">
      <dgm:prSet presAssocID="{BE740BCE-24A9-4674-AEDF-D364E86B6D22}" presName="parSpace" presStyleCnt="0"/>
      <dgm:spPr/>
    </dgm:pt>
    <dgm:pt modelId="{E8BBFEEE-B21B-4C1D-846B-B89F01B73A44}" type="pres">
      <dgm:prSet presAssocID="{B3D0AF40-C106-41ED-9E6C-46321A70CAAB}" presName="parTxOnly" presStyleLbl="node1" presStyleIdx="7" presStyleCnt="10">
        <dgm:presLayoutVars>
          <dgm:bulletEnabled val="1"/>
        </dgm:presLayoutVars>
      </dgm:prSet>
      <dgm:spPr/>
    </dgm:pt>
    <dgm:pt modelId="{79E1544A-52D1-4DF3-B1EF-1D7B51F38FFB}" type="pres">
      <dgm:prSet presAssocID="{D2A85F37-7CC7-4104-AF88-FFA6A57188E0}" presName="parSpace" presStyleCnt="0"/>
      <dgm:spPr/>
    </dgm:pt>
    <dgm:pt modelId="{2297D37F-06A9-4D3B-9E7D-1BFE806033E6}" type="pres">
      <dgm:prSet presAssocID="{244AB1FE-452B-48D8-8768-3BA11F7CDA2F}" presName="parTxOnly" presStyleLbl="node1" presStyleIdx="8" presStyleCnt="10">
        <dgm:presLayoutVars>
          <dgm:bulletEnabled val="1"/>
        </dgm:presLayoutVars>
      </dgm:prSet>
      <dgm:spPr/>
    </dgm:pt>
    <dgm:pt modelId="{860E36E1-9B69-4A8E-B7F1-1A203219B22F}" type="pres">
      <dgm:prSet presAssocID="{102BEBE8-1030-474E-80E3-A8F484E4F6D3}" presName="parSpace" presStyleCnt="0"/>
      <dgm:spPr/>
    </dgm:pt>
    <dgm:pt modelId="{8BF2E94A-9EDA-4D1B-B447-B22DF4954F6F}" type="pres">
      <dgm:prSet presAssocID="{C6B3F507-2D2A-4DC6-AC05-4B9C92757C16}" presName="parTxOnly" presStyleLbl="node1" presStyleIdx="9" presStyleCnt="10">
        <dgm:presLayoutVars>
          <dgm:bulletEnabled val="1"/>
        </dgm:presLayoutVars>
      </dgm:prSet>
      <dgm:spPr/>
    </dgm:pt>
  </dgm:ptLst>
  <dgm:cxnLst>
    <dgm:cxn modelId="{8635D613-FF8F-4F3F-8F79-7C6A9DD574D3}" srcId="{5F09BBEB-BCC3-459F-84E8-C3F45965DA09}" destId="{308794B5-59A1-4F06-A19F-19B515FA2D2C}" srcOrd="2" destOrd="0" parTransId="{40A90EE6-40C6-4C1A-975D-8DECA9BC3FD2}" sibTransId="{2A857EBE-287F-47BF-BC3B-E1E5F39FA4B7}"/>
    <dgm:cxn modelId="{7498D815-AE35-4CC1-87A5-4E163067D50B}" type="presOf" srcId="{C2993C98-6A6F-4187-B0C4-7E93C9DD87FA}" destId="{1C920BC9-2570-439E-8481-8C6F1CB98E73}" srcOrd="0" destOrd="0" presId="urn:microsoft.com/office/officeart/2005/8/layout/hChevron3"/>
    <dgm:cxn modelId="{CDCFC11C-CFCD-4E79-A72B-8D05C57DADFF}" srcId="{5F09BBEB-BCC3-459F-84E8-C3F45965DA09}" destId="{28FF80C1-E366-4469-835E-804BEA7EF9E9}" srcOrd="1" destOrd="0" parTransId="{C92A0CD3-241E-488E-AA57-8B6574467E0F}" sibTransId="{91D0DF27-8817-4650-BB53-D21704C7C991}"/>
    <dgm:cxn modelId="{FB36DB1D-2A5C-47E1-BD93-3DE6146AF4C7}" srcId="{5F09BBEB-BCC3-459F-84E8-C3F45965DA09}" destId="{B3D0AF40-C106-41ED-9E6C-46321A70CAAB}" srcOrd="7" destOrd="0" parTransId="{D2A261CD-44A6-4CD9-BD0E-FC21222598C3}" sibTransId="{D2A85F37-7CC7-4104-AF88-FFA6A57188E0}"/>
    <dgm:cxn modelId="{73D5EB2C-4DDA-469C-82CB-EB293E5A841C}" type="presOf" srcId="{A37E9E2F-421E-4906-9EA5-4D3D0039337B}" destId="{FAC99AAC-4206-4C8D-B75A-31CCAA24369E}" srcOrd="0" destOrd="0" presId="urn:microsoft.com/office/officeart/2005/8/layout/hChevron3"/>
    <dgm:cxn modelId="{BFE78C36-D48C-4ADF-B40F-FDA60F1CAFF1}" type="presOf" srcId="{308794B5-59A1-4F06-A19F-19B515FA2D2C}" destId="{0D14839E-F7AA-41F1-8F21-377D4525EA32}" srcOrd="0" destOrd="0" presId="urn:microsoft.com/office/officeart/2005/8/layout/hChevron3"/>
    <dgm:cxn modelId="{2287F43C-9B45-4B41-8BD5-84AFAA7B2870}" srcId="{5F09BBEB-BCC3-459F-84E8-C3F45965DA09}" destId="{C6B3F507-2D2A-4DC6-AC05-4B9C92757C16}" srcOrd="9" destOrd="0" parTransId="{DE8F853C-71D4-4D0D-9A17-D8B374D814FD}" sibTransId="{D0C75D6A-40FE-4179-9416-F5DC0E331C7F}"/>
    <dgm:cxn modelId="{A2117A40-75DD-4F93-9B85-0E6C330838BF}" srcId="{5F09BBEB-BCC3-459F-84E8-C3F45965DA09}" destId="{EA542168-3CF6-4E7D-BE36-F1874E1A6786}" srcOrd="5" destOrd="0" parTransId="{0F2809F5-F901-42CC-9BCD-A0A9B96DFE1C}" sibTransId="{EFA7C1C5-FEE2-496F-9C35-D5D7E067AD72}"/>
    <dgm:cxn modelId="{22FE0D61-FA1A-4575-9EA7-0847D35FB40F}" type="presOf" srcId="{244AB1FE-452B-48D8-8768-3BA11F7CDA2F}" destId="{2297D37F-06A9-4D3B-9E7D-1BFE806033E6}" srcOrd="0" destOrd="0" presId="urn:microsoft.com/office/officeart/2005/8/layout/hChevron3"/>
    <dgm:cxn modelId="{19255C41-D653-4AA7-B5D5-F563627BA0CF}" srcId="{5F09BBEB-BCC3-459F-84E8-C3F45965DA09}" destId="{DB686BFB-198E-4000-A208-50B01C895C5D}" srcOrd="0" destOrd="0" parTransId="{308DC400-404E-42BD-BE70-9AF5501A8294}" sibTransId="{71D97F50-AB3B-4D05-8099-47186F345C43}"/>
    <dgm:cxn modelId="{F9DECC50-2A9D-4CCE-A94B-38F80FBC12B2}" type="presOf" srcId="{DB686BFB-198E-4000-A208-50B01C895C5D}" destId="{E758B83E-CFEC-43EC-AF0D-E790A3C16319}" srcOrd="0" destOrd="0" presId="urn:microsoft.com/office/officeart/2005/8/layout/hChevron3"/>
    <dgm:cxn modelId="{026B8171-5599-4C67-B63E-7389ED643B06}" srcId="{5F09BBEB-BCC3-459F-84E8-C3F45965DA09}" destId="{C2993C98-6A6F-4187-B0C4-7E93C9DD87FA}" srcOrd="6" destOrd="0" parTransId="{9CBC2D13-0312-49BE-A158-5EA5D3005C80}" sibTransId="{BE740BCE-24A9-4674-AEDF-D364E86B6D22}"/>
    <dgm:cxn modelId="{2CB7CF59-FCF1-4ACB-AC42-B02F3DA6E02C}" srcId="{5F09BBEB-BCC3-459F-84E8-C3F45965DA09}" destId="{244AB1FE-452B-48D8-8768-3BA11F7CDA2F}" srcOrd="8" destOrd="0" parTransId="{3AB6269D-FE5C-4FEF-9E3C-39AACC7EF09F}" sibTransId="{102BEBE8-1030-474E-80E3-A8F484E4F6D3}"/>
    <dgm:cxn modelId="{6023F593-FCF4-43E2-85CE-AD10542CEE88}" type="presOf" srcId="{C6B3F507-2D2A-4DC6-AC05-4B9C92757C16}" destId="{8BF2E94A-9EDA-4D1B-B447-B22DF4954F6F}" srcOrd="0" destOrd="0" presId="urn:microsoft.com/office/officeart/2005/8/layout/hChevron3"/>
    <dgm:cxn modelId="{766E6C9B-742C-442E-8172-8BF8D40AD199}" type="presOf" srcId="{79B60177-2217-4C3E-BFB2-A7F514C11442}" destId="{AC1BF143-926D-45ED-A5A3-43D05A5B5E05}" srcOrd="0" destOrd="0" presId="urn:microsoft.com/office/officeart/2005/8/layout/hChevron3"/>
    <dgm:cxn modelId="{9F73CDB9-E2B2-4C3B-BD07-14E9AE766AC9}" srcId="{5F09BBEB-BCC3-459F-84E8-C3F45965DA09}" destId="{79B60177-2217-4C3E-BFB2-A7F514C11442}" srcOrd="3" destOrd="0" parTransId="{C0EE4951-222A-4A3C-884C-462AB7405FF1}" sibTransId="{BB68D18C-C2C2-4B5D-A338-F21AC8AC055A}"/>
    <dgm:cxn modelId="{BFE1E3BA-C15C-41DC-AAD8-92F9635D6BF2}" srcId="{5F09BBEB-BCC3-459F-84E8-C3F45965DA09}" destId="{A37E9E2F-421E-4906-9EA5-4D3D0039337B}" srcOrd="4" destOrd="0" parTransId="{CE6AC0C5-5287-487A-AA5B-84A420F4BCCF}" sibTransId="{FB9F0D44-060C-450B-95E1-4D0DFC8E216B}"/>
    <dgm:cxn modelId="{972F8AC6-E642-4970-B4CF-B938DF3C94A2}" type="presOf" srcId="{28FF80C1-E366-4469-835E-804BEA7EF9E9}" destId="{57F52E1E-2C2F-47A9-A6D9-CB7537BF727C}" srcOrd="0" destOrd="0" presId="urn:microsoft.com/office/officeart/2005/8/layout/hChevron3"/>
    <dgm:cxn modelId="{178236CB-EF09-4173-8EBE-FC737AED0D85}" type="presOf" srcId="{EA542168-3CF6-4E7D-BE36-F1874E1A6786}" destId="{EECB13DF-38FD-4199-93B9-448461C16185}" srcOrd="0" destOrd="0" presId="urn:microsoft.com/office/officeart/2005/8/layout/hChevron3"/>
    <dgm:cxn modelId="{6C1C96E4-80FF-48EC-9B74-7A88917D15EF}" type="presOf" srcId="{B3D0AF40-C106-41ED-9E6C-46321A70CAAB}" destId="{E8BBFEEE-B21B-4C1D-846B-B89F01B73A44}" srcOrd="0" destOrd="0" presId="urn:microsoft.com/office/officeart/2005/8/layout/hChevron3"/>
    <dgm:cxn modelId="{55A360EF-56B4-4E1B-B6DC-788CB3D5C2D3}" type="presOf" srcId="{5F09BBEB-BCC3-459F-84E8-C3F45965DA09}" destId="{5A8139B6-91BE-4CD6-9A26-1E8EB65606D1}" srcOrd="0" destOrd="0" presId="urn:microsoft.com/office/officeart/2005/8/layout/hChevron3"/>
    <dgm:cxn modelId="{F7229797-FA27-4730-8A33-B779CCDC5C3C}" type="presParOf" srcId="{5A8139B6-91BE-4CD6-9A26-1E8EB65606D1}" destId="{E758B83E-CFEC-43EC-AF0D-E790A3C16319}" srcOrd="0" destOrd="0" presId="urn:microsoft.com/office/officeart/2005/8/layout/hChevron3"/>
    <dgm:cxn modelId="{797CD30E-B045-4A2A-A262-5FA3F2383F0E}" type="presParOf" srcId="{5A8139B6-91BE-4CD6-9A26-1E8EB65606D1}" destId="{8B0AB190-C0DA-4BC9-AB8E-FC2ED0D56206}" srcOrd="1" destOrd="0" presId="urn:microsoft.com/office/officeart/2005/8/layout/hChevron3"/>
    <dgm:cxn modelId="{8350EBD2-82F9-43A1-8271-7B3C2601C7FF}" type="presParOf" srcId="{5A8139B6-91BE-4CD6-9A26-1E8EB65606D1}" destId="{57F52E1E-2C2F-47A9-A6D9-CB7537BF727C}" srcOrd="2" destOrd="0" presId="urn:microsoft.com/office/officeart/2005/8/layout/hChevron3"/>
    <dgm:cxn modelId="{065A1536-B084-4DE2-9756-A8BD56653EAA}" type="presParOf" srcId="{5A8139B6-91BE-4CD6-9A26-1E8EB65606D1}" destId="{23AB88B7-C798-42E5-B3C5-6FD5532695B1}" srcOrd="3" destOrd="0" presId="urn:microsoft.com/office/officeart/2005/8/layout/hChevron3"/>
    <dgm:cxn modelId="{900BF689-8BEA-4E5F-86F5-16B928223239}" type="presParOf" srcId="{5A8139B6-91BE-4CD6-9A26-1E8EB65606D1}" destId="{0D14839E-F7AA-41F1-8F21-377D4525EA32}" srcOrd="4" destOrd="0" presId="urn:microsoft.com/office/officeart/2005/8/layout/hChevron3"/>
    <dgm:cxn modelId="{FDD11ECE-9527-4A81-A422-BB7C9D8AFA6A}" type="presParOf" srcId="{5A8139B6-91BE-4CD6-9A26-1E8EB65606D1}" destId="{6FCAC6DE-3B61-4FC5-BCC0-E4629EF4789A}" srcOrd="5" destOrd="0" presId="urn:microsoft.com/office/officeart/2005/8/layout/hChevron3"/>
    <dgm:cxn modelId="{3C10773A-398D-41D7-B997-F0F842EF9BCD}" type="presParOf" srcId="{5A8139B6-91BE-4CD6-9A26-1E8EB65606D1}" destId="{AC1BF143-926D-45ED-A5A3-43D05A5B5E05}" srcOrd="6" destOrd="0" presId="urn:microsoft.com/office/officeart/2005/8/layout/hChevron3"/>
    <dgm:cxn modelId="{CC76DA5B-FB4F-4410-8237-D6E32C8F3069}" type="presParOf" srcId="{5A8139B6-91BE-4CD6-9A26-1E8EB65606D1}" destId="{0DE0C2D5-A75D-4380-B806-1FCE20FD6100}" srcOrd="7" destOrd="0" presId="urn:microsoft.com/office/officeart/2005/8/layout/hChevron3"/>
    <dgm:cxn modelId="{F2E2E515-6858-4F8B-B7EC-AA286C5DFF3C}" type="presParOf" srcId="{5A8139B6-91BE-4CD6-9A26-1E8EB65606D1}" destId="{FAC99AAC-4206-4C8D-B75A-31CCAA24369E}" srcOrd="8" destOrd="0" presId="urn:microsoft.com/office/officeart/2005/8/layout/hChevron3"/>
    <dgm:cxn modelId="{7A259C44-7F18-419D-B25D-87D26844FD0A}" type="presParOf" srcId="{5A8139B6-91BE-4CD6-9A26-1E8EB65606D1}" destId="{C7EB8198-0BBC-4800-A04C-5A838FD89335}" srcOrd="9" destOrd="0" presId="urn:microsoft.com/office/officeart/2005/8/layout/hChevron3"/>
    <dgm:cxn modelId="{1DB9D684-FDF1-4485-8F05-243A582343B3}" type="presParOf" srcId="{5A8139B6-91BE-4CD6-9A26-1E8EB65606D1}" destId="{EECB13DF-38FD-4199-93B9-448461C16185}" srcOrd="10" destOrd="0" presId="urn:microsoft.com/office/officeart/2005/8/layout/hChevron3"/>
    <dgm:cxn modelId="{F9BC0876-B7B1-4E36-866A-621301818E4D}" type="presParOf" srcId="{5A8139B6-91BE-4CD6-9A26-1E8EB65606D1}" destId="{E374F486-FB19-41B2-A0F0-48FB5502A237}" srcOrd="11" destOrd="0" presId="urn:microsoft.com/office/officeart/2005/8/layout/hChevron3"/>
    <dgm:cxn modelId="{68901253-C80F-4309-BEEB-846BF429E040}" type="presParOf" srcId="{5A8139B6-91BE-4CD6-9A26-1E8EB65606D1}" destId="{1C920BC9-2570-439E-8481-8C6F1CB98E73}" srcOrd="12" destOrd="0" presId="urn:microsoft.com/office/officeart/2005/8/layout/hChevron3"/>
    <dgm:cxn modelId="{5EB9676F-FACE-4045-893B-ED5656605287}" type="presParOf" srcId="{5A8139B6-91BE-4CD6-9A26-1E8EB65606D1}" destId="{83CF4DA9-86E0-4AE4-94AE-6C72C4A1D2F8}" srcOrd="13" destOrd="0" presId="urn:microsoft.com/office/officeart/2005/8/layout/hChevron3"/>
    <dgm:cxn modelId="{BC6C1E01-C648-40BB-BFCB-9AB904C2A097}" type="presParOf" srcId="{5A8139B6-91BE-4CD6-9A26-1E8EB65606D1}" destId="{E8BBFEEE-B21B-4C1D-846B-B89F01B73A44}" srcOrd="14" destOrd="0" presId="urn:microsoft.com/office/officeart/2005/8/layout/hChevron3"/>
    <dgm:cxn modelId="{0B6B22D8-7F48-4240-8E4C-779E49ED37CA}" type="presParOf" srcId="{5A8139B6-91BE-4CD6-9A26-1E8EB65606D1}" destId="{79E1544A-52D1-4DF3-B1EF-1D7B51F38FFB}" srcOrd="15" destOrd="0" presId="urn:microsoft.com/office/officeart/2005/8/layout/hChevron3"/>
    <dgm:cxn modelId="{3EC2B338-A00C-4A6E-975E-8084F004117A}" type="presParOf" srcId="{5A8139B6-91BE-4CD6-9A26-1E8EB65606D1}" destId="{2297D37F-06A9-4D3B-9E7D-1BFE806033E6}" srcOrd="16" destOrd="0" presId="urn:microsoft.com/office/officeart/2005/8/layout/hChevron3"/>
    <dgm:cxn modelId="{430BCF5F-58E7-4BD0-88BD-64AD6818FB00}" type="presParOf" srcId="{5A8139B6-91BE-4CD6-9A26-1E8EB65606D1}" destId="{860E36E1-9B69-4A8E-B7F1-1A203219B22F}" srcOrd="17" destOrd="0" presId="urn:microsoft.com/office/officeart/2005/8/layout/hChevron3"/>
    <dgm:cxn modelId="{2455F435-7A6F-438C-8A67-346DE979ECE7}" type="presParOf" srcId="{5A8139B6-91BE-4CD6-9A26-1E8EB65606D1}" destId="{8BF2E94A-9EDA-4D1B-B447-B22DF4954F6F}" srcOrd="18" destOrd="0" presId="urn:microsoft.com/office/officeart/2005/8/layout/hChevron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5F09BBEB-BCC3-459F-84E8-C3F45965DA09}" type="doc">
      <dgm:prSet loTypeId="urn:microsoft.com/office/officeart/2005/8/layout/hChevron3" loCatId="process" qsTypeId="urn:microsoft.com/office/officeart/2005/8/quickstyle/simple1" qsCatId="simple" csTypeId="urn:microsoft.com/office/officeart/2005/8/colors/accent1_2" csCatId="accent1" phldr="1"/>
      <dgm:spPr/>
    </dgm:pt>
    <dgm:pt modelId="{D9A46A24-1A39-40C4-BDEF-CFA7810A2AAE}">
      <dgm:prSet custT="1"/>
      <dgm:spPr>
        <a:solidFill>
          <a:schemeClr val="bg2"/>
        </a:solidFill>
      </dgm:spPr>
      <dgm:t>
        <a:bodyPr/>
        <a:lstStyle/>
        <a:p>
          <a:r>
            <a:rPr lang="en-US" sz="1800" dirty="0"/>
            <a:t>Continuous Integration</a:t>
          </a:r>
        </a:p>
      </dgm:t>
    </dgm:pt>
    <dgm:pt modelId="{66FFC086-41A2-4587-A80D-C476FEB0A87D}" type="parTrans" cxnId="{D4CE26BC-77E7-45C7-A7B2-153FEC32CCF0}">
      <dgm:prSet/>
      <dgm:spPr/>
      <dgm:t>
        <a:bodyPr/>
        <a:lstStyle/>
        <a:p>
          <a:endParaRPr lang="en-US" sz="1200"/>
        </a:p>
      </dgm:t>
    </dgm:pt>
    <dgm:pt modelId="{F798BDF2-5A93-4BDF-814C-A30D18340DBF}" type="sibTrans" cxnId="{D4CE26BC-77E7-45C7-A7B2-153FEC32CCF0}">
      <dgm:prSet/>
      <dgm:spPr/>
      <dgm:t>
        <a:bodyPr/>
        <a:lstStyle/>
        <a:p>
          <a:endParaRPr lang="en-US" sz="1200"/>
        </a:p>
      </dgm:t>
    </dgm:pt>
    <dgm:pt modelId="{34418343-4F07-404D-BE38-92B2D24B7E05}">
      <dgm:prSet custT="1"/>
      <dgm:spPr>
        <a:solidFill>
          <a:schemeClr val="bg2"/>
        </a:solidFill>
      </dgm:spPr>
      <dgm:t>
        <a:bodyPr/>
        <a:lstStyle/>
        <a:p>
          <a:r>
            <a:rPr lang="en-US" sz="1800" dirty="0"/>
            <a:t>Continuous Delivery</a:t>
          </a:r>
        </a:p>
      </dgm:t>
    </dgm:pt>
    <dgm:pt modelId="{A7A8E09D-662C-45E2-9798-75DFCF5AD338}" type="parTrans" cxnId="{72105B5F-CE7A-4453-8ABE-41BD72E534BE}">
      <dgm:prSet/>
      <dgm:spPr/>
      <dgm:t>
        <a:bodyPr/>
        <a:lstStyle/>
        <a:p>
          <a:endParaRPr lang="en-US" sz="1200"/>
        </a:p>
      </dgm:t>
    </dgm:pt>
    <dgm:pt modelId="{492097AD-6096-4A56-ACAB-319019CDAEEB}" type="sibTrans" cxnId="{72105B5F-CE7A-4453-8ABE-41BD72E534BE}">
      <dgm:prSet/>
      <dgm:spPr/>
      <dgm:t>
        <a:bodyPr/>
        <a:lstStyle/>
        <a:p>
          <a:endParaRPr lang="en-US" sz="1200"/>
        </a:p>
      </dgm:t>
    </dgm:pt>
    <dgm:pt modelId="{5A8139B6-91BE-4CD6-9A26-1E8EB65606D1}" type="pres">
      <dgm:prSet presAssocID="{5F09BBEB-BCC3-459F-84E8-C3F45965DA09}" presName="Name0" presStyleCnt="0">
        <dgm:presLayoutVars>
          <dgm:dir/>
          <dgm:resizeHandles val="exact"/>
        </dgm:presLayoutVars>
      </dgm:prSet>
      <dgm:spPr/>
    </dgm:pt>
    <dgm:pt modelId="{100BB1A8-A75B-46B4-A88C-52BAAA4EA6C2}" type="pres">
      <dgm:prSet presAssocID="{D9A46A24-1A39-40C4-BDEF-CFA7810A2AAE}" presName="parTxOnly" presStyleLbl="node1" presStyleIdx="0" presStyleCnt="2" custScaleX="58075" custLinFactNeighborX="-40788" custLinFactNeighborY="7816">
        <dgm:presLayoutVars>
          <dgm:bulletEnabled val="1"/>
        </dgm:presLayoutVars>
      </dgm:prSet>
      <dgm:spPr/>
    </dgm:pt>
    <dgm:pt modelId="{F4229669-D6F8-4B59-A4CD-D5346B3C39F1}" type="pres">
      <dgm:prSet presAssocID="{F798BDF2-5A93-4BDF-814C-A30D18340DBF}" presName="parSpace" presStyleCnt="0"/>
      <dgm:spPr/>
    </dgm:pt>
    <dgm:pt modelId="{C41A44A8-F315-467A-BC7A-DF5D204D36AC}" type="pres">
      <dgm:prSet presAssocID="{34418343-4F07-404D-BE38-92B2D24B7E05}" presName="parTxOnly" presStyleLbl="node1" presStyleIdx="1" presStyleCnt="2" custScaleX="45034" custLinFactNeighborX="35969" custLinFactNeighborY="-3574">
        <dgm:presLayoutVars>
          <dgm:bulletEnabled val="1"/>
        </dgm:presLayoutVars>
      </dgm:prSet>
      <dgm:spPr/>
    </dgm:pt>
  </dgm:ptLst>
  <dgm:cxnLst>
    <dgm:cxn modelId="{3F1E4133-2A1E-4235-9328-E58716960D9C}" type="presOf" srcId="{D9A46A24-1A39-40C4-BDEF-CFA7810A2AAE}" destId="{100BB1A8-A75B-46B4-A88C-52BAAA4EA6C2}" srcOrd="0" destOrd="0" presId="urn:microsoft.com/office/officeart/2005/8/layout/hChevron3"/>
    <dgm:cxn modelId="{72105B5F-CE7A-4453-8ABE-41BD72E534BE}" srcId="{5F09BBEB-BCC3-459F-84E8-C3F45965DA09}" destId="{34418343-4F07-404D-BE38-92B2D24B7E05}" srcOrd="1" destOrd="0" parTransId="{A7A8E09D-662C-45E2-9798-75DFCF5AD338}" sibTransId="{492097AD-6096-4A56-ACAB-319019CDAEEB}"/>
    <dgm:cxn modelId="{7E9AAF4F-F86E-4539-8342-B42AC99F5AEA}" type="presOf" srcId="{34418343-4F07-404D-BE38-92B2D24B7E05}" destId="{C41A44A8-F315-467A-BC7A-DF5D204D36AC}" srcOrd="0" destOrd="0" presId="urn:microsoft.com/office/officeart/2005/8/layout/hChevron3"/>
    <dgm:cxn modelId="{D4CE26BC-77E7-45C7-A7B2-153FEC32CCF0}" srcId="{5F09BBEB-BCC3-459F-84E8-C3F45965DA09}" destId="{D9A46A24-1A39-40C4-BDEF-CFA7810A2AAE}" srcOrd="0" destOrd="0" parTransId="{66FFC086-41A2-4587-A80D-C476FEB0A87D}" sibTransId="{F798BDF2-5A93-4BDF-814C-A30D18340DBF}"/>
    <dgm:cxn modelId="{55A360EF-56B4-4E1B-B6DC-788CB3D5C2D3}" type="presOf" srcId="{5F09BBEB-BCC3-459F-84E8-C3F45965DA09}" destId="{5A8139B6-91BE-4CD6-9A26-1E8EB65606D1}" srcOrd="0" destOrd="0" presId="urn:microsoft.com/office/officeart/2005/8/layout/hChevron3"/>
    <dgm:cxn modelId="{DDC0E7FD-96EA-4482-B703-BF8FE526B224}" type="presParOf" srcId="{5A8139B6-91BE-4CD6-9A26-1E8EB65606D1}" destId="{100BB1A8-A75B-46B4-A88C-52BAAA4EA6C2}" srcOrd="0" destOrd="0" presId="urn:microsoft.com/office/officeart/2005/8/layout/hChevron3"/>
    <dgm:cxn modelId="{8A7AB3D9-74DF-4991-94ED-11FEBCFC64DB}" type="presParOf" srcId="{5A8139B6-91BE-4CD6-9A26-1E8EB65606D1}" destId="{F4229669-D6F8-4B59-A4CD-D5346B3C39F1}" srcOrd="1" destOrd="0" presId="urn:microsoft.com/office/officeart/2005/8/layout/hChevron3"/>
    <dgm:cxn modelId="{6B0B2E57-CF46-45C3-B806-CBA9927886B9}" type="presParOf" srcId="{5A8139B6-91BE-4CD6-9A26-1E8EB65606D1}" destId="{C41A44A8-F315-467A-BC7A-DF5D204D36AC}" srcOrd="2" destOrd="0" presId="urn:microsoft.com/office/officeart/2005/8/layout/hChevron3"/>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5F09BBEB-BCC3-459F-84E8-C3F45965DA09}" type="doc">
      <dgm:prSet loTypeId="urn:microsoft.com/office/officeart/2005/8/layout/hChevron3" loCatId="process" qsTypeId="urn:microsoft.com/office/officeart/2005/8/quickstyle/simple1" qsCatId="simple" csTypeId="urn:microsoft.com/office/officeart/2005/8/colors/accent1_2" csCatId="accent1" phldr="1"/>
      <dgm:spPr/>
    </dgm:pt>
    <dgm:pt modelId="{DB686BFB-198E-4000-A208-50B01C895C5D}">
      <dgm:prSet phldrT="[Text]"/>
      <dgm:spPr>
        <a:solidFill>
          <a:schemeClr val="bg2"/>
        </a:solidFill>
      </dgm:spPr>
      <dgm:t>
        <a:bodyPr/>
        <a:lstStyle/>
        <a:p>
          <a:r>
            <a:rPr lang="en-US" dirty="0"/>
            <a:t>Plan</a:t>
          </a:r>
        </a:p>
      </dgm:t>
    </dgm:pt>
    <dgm:pt modelId="{308DC400-404E-42BD-BE70-9AF5501A8294}" type="parTrans" cxnId="{19255C41-D653-4AA7-B5D5-F563627BA0CF}">
      <dgm:prSet/>
      <dgm:spPr/>
      <dgm:t>
        <a:bodyPr/>
        <a:lstStyle/>
        <a:p>
          <a:endParaRPr lang="en-US"/>
        </a:p>
      </dgm:t>
    </dgm:pt>
    <dgm:pt modelId="{71D97F50-AB3B-4D05-8099-47186F345C43}" type="sibTrans" cxnId="{19255C41-D653-4AA7-B5D5-F563627BA0CF}">
      <dgm:prSet/>
      <dgm:spPr/>
      <dgm:t>
        <a:bodyPr/>
        <a:lstStyle/>
        <a:p>
          <a:endParaRPr lang="en-US"/>
        </a:p>
      </dgm:t>
    </dgm:pt>
    <dgm:pt modelId="{28FF80C1-E366-4469-835E-804BEA7EF9E9}">
      <dgm:prSet phldrT="[Text]"/>
      <dgm:spPr/>
      <dgm:t>
        <a:bodyPr/>
        <a:lstStyle/>
        <a:p>
          <a:r>
            <a:rPr lang="en-US" dirty="0"/>
            <a:t>Code</a:t>
          </a:r>
        </a:p>
      </dgm:t>
    </dgm:pt>
    <dgm:pt modelId="{C92A0CD3-241E-488E-AA57-8B6574467E0F}" type="parTrans" cxnId="{CDCFC11C-CFCD-4E79-A72B-8D05C57DADFF}">
      <dgm:prSet/>
      <dgm:spPr/>
      <dgm:t>
        <a:bodyPr/>
        <a:lstStyle/>
        <a:p>
          <a:endParaRPr lang="en-US"/>
        </a:p>
      </dgm:t>
    </dgm:pt>
    <dgm:pt modelId="{91D0DF27-8817-4650-BB53-D21704C7C991}" type="sibTrans" cxnId="{CDCFC11C-CFCD-4E79-A72B-8D05C57DADFF}">
      <dgm:prSet/>
      <dgm:spPr/>
      <dgm:t>
        <a:bodyPr/>
        <a:lstStyle/>
        <a:p>
          <a:endParaRPr lang="en-US"/>
        </a:p>
      </dgm:t>
    </dgm:pt>
    <dgm:pt modelId="{308794B5-59A1-4F06-A19F-19B515FA2D2C}">
      <dgm:prSet phldrT="[Text]"/>
      <dgm:spPr>
        <a:solidFill>
          <a:schemeClr val="bg2"/>
        </a:solidFill>
      </dgm:spPr>
      <dgm:t>
        <a:bodyPr/>
        <a:lstStyle/>
        <a:p>
          <a:r>
            <a:rPr lang="en-US" dirty="0"/>
            <a:t>Build</a:t>
          </a:r>
        </a:p>
      </dgm:t>
    </dgm:pt>
    <dgm:pt modelId="{40A90EE6-40C6-4C1A-975D-8DECA9BC3FD2}" type="parTrans" cxnId="{8635D613-FF8F-4F3F-8F79-7C6A9DD574D3}">
      <dgm:prSet/>
      <dgm:spPr/>
      <dgm:t>
        <a:bodyPr/>
        <a:lstStyle/>
        <a:p>
          <a:endParaRPr lang="en-US"/>
        </a:p>
      </dgm:t>
    </dgm:pt>
    <dgm:pt modelId="{2A857EBE-287F-47BF-BC3B-E1E5F39FA4B7}" type="sibTrans" cxnId="{8635D613-FF8F-4F3F-8F79-7C6A9DD574D3}">
      <dgm:prSet/>
      <dgm:spPr/>
      <dgm:t>
        <a:bodyPr/>
        <a:lstStyle/>
        <a:p>
          <a:endParaRPr lang="en-US"/>
        </a:p>
      </dgm:t>
    </dgm:pt>
    <dgm:pt modelId="{79B60177-2217-4C3E-BFB2-A7F514C11442}">
      <dgm:prSet phldrT="[Text]"/>
      <dgm:spPr>
        <a:solidFill>
          <a:schemeClr val="bg2"/>
        </a:solidFill>
      </dgm:spPr>
      <dgm:t>
        <a:bodyPr/>
        <a:lstStyle/>
        <a:p>
          <a:r>
            <a:rPr lang="en-US" dirty="0"/>
            <a:t>Unit Tests</a:t>
          </a:r>
        </a:p>
      </dgm:t>
    </dgm:pt>
    <dgm:pt modelId="{C0EE4951-222A-4A3C-884C-462AB7405FF1}" type="parTrans" cxnId="{9F73CDB9-E2B2-4C3B-BD07-14E9AE766AC9}">
      <dgm:prSet/>
      <dgm:spPr/>
      <dgm:t>
        <a:bodyPr/>
        <a:lstStyle/>
        <a:p>
          <a:endParaRPr lang="en-US"/>
        </a:p>
      </dgm:t>
    </dgm:pt>
    <dgm:pt modelId="{BB68D18C-C2C2-4B5D-A338-F21AC8AC055A}" type="sibTrans" cxnId="{9F73CDB9-E2B2-4C3B-BD07-14E9AE766AC9}">
      <dgm:prSet/>
      <dgm:spPr/>
      <dgm:t>
        <a:bodyPr/>
        <a:lstStyle/>
        <a:p>
          <a:endParaRPr lang="en-US"/>
        </a:p>
      </dgm:t>
    </dgm:pt>
    <dgm:pt modelId="{EA542168-3CF6-4E7D-BE36-F1874E1A6786}">
      <dgm:prSet phldrT="[Text]"/>
      <dgm:spPr>
        <a:solidFill>
          <a:schemeClr val="bg2"/>
        </a:solidFill>
      </dgm:spPr>
      <dgm:t>
        <a:bodyPr/>
        <a:lstStyle/>
        <a:p>
          <a:r>
            <a:rPr lang="en-US" dirty="0"/>
            <a:t>Artifact publish</a:t>
          </a:r>
        </a:p>
      </dgm:t>
    </dgm:pt>
    <dgm:pt modelId="{0F2809F5-F901-42CC-9BCD-A0A9B96DFE1C}" type="parTrans" cxnId="{A2117A40-75DD-4F93-9B85-0E6C330838BF}">
      <dgm:prSet/>
      <dgm:spPr/>
      <dgm:t>
        <a:bodyPr/>
        <a:lstStyle/>
        <a:p>
          <a:endParaRPr lang="en-US"/>
        </a:p>
      </dgm:t>
    </dgm:pt>
    <dgm:pt modelId="{EFA7C1C5-FEE2-496F-9C35-D5D7E067AD72}" type="sibTrans" cxnId="{A2117A40-75DD-4F93-9B85-0E6C330838BF}">
      <dgm:prSet/>
      <dgm:spPr/>
      <dgm:t>
        <a:bodyPr/>
        <a:lstStyle/>
        <a:p>
          <a:endParaRPr lang="en-US"/>
        </a:p>
      </dgm:t>
    </dgm:pt>
    <dgm:pt modelId="{C2993C98-6A6F-4187-B0C4-7E93C9DD87FA}">
      <dgm:prSet phldrT="[Text]"/>
      <dgm:spPr>
        <a:solidFill>
          <a:schemeClr val="bg2"/>
        </a:solidFill>
      </dgm:spPr>
      <dgm:t>
        <a:bodyPr/>
        <a:lstStyle/>
        <a:p>
          <a:r>
            <a:rPr lang="en-US" dirty="0"/>
            <a:t>Deploy</a:t>
          </a:r>
        </a:p>
      </dgm:t>
    </dgm:pt>
    <dgm:pt modelId="{9CBC2D13-0312-49BE-A158-5EA5D3005C80}" type="parTrans" cxnId="{026B8171-5599-4C67-B63E-7389ED643B06}">
      <dgm:prSet/>
      <dgm:spPr/>
      <dgm:t>
        <a:bodyPr/>
        <a:lstStyle/>
        <a:p>
          <a:endParaRPr lang="en-US"/>
        </a:p>
      </dgm:t>
    </dgm:pt>
    <dgm:pt modelId="{BE740BCE-24A9-4674-AEDF-D364E86B6D22}" type="sibTrans" cxnId="{026B8171-5599-4C67-B63E-7389ED643B06}">
      <dgm:prSet/>
      <dgm:spPr/>
      <dgm:t>
        <a:bodyPr/>
        <a:lstStyle/>
        <a:p>
          <a:endParaRPr lang="en-US"/>
        </a:p>
      </dgm:t>
    </dgm:pt>
    <dgm:pt modelId="{B3D0AF40-C106-41ED-9E6C-46321A70CAAB}">
      <dgm:prSet phldrT="[Text]"/>
      <dgm:spPr>
        <a:solidFill>
          <a:schemeClr val="bg2"/>
        </a:solidFill>
      </dgm:spPr>
      <dgm:t>
        <a:bodyPr/>
        <a:lstStyle/>
        <a:p>
          <a:r>
            <a:rPr lang="en-US" dirty="0"/>
            <a:t>Integration Tests</a:t>
          </a:r>
        </a:p>
      </dgm:t>
    </dgm:pt>
    <dgm:pt modelId="{D2A261CD-44A6-4CD9-BD0E-FC21222598C3}" type="parTrans" cxnId="{FB36DB1D-2A5C-47E1-BD93-3DE6146AF4C7}">
      <dgm:prSet/>
      <dgm:spPr/>
      <dgm:t>
        <a:bodyPr/>
        <a:lstStyle/>
        <a:p>
          <a:endParaRPr lang="en-US"/>
        </a:p>
      </dgm:t>
    </dgm:pt>
    <dgm:pt modelId="{D2A85F37-7CC7-4104-AF88-FFA6A57188E0}" type="sibTrans" cxnId="{FB36DB1D-2A5C-47E1-BD93-3DE6146AF4C7}">
      <dgm:prSet/>
      <dgm:spPr/>
      <dgm:t>
        <a:bodyPr/>
        <a:lstStyle/>
        <a:p>
          <a:endParaRPr lang="en-US"/>
        </a:p>
      </dgm:t>
    </dgm:pt>
    <dgm:pt modelId="{A37E9E2F-421E-4906-9EA5-4D3D0039337B}">
      <dgm:prSet phldrT="[Text]"/>
      <dgm:spPr>
        <a:solidFill>
          <a:schemeClr val="bg2"/>
        </a:solidFill>
      </dgm:spPr>
      <dgm:t>
        <a:bodyPr/>
        <a:lstStyle/>
        <a:p>
          <a:r>
            <a:rPr lang="en-US" dirty="0"/>
            <a:t>Code Coverage and </a:t>
          </a:r>
          <a:r>
            <a:rPr lang="en-US" dirty="0" err="1"/>
            <a:t>Vulerabilities</a:t>
          </a:r>
          <a:endParaRPr lang="en-US" dirty="0"/>
        </a:p>
      </dgm:t>
    </dgm:pt>
    <dgm:pt modelId="{CE6AC0C5-5287-487A-AA5B-84A420F4BCCF}" type="parTrans" cxnId="{BFE1E3BA-C15C-41DC-AAD8-92F9635D6BF2}">
      <dgm:prSet/>
      <dgm:spPr/>
      <dgm:t>
        <a:bodyPr/>
        <a:lstStyle/>
        <a:p>
          <a:endParaRPr lang="en-US"/>
        </a:p>
      </dgm:t>
    </dgm:pt>
    <dgm:pt modelId="{FB9F0D44-060C-450B-95E1-4D0DFC8E216B}" type="sibTrans" cxnId="{BFE1E3BA-C15C-41DC-AAD8-92F9635D6BF2}">
      <dgm:prSet/>
      <dgm:spPr/>
      <dgm:t>
        <a:bodyPr/>
        <a:lstStyle/>
        <a:p>
          <a:endParaRPr lang="en-US"/>
        </a:p>
      </dgm:t>
    </dgm:pt>
    <dgm:pt modelId="{244AB1FE-452B-48D8-8768-3BA11F7CDA2F}">
      <dgm:prSet phldrT="[Text]"/>
      <dgm:spPr>
        <a:solidFill>
          <a:schemeClr val="bg2"/>
        </a:solidFill>
      </dgm:spPr>
      <dgm:t>
        <a:bodyPr/>
        <a:lstStyle/>
        <a:p>
          <a:r>
            <a:rPr lang="en-US" dirty="0"/>
            <a:t>E2E Tests</a:t>
          </a:r>
        </a:p>
      </dgm:t>
    </dgm:pt>
    <dgm:pt modelId="{3AB6269D-FE5C-4FEF-9E3C-39AACC7EF09F}" type="parTrans" cxnId="{2CB7CF59-FCF1-4ACB-AC42-B02F3DA6E02C}">
      <dgm:prSet/>
      <dgm:spPr/>
      <dgm:t>
        <a:bodyPr/>
        <a:lstStyle/>
        <a:p>
          <a:endParaRPr lang="en-US"/>
        </a:p>
      </dgm:t>
    </dgm:pt>
    <dgm:pt modelId="{102BEBE8-1030-474E-80E3-A8F484E4F6D3}" type="sibTrans" cxnId="{2CB7CF59-FCF1-4ACB-AC42-B02F3DA6E02C}">
      <dgm:prSet/>
      <dgm:spPr/>
      <dgm:t>
        <a:bodyPr/>
        <a:lstStyle/>
        <a:p>
          <a:endParaRPr lang="en-US"/>
        </a:p>
      </dgm:t>
    </dgm:pt>
    <dgm:pt modelId="{C6B3F507-2D2A-4DC6-AC05-4B9C92757C16}">
      <dgm:prSet phldrT="[Text]"/>
      <dgm:spPr>
        <a:solidFill>
          <a:schemeClr val="bg2"/>
        </a:solidFill>
      </dgm:spPr>
      <dgm:t>
        <a:bodyPr/>
        <a:lstStyle/>
        <a:p>
          <a:r>
            <a:rPr lang="en-US" dirty="0"/>
            <a:t>Deploy and Release</a:t>
          </a:r>
        </a:p>
      </dgm:t>
    </dgm:pt>
    <dgm:pt modelId="{DE8F853C-71D4-4D0D-9A17-D8B374D814FD}" type="parTrans" cxnId="{2287F43C-9B45-4B41-8BD5-84AFAA7B2870}">
      <dgm:prSet/>
      <dgm:spPr/>
      <dgm:t>
        <a:bodyPr/>
        <a:lstStyle/>
        <a:p>
          <a:endParaRPr lang="en-US"/>
        </a:p>
      </dgm:t>
    </dgm:pt>
    <dgm:pt modelId="{D0C75D6A-40FE-4179-9416-F5DC0E331C7F}" type="sibTrans" cxnId="{2287F43C-9B45-4B41-8BD5-84AFAA7B2870}">
      <dgm:prSet/>
      <dgm:spPr/>
      <dgm:t>
        <a:bodyPr/>
        <a:lstStyle/>
        <a:p>
          <a:endParaRPr lang="en-US"/>
        </a:p>
      </dgm:t>
    </dgm:pt>
    <dgm:pt modelId="{5A8139B6-91BE-4CD6-9A26-1E8EB65606D1}" type="pres">
      <dgm:prSet presAssocID="{5F09BBEB-BCC3-459F-84E8-C3F45965DA09}" presName="Name0" presStyleCnt="0">
        <dgm:presLayoutVars>
          <dgm:dir/>
          <dgm:resizeHandles val="exact"/>
        </dgm:presLayoutVars>
      </dgm:prSet>
      <dgm:spPr/>
    </dgm:pt>
    <dgm:pt modelId="{E758B83E-CFEC-43EC-AF0D-E790A3C16319}" type="pres">
      <dgm:prSet presAssocID="{DB686BFB-198E-4000-A208-50B01C895C5D}" presName="parTxOnly" presStyleLbl="node1" presStyleIdx="0" presStyleCnt="10">
        <dgm:presLayoutVars>
          <dgm:bulletEnabled val="1"/>
        </dgm:presLayoutVars>
      </dgm:prSet>
      <dgm:spPr/>
    </dgm:pt>
    <dgm:pt modelId="{8B0AB190-C0DA-4BC9-AB8E-FC2ED0D56206}" type="pres">
      <dgm:prSet presAssocID="{71D97F50-AB3B-4D05-8099-47186F345C43}" presName="parSpace" presStyleCnt="0"/>
      <dgm:spPr/>
    </dgm:pt>
    <dgm:pt modelId="{57F52E1E-2C2F-47A9-A6D9-CB7537BF727C}" type="pres">
      <dgm:prSet presAssocID="{28FF80C1-E366-4469-835E-804BEA7EF9E9}" presName="parTxOnly" presStyleLbl="node1" presStyleIdx="1" presStyleCnt="10">
        <dgm:presLayoutVars>
          <dgm:bulletEnabled val="1"/>
        </dgm:presLayoutVars>
      </dgm:prSet>
      <dgm:spPr/>
    </dgm:pt>
    <dgm:pt modelId="{23AB88B7-C798-42E5-B3C5-6FD5532695B1}" type="pres">
      <dgm:prSet presAssocID="{91D0DF27-8817-4650-BB53-D21704C7C991}" presName="parSpace" presStyleCnt="0"/>
      <dgm:spPr/>
    </dgm:pt>
    <dgm:pt modelId="{0D14839E-F7AA-41F1-8F21-377D4525EA32}" type="pres">
      <dgm:prSet presAssocID="{308794B5-59A1-4F06-A19F-19B515FA2D2C}" presName="parTxOnly" presStyleLbl="node1" presStyleIdx="2" presStyleCnt="10">
        <dgm:presLayoutVars>
          <dgm:bulletEnabled val="1"/>
        </dgm:presLayoutVars>
      </dgm:prSet>
      <dgm:spPr/>
    </dgm:pt>
    <dgm:pt modelId="{6FCAC6DE-3B61-4FC5-BCC0-E4629EF4789A}" type="pres">
      <dgm:prSet presAssocID="{2A857EBE-287F-47BF-BC3B-E1E5F39FA4B7}" presName="parSpace" presStyleCnt="0"/>
      <dgm:spPr/>
    </dgm:pt>
    <dgm:pt modelId="{AC1BF143-926D-45ED-A5A3-43D05A5B5E05}" type="pres">
      <dgm:prSet presAssocID="{79B60177-2217-4C3E-BFB2-A7F514C11442}" presName="parTxOnly" presStyleLbl="node1" presStyleIdx="3" presStyleCnt="10">
        <dgm:presLayoutVars>
          <dgm:bulletEnabled val="1"/>
        </dgm:presLayoutVars>
      </dgm:prSet>
      <dgm:spPr/>
    </dgm:pt>
    <dgm:pt modelId="{0DE0C2D5-A75D-4380-B806-1FCE20FD6100}" type="pres">
      <dgm:prSet presAssocID="{BB68D18C-C2C2-4B5D-A338-F21AC8AC055A}" presName="parSpace" presStyleCnt="0"/>
      <dgm:spPr/>
    </dgm:pt>
    <dgm:pt modelId="{FAC99AAC-4206-4C8D-B75A-31CCAA24369E}" type="pres">
      <dgm:prSet presAssocID="{A37E9E2F-421E-4906-9EA5-4D3D0039337B}" presName="parTxOnly" presStyleLbl="node1" presStyleIdx="4" presStyleCnt="10">
        <dgm:presLayoutVars>
          <dgm:bulletEnabled val="1"/>
        </dgm:presLayoutVars>
      </dgm:prSet>
      <dgm:spPr/>
    </dgm:pt>
    <dgm:pt modelId="{C7EB8198-0BBC-4800-A04C-5A838FD89335}" type="pres">
      <dgm:prSet presAssocID="{FB9F0D44-060C-450B-95E1-4D0DFC8E216B}" presName="parSpace" presStyleCnt="0"/>
      <dgm:spPr/>
    </dgm:pt>
    <dgm:pt modelId="{EECB13DF-38FD-4199-93B9-448461C16185}" type="pres">
      <dgm:prSet presAssocID="{EA542168-3CF6-4E7D-BE36-F1874E1A6786}" presName="parTxOnly" presStyleLbl="node1" presStyleIdx="5" presStyleCnt="10">
        <dgm:presLayoutVars>
          <dgm:bulletEnabled val="1"/>
        </dgm:presLayoutVars>
      </dgm:prSet>
      <dgm:spPr/>
    </dgm:pt>
    <dgm:pt modelId="{E374F486-FB19-41B2-A0F0-48FB5502A237}" type="pres">
      <dgm:prSet presAssocID="{EFA7C1C5-FEE2-496F-9C35-D5D7E067AD72}" presName="parSpace" presStyleCnt="0"/>
      <dgm:spPr/>
    </dgm:pt>
    <dgm:pt modelId="{1C920BC9-2570-439E-8481-8C6F1CB98E73}" type="pres">
      <dgm:prSet presAssocID="{C2993C98-6A6F-4187-B0C4-7E93C9DD87FA}" presName="parTxOnly" presStyleLbl="node1" presStyleIdx="6" presStyleCnt="10">
        <dgm:presLayoutVars>
          <dgm:bulletEnabled val="1"/>
        </dgm:presLayoutVars>
      </dgm:prSet>
      <dgm:spPr/>
    </dgm:pt>
    <dgm:pt modelId="{83CF4DA9-86E0-4AE4-94AE-6C72C4A1D2F8}" type="pres">
      <dgm:prSet presAssocID="{BE740BCE-24A9-4674-AEDF-D364E86B6D22}" presName="parSpace" presStyleCnt="0"/>
      <dgm:spPr/>
    </dgm:pt>
    <dgm:pt modelId="{E8BBFEEE-B21B-4C1D-846B-B89F01B73A44}" type="pres">
      <dgm:prSet presAssocID="{B3D0AF40-C106-41ED-9E6C-46321A70CAAB}" presName="parTxOnly" presStyleLbl="node1" presStyleIdx="7" presStyleCnt="10">
        <dgm:presLayoutVars>
          <dgm:bulletEnabled val="1"/>
        </dgm:presLayoutVars>
      </dgm:prSet>
      <dgm:spPr/>
    </dgm:pt>
    <dgm:pt modelId="{79E1544A-52D1-4DF3-B1EF-1D7B51F38FFB}" type="pres">
      <dgm:prSet presAssocID="{D2A85F37-7CC7-4104-AF88-FFA6A57188E0}" presName="parSpace" presStyleCnt="0"/>
      <dgm:spPr/>
    </dgm:pt>
    <dgm:pt modelId="{2297D37F-06A9-4D3B-9E7D-1BFE806033E6}" type="pres">
      <dgm:prSet presAssocID="{244AB1FE-452B-48D8-8768-3BA11F7CDA2F}" presName="parTxOnly" presStyleLbl="node1" presStyleIdx="8" presStyleCnt="10">
        <dgm:presLayoutVars>
          <dgm:bulletEnabled val="1"/>
        </dgm:presLayoutVars>
      </dgm:prSet>
      <dgm:spPr/>
    </dgm:pt>
    <dgm:pt modelId="{860E36E1-9B69-4A8E-B7F1-1A203219B22F}" type="pres">
      <dgm:prSet presAssocID="{102BEBE8-1030-474E-80E3-A8F484E4F6D3}" presName="parSpace" presStyleCnt="0"/>
      <dgm:spPr/>
    </dgm:pt>
    <dgm:pt modelId="{8BF2E94A-9EDA-4D1B-B447-B22DF4954F6F}" type="pres">
      <dgm:prSet presAssocID="{C6B3F507-2D2A-4DC6-AC05-4B9C92757C16}" presName="parTxOnly" presStyleLbl="node1" presStyleIdx="9" presStyleCnt="10">
        <dgm:presLayoutVars>
          <dgm:bulletEnabled val="1"/>
        </dgm:presLayoutVars>
      </dgm:prSet>
      <dgm:spPr/>
    </dgm:pt>
  </dgm:ptLst>
  <dgm:cxnLst>
    <dgm:cxn modelId="{8635D613-FF8F-4F3F-8F79-7C6A9DD574D3}" srcId="{5F09BBEB-BCC3-459F-84E8-C3F45965DA09}" destId="{308794B5-59A1-4F06-A19F-19B515FA2D2C}" srcOrd="2" destOrd="0" parTransId="{40A90EE6-40C6-4C1A-975D-8DECA9BC3FD2}" sibTransId="{2A857EBE-287F-47BF-BC3B-E1E5F39FA4B7}"/>
    <dgm:cxn modelId="{7498D815-AE35-4CC1-87A5-4E163067D50B}" type="presOf" srcId="{C2993C98-6A6F-4187-B0C4-7E93C9DD87FA}" destId="{1C920BC9-2570-439E-8481-8C6F1CB98E73}" srcOrd="0" destOrd="0" presId="urn:microsoft.com/office/officeart/2005/8/layout/hChevron3"/>
    <dgm:cxn modelId="{CDCFC11C-CFCD-4E79-A72B-8D05C57DADFF}" srcId="{5F09BBEB-BCC3-459F-84E8-C3F45965DA09}" destId="{28FF80C1-E366-4469-835E-804BEA7EF9E9}" srcOrd="1" destOrd="0" parTransId="{C92A0CD3-241E-488E-AA57-8B6574467E0F}" sibTransId="{91D0DF27-8817-4650-BB53-D21704C7C991}"/>
    <dgm:cxn modelId="{FB36DB1D-2A5C-47E1-BD93-3DE6146AF4C7}" srcId="{5F09BBEB-BCC3-459F-84E8-C3F45965DA09}" destId="{B3D0AF40-C106-41ED-9E6C-46321A70CAAB}" srcOrd="7" destOrd="0" parTransId="{D2A261CD-44A6-4CD9-BD0E-FC21222598C3}" sibTransId="{D2A85F37-7CC7-4104-AF88-FFA6A57188E0}"/>
    <dgm:cxn modelId="{73D5EB2C-4DDA-469C-82CB-EB293E5A841C}" type="presOf" srcId="{A37E9E2F-421E-4906-9EA5-4D3D0039337B}" destId="{FAC99AAC-4206-4C8D-B75A-31CCAA24369E}" srcOrd="0" destOrd="0" presId="urn:microsoft.com/office/officeart/2005/8/layout/hChevron3"/>
    <dgm:cxn modelId="{BFE78C36-D48C-4ADF-B40F-FDA60F1CAFF1}" type="presOf" srcId="{308794B5-59A1-4F06-A19F-19B515FA2D2C}" destId="{0D14839E-F7AA-41F1-8F21-377D4525EA32}" srcOrd="0" destOrd="0" presId="urn:microsoft.com/office/officeart/2005/8/layout/hChevron3"/>
    <dgm:cxn modelId="{2287F43C-9B45-4B41-8BD5-84AFAA7B2870}" srcId="{5F09BBEB-BCC3-459F-84E8-C3F45965DA09}" destId="{C6B3F507-2D2A-4DC6-AC05-4B9C92757C16}" srcOrd="9" destOrd="0" parTransId="{DE8F853C-71D4-4D0D-9A17-D8B374D814FD}" sibTransId="{D0C75D6A-40FE-4179-9416-F5DC0E331C7F}"/>
    <dgm:cxn modelId="{A2117A40-75DD-4F93-9B85-0E6C330838BF}" srcId="{5F09BBEB-BCC3-459F-84E8-C3F45965DA09}" destId="{EA542168-3CF6-4E7D-BE36-F1874E1A6786}" srcOrd="5" destOrd="0" parTransId="{0F2809F5-F901-42CC-9BCD-A0A9B96DFE1C}" sibTransId="{EFA7C1C5-FEE2-496F-9C35-D5D7E067AD72}"/>
    <dgm:cxn modelId="{22FE0D61-FA1A-4575-9EA7-0847D35FB40F}" type="presOf" srcId="{244AB1FE-452B-48D8-8768-3BA11F7CDA2F}" destId="{2297D37F-06A9-4D3B-9E7D-1BFE806033E6}" srcOrd="0" destOrd="0" presId="urn:microsoft.com/office/officeart/2005/8/layout/hChevron3"/>
    <dgm:cxn modelId="{19255C41-D653-4AA7-B5D5-F563627BA0CF}" srcId="{5F09BBEB-BCC3-459F-84E8-C3F45965DA09}" destId="{DB686BFB-198E-4000-A208-50B01C895C5D}" srcOrd="0" destOrd="0" parTransId="{308DC400-404E-42BD-BE70-9AF5501A8294}" sibTransId="{71D97F50-AB3B-4D05-8099-47186F345C43}"/>
    <dgm:cxn modelId="{F9DECC50-2A9D-4CCE-A94B-38F80FBC12B2}" type="presOf" srcId="{DB686BFB-198E-4000-A208-50B01C895C5D}" destId="{E758B83E-CFEC-43EC-AF0D-E790A3C16319}" srcOrd="0" destOrd="0" presId="urn:microsoft.com/office/officeart/2005/8/layout/hChevron3"/>
    <dgm:cxn modelId="{026B8171-5599-4C67-B63E-7389ED643B06}" srcId="{5F09BBEB-BCC3-459F-84E8-C3F45965DA09}" destId="{C2993C98-6A6F-4187-B0C4-7E93C9DD87FA}" srcOrd="6" destOrd="0" parTransId="{9CBC2D13-0312-49BE-A158-5EA5D3005C80}" sibTransId="{BE740BCE-24A9-4674-AEDF-D364E86B6D22}"/>
    <dgm:cxn modelId="{2CB7CF59-FCF1-4ACB-AC42-B02F3DA6E02C}" srcId="{5F09BBEB-BCC3-459F-84E8-C3F45965DA09}" destId="{244AB1FE-452B-48D8-8768-3BA11F7CDA2F}" srcOrd="8" destOrd="0" parTransId="{3AB6269D-FE5C-4FEF-9E3C-39AACC7EF09F}" sibTransId="{102BEBE8-1030-474E-80E3-A8F484E4F6D3}"/>
    <dgm:cxn modelId="{6023F593-FCF4-43E2-85CE-AD10542CEE88}" type="presOf" srcId="{C6B3F507-2D2A-4DC6-AC05-4B9C92757C16}" destId="{8BF2E94A-9EDA-4D1B-B447-B22DF4954F6F}" srcOrd="0" destOrd="0" presId="urn:microsoft.com/office/officeart/2005/8/layout/hChevron3"/>
    <dgm:cxn modelId="{766E6C9B-742C-442E-8172-8BF8D40AD199}" type="presOf" srcId="{79B60177-2217-4C3E-BFB2-A7F514C11442}" destId="{AC1BF143-926D-45ED-A5A3-43D05A5B5E05}" srcOrd="0" destOrd="0" presId="urn:microsoft.com/office/officeart/2005/8/layout/hChevron3"/>
    <dgm:cxn modelId="{9F73CDB9-E2B2-4C3B-BD07-14E9AE766AC9}" srcId="{5F09BBEB-BCC3-459F-84E8-C3F45965DA09}" destId="{79B60177-2217-4C3E-BFB2-A7F514C11442}" srcOrd="3" destOrd="0" parTransId="{C0EE4951-222A-4A3C-884C-462AB7405FF1}" sibTransId="{BB68D18C-C2C2-4B5D-A338-F21AC8AC055A}"/>
    <dgm:cxn modelId="{BFE1E3BA-C15C-41DC-AAD8-92F9635D6BF2}" srcId="{5F09BBEB-BCC3-459F-84E8-C3F45965DA09}" destId="{A37E9E2F-421E-4906-9EA5-4D3D0039337B}" srcOrd="4" destOrd="0" parTransId="{CE6AC0C5-5287-487A-AA5B-84A420F4BCCF}" sibTransId="{FB9F0D44-060C-450B-95E1-4D0DFC8E216B}"/>
    <dgm:cxn modelId="{972F8AC6-E642-4970-B4CF-B938DF3C94A2}" type="presOf" srcId="{28FF80C1-E366-4469-835E-804BEA7EF9E9}" destId="{57F52E1E-2C2F-47A9-A6D9-CB7537BF727C}" srcOrd="0" destOrd="0" presId="urn:microsoft.com/office/officeart/2005/8/layout/hChevron3"/>
    <dgm:cxn modelId="{178236CB-EF09-4173-8EBE-FC737AED0D85}" type="presOf" srcId="{EA542168-3CF6-4E7D-BE36-F1874E1A6786}" destId="{EECB13DF-38FD-4199-93B9-448461C16185}" srcOrd="0" destOrd="0" presId="urn:microsoft.com/office/officeart/2005/8/layout/hChevron3"/>
    <dgm:cxn modelId="{6C1C96E4-80FF-48EC-9B74-7A88917D15EF}" type="presOf" srcId="{B3D0AF40-C106-41ED-9E6C-46321A70CAAB}" destId="{E8BBFEEE-B21B-4C1D-846B-B89F01B73A44}" srcOrd="0" destOrd="0" presId="urn:microsoft.com/office/officeart/2005/8/layout/hChevron3"/>
    <dgm:cxn modelId="{55A360EF-56B4-4E1B-B6DC-788CB3D5C2D3}" type="presOf" srcId="{5F09BBEB-BCC3-459F-84E8-C3F45965DA09}" destId="{5A8139B6-91BE-4CD6-9A26-1E8EB65606D1}" srcOrd="0" destOrd="0" presId="urn:microsoft.com/office/officeart/2005/8/layout/hChevron3"/>
    <dgm:cxn modelId="{F7229797-FA27-4730-8A33-B779CCDC5C3C}" type="presParOf" srcId="{5A8139B6-91BE-4CD6-9A26-1E8EB65606D1}" destId="{E758B83E-CFEC-43EC-AF0D-E790A3C16319}" srcOrd="0" destOrd="0" presId="urn:microsoft.com/office/officeart/2005/8/layout/hChevron3"/>
    <dgm:cxn modelId="{797CD30E-B045-4A2A-A262-5FA3F2383F0E}" type="presParOf" srcId="{5A8139B6-91BE-4CD6-9A26-1E8EB65606D1}" destId="{8B0AB190-C0DA-4BC9-AB8E-FC2ED0D56206}" srcOrd="1" destOrd="0" presId="urn:microsoft.com/office/officeart/2005/8/layout/hChevron3"/>
    <dgm:cxn modelId="{8350EBD2-82F9-43A1-8271-7B3C2601C7FF}" type="presParOf" srcId="{5A8139B6-91BE-4CD6-9A26-1E8EB65606D1}" destId="{57F52E1E-2C2F-47A9-A6D9-CB7537BF727C}" srcOrd="2" destOrd="0" presId="urn:microsoft.com/office/officeart/2005/8/layout/hChevron3"/>
    <dgm:cxn modelId="{065A1536-B084-4DE2-9756-A8BD56653EAA}" type="presParOf" srcId="{5A8139B6-91BE-4CD6-9A26-1E8EB65606D1}" destId="{23AB88B7-C798-42E5-B3C5-6FD5532695B1}" srcOrd="3" destOrd="0" presId="urn:microsoft.com/office/officeart/2005/8/layout/hChevron3"/>
    <dgm:cxn modelId="{900BF689-8BEA-4E5F-86F5-16B928223239}" type="presParOf" srcId="{5A8139B6-91BE-4CD6-9A26-1E8EB65606D1}" destId="{0D14839E-F7AA-41F1-8F21-377D4525EA32}" srcOrd="4" destOrd="0" presId="urn:microsoft.com/office/officeart/2005/8/layout/hChevron3"/>
    <dgm:cxn modelId="{FDD11ECE-9527-4A81-A422-BB7C9D8AFA6A}" type="presParOf" srcId="{5A8139B6-91BE-4CD6-9A26-1E8EB65606D1}" destId="{6FCAC6DE-3B61-4FC5-BCC0-E4629EF4789A}" srcOrd="5" destOrd="0" presId="urn:microsoft.com/office/officeart/2005/8/layout/hChevron3"/>
    <dgm:cxn modelId="{3C10773A-398D-41D7-B997-F0F842EF9BCD}" type="presParOf" srcId="{5A8139B6-91BE-4CD6-9A26-1E8EB65606D1}" destId="{AC1BF143-926D-45ED-A5A3-43D05A5B5E05}" srcOrd="6" destOrd="0" presId="urn:microsoft.com/office/officeart/2005/8/layout/hChevron3"/>
    <dgm:cxn modelId="{CC76DA5B-FB4F-4410-8237-D6E32C8F3069}" type="presParOf" srcId="{5A8139B6-91BE-4CD6-9A26-1E8EB65606D1}" destId="{0DE0C2D5-A75D-4380-B806-1FCE20FD6100}" srcOrd="7" destOrd="0" presId="urn:microsoft.com/office/officeart/2005/8/layout/hChevron3"/>
    <dgm:cxn modelId="{F2E2E515-6858-4F8B-B7EC-AA286C5DFF3C}" type="presParOf" srcId="{5A8139B6-91BE-4CD6-9A26-1E8EB65606D1}" destId="{FAC99AAC-4206-4C8D-B75A-31CCAA24369E}" srcOrd="8" destOrd="0" presId="urn:microsoft.com/office/officeart/2005/8/layout/hChevron3"/>
    <dgm:cxn modelId="{7A259C44-7F18-419D-B25D-87D26844FD0A}" type="presParOf" srcId="{5A8139B6-91BE-4CD6-9A26-1E8EB65606D1}" destId="{C7EB8198-0BBC-4800-A04C-5A838FD89335}" srcOrd="9" destOrd="0" presId="urn:microsoft.com/office/officeart/2005/8/layout/hChevron3"/>
    <dgm:cxn modelId="{1DB9D684-FDF1-4485-8F05-243A582343B3}" type="presParOf" srcId="{5A8139B6-91BE-4CD6-9A26-1E8EB65606D1}" destId="{EECB13DF-38FD-4199-93B9-448461C16185}" srcOrd="10" destOrd="0" presId="urn:microsoft.com/office/officeart/2005/8/layout/hChevron3"/>
    <dgm:cxn modelId="{F9BC0876-B7B1-4E36-866A-621301818E4D}" type="presParOf" srcId="{5A8139B6-91BE-4CD6-9A26-1E8EB65606D1}" destId="{E374F486-FB19-41B2-A0F0-48FB5502A237}" srcOrd="11" destOrd="0" presId="urn:microsoft.com/office/officeart/2005/8/layout/hChevron3"/>
    <dgm:cxn modelId="{68901253-C80F-4309-BEEB-846BF429E040}" type="presParOf" srcId="{5A8139B6-91BE-4CD6-9A26-1E8EB65606D1}" destId="{1C920BC9-2570-439E-8481-8C6F1CB98E73}" srcOrd="12" destOrd="0" presId="urn:microsoft.com/office/officeart/2005/8/layout/hChevron3"/>
    <dgm:cxn modelId="{5EB9676F-FACE-4045-893B-ED5656605287}" type="presParOf" srcId="{5A8139B6-91BE-4CD6-9A26-1E8EB65606D1}" destId="{83CF4DA9-86E0-4AE4-94AE-6C72C4A1D2F8}" srcOrd="13" destOrd="0" presId="urn:microsoft.com/office/officeart/2005/8/layout/hChevron3"/>
    <dgm:cxn modelId="{BC6C1E01-C648-40BB-BFCB-9AB904C2A097}" type="presParOf" srcId="{5A8139B6-91BE-4CD6-9A26-1E8EB65606D1}" destId="{E8BBFEEE-B21B-4C1D-846B-B89F01B73A44}" srcOrd="14" destOrd="0" presId="urn:microsoft.com/office/officeart/2005/8/layout/hChevron3"/>
    <dgm:cxn modelId="{0B6B22D8-7F48-4240-8E4C-779E49ED37CA}" type="presParOf" srcId="{5A8139B6-91BE-4CD6-9A26-1E8EB65606D1}" destId="{79E1544A-52D1-4DF3-B1EF-1D7B51F38FFB}" srcOrd="15" destOrd="0" presId="urn:microsoft.com/office/officeart/2005/8/layout/hChevron3"/>
    <dgm:cxn modelId="{3EC2B338-A00C-4A6E-975E-8084F004117A}" type="presParOf" srcId="{5A8139B6-91BE-4CD6-9A26-1E8EB65606D1}" destId="{2297D37F-06A9-4D3B-9E7D-1BFE806033E6}" srcOrd="16" destOrd="0" presId="urn:microsoft.com/office/officeart/2005/8/layout/hChevron3"/>
    <dgm:cxn modelId="{430BCF5F-58E7-4BD0-88BD-64AD6818FB00}" type="presParOf" srcId="{5A8139B6-91BE-4CD6-9A26-1E8EB65606D1}" destId="{860E36E1-9B69-4A8E-B7F1-1A203219B22F}" srcOrd="17" destOrd="0" presId="urn:microsoft.com/office/officeart/2005/8/layout/hChevron3"/>
    <dgm:cxn modelId="{2455F435-7A6F-438C-8A67-346DE979ECE7}" type="presParOf" srcId="{5A8139B6-91BE-4CD6-9A26-1E8EB65606D1}" destId="{8BF2E94A-9EDA-4D1B-B447-B22DF4954F6F}" srcOrd="18" destOrd="0" presId="urn:microsoft.com/office/officeart/2005/8/layout/hChevron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5F09BBEB-BCC3-459F-84E8-C3F45965DA09}" type="doc">
      <dgm:prSet loTypeId="urn:microsoft.com/office/officeart/2005/8/layout/hChevron3" loCatId="process" qsTypeId="urn:microsoft.com/office/officeart/2005/8/quickstyle/simple1" qsCatId="simple" csTypeId="urn:microsoft.com/office/officeart/2005/8/colors/accent1_2" csCatId="accent1" phldr="1"/>
      <dgm:spPr/>
    </dgm:pt>
    <dgm:pt modelId="{D9A46A24-1A39-40C4-BDEF-CFA7810A2AAE}">
      <dgm:prSet custT="1"/>
      <dgm:spPr>
        <a:solidFill>
          <a:schemeClr val="bg2"/>
        </a:solidFill>
      </dgm:spPr>
      <dgm:t>
        <a:bodyPr/>
        <a:lstStyle/>
        <a:p>
          <a:r>
            <a:rPr lang="en-US" sz="1800" dirty="0"/>
            <a:t>Continuous Integration</a:t>
          </a:r>
        </a:p>
      </dgm:t>
    </dgm:pt>
    <dgm:pt modelId="{66FFC086-41A2-4587-A80D-C476FEB0A87D}" type="parTrans" cxnId="{D4CE26BC-77E7-45C7-A7B2-153FEC32CCF0}">
      <dgm:prSet/>
      <dgm:spPr/>
      <dgm:t>
        <a:bodyPr/>
        <a:lstStyle/>
        <a:p>
          <a:endParaRPr lang="en-US" sz="1200"/>
        </a:p>
      </dgm:t>
    </dgm:pt>
    <dgm:pt modelId="{F798BDF2-5A93-4BDF-814C-A30D18340DBF}" type="sibTrans" cxnId="{D4CE26BC-77E7-45C7-A7B2-153FEC32CCF0}">
      <dgm:prSet/>
      <dgm:spPr/>
      <dgm:t>
        <a:bodyPr/>
        <a:lstStyle/>
        <a:p>
          <a:endParaRPr lang="en-US" sz="1200"/>
        </a:p>
      </dgm:t>
    </dgm:pt>
    <dgm:pt modelId="{34418343-4F07-404D-BE38-92B2D24B7E05}">
      <dgm:prSet custT="1"/>
      <dgm:spPr>
        <a:solidFill>
          <a:schemeClr val="bg2"/>
        </a:solidFill>
      </dgm:spPr>
      <dgm:t>
        <a:bodyPr/>
        <a:lstStyle/>
        <a:p>
          <a:r>
            <a:rPr lang="en-US" sz="1800" dirty="0"/>
            <a:t>Continuous Delivery</a:t>
          </a:r>
        </a:p>
      </dgm:t>
    </dgm:pt>
    <dgm:pt modelId="{A7A8E09D-662C-45E2-9798-75DFCF5AD338}" type="parTrans" cxnId="{72105B5F-CE7A-4453-8ABE-41BD72E534BE}">
      <dgm:prSet/>
      <dgm:spPr/>
      <dgm:t>
        <a:bodyPr/>
        <a:lstStyle/>
        <a:p>
          <a:endParaRPr lang="en-US" sz="1200"/>
        </a:p>
      </dgm:t>
    </dgm:pt>
    <dgm:pt modelId="{492097AD-6096-4A56-ACAB-319019CDAEEB}" type="sibTrans" cxnId="{72105B5F-CE7A-4453-8ABE-41BD72E534BE}">
      <dgm:prSet/>
      <dgm:spPr/>
      <dgm:t>
        <a:bodyPr/>
        <a:lstStyle/>
        <a:p>
          <a:endParaRPr lang="en-US" sz="1200"/>
        </a:p>
      </dgm:t>
    </dgm:pt>
    <dgm:pt modelId="{5A8139B6-91BE-4CD6-9A26-1E8EB65606D1}" type="pres">
      <dgm:prSet presAssocID="{5F09BBEB-BCC3-459F-84E8-C3F45965DA09}" presName="Name0" presStyleCnt="0">
        <dgm:presLayoutVars>
          <dgm:dir/>
          <dgm:resizeHandles val="exact"/>
        </dgm:presLayoutVars>
      </dgm:prSet>
      <dgm:spPr/>
    </dgm:pt>
    <dgm:pt modelId="{100BB1A8-A75B-46B4-A88C-52BAAA4EA6C2}" type="pres">
      <dgm:prSet presAssocID="{D9A46A24-1A39-40C4-BDEF-CFA7810A2AAE}" presName="parTxOnly" presStyleLbl="node1" presStyleIdx="0" presStyleCnt="2" custScaleX="58075" custLinFactNeighborX="-40788" custLinFactNeighborY="7816">
        <dgm:presLayoutVars>
          <dgm:bulletEnabled val="1"/>
        </dgm:presLayoutVars>
      </dgm:prSet>
      <dgm:spPr/>
    </dgm:pt>
    <dgm:pt modelId="{F4229669-D6F8-4B59-A4CD-D5346B3C39F1}" type="pres">
      <dgm:prSet presAssocID="{F798BDF2-5A93-4BDF-814C-A30D18340DBF}" presName="parSpace" presStyleCnt="0"/>
      <dgm:spPr/>
    </dgm:pt>
    <dgm:pt modelId="{C41A44A8-F315-467A-BC7A-DF5D204D36AC}" type="pres">
      <dgm:prSet presAssocID="{34418343-4F07-404D-BE38-92B2D24B7E05}" presName="parTxOnly" presStyleLbl="node1" presStyleIdx="1" presStyleCnt="2" custScaleX="45034" custLinFactNeighborX="35969" custLinFactNeighborY="-3574">
        <dgm:presLayoutVars>
          <dgm:bulletEnabled val="1"/>
        </dgm:presLayoutVars>
      </dgm:prSet>
      <dgm:spPr/>
    </dgm:pt>
  </dgm:ptLst>
  <dgm:cxnLst>
    <dgm:cxn modelId="{3F1E4133-2A1E-4235-9328-E58716960D9C}" type="presOf" srcId="{D9A46A24-1A39-40C4-BDEF-CFA7810A2AAE}" destId="{100BB1A8-A75B-46B4-A88C-52BAAA4EA6C2}" srcOrd="0" destOrd="0" presId="urn:microsoft.com/office/officeart/2005/8/layout/hChevron3"/>
    <dgm:cxn modelId="{72105B5F-CE7A-4453-8ABE-41BD72E534BE}" srcId="{5F09BBEB-BCC3-459F-84E8-C3F45965DA09}" destId="{34418343-4F07-404D-BE38-92B2D24B7E05}" srcOrd="1" destOrd="0" parTransId="{A7A8E09D-662C-45E2-9798-75DFCF5AD338}" sibTransId="{492097AD-6096-4A56-ACAB-319019CDAEEB}"/>
    <dgm:cxn modelId="{7E9AAF4F-F86E-4539-8342-B42AC99F5AEA}" type="presOf" srcId="{34418343-4F07-404D-BE38-92B2D24B7E05}" destId="{C41A44A8-F315-467A-BC7A-DF5D204D36AC}" srcOrd="0" destOrd="0" presId="urn:microsoft.com/office/officeart/2005/8/layout/hChevron3"/>
    <dgm:cxn modelId="{D4CE26BC-77E7-45C7-A7B2-153FEC32CCF0}" srcId="{5F09BBEB-BCC3-459F-84E8-C3F45965DA09}" destId="{D9A46A24-1A39-40C4-BDEF-CFA7810A2AAE}" srcOrd="0" destOrd="0" parTransId="{66FFC086-41A2-4587-A80D-C476FEB0A87D}" sibTransId="{F798BDF2-5A93-4BDF-814C-A30D18340DBF}"/>
    <dgm:cxn modelId="{55A360EF-56B4-4E1B-B6DC-788CB3D5C2D3}" type="presOf" srcId="{5F09BBEB-BCC3-459F-84E8-C3F45965DA09}" destId="{5A8139B6-91BE-4CD6-9A26-1E8EB65606D1}" srcOrd="0" destOrd="0" presId="urn:microsoft.com/office/officeart/2005/8/layout/hChevron3"/>
    <dgm:cxn modelId="{DDC0E7FD-96EA-4482-B703-BF8FE526B224}" type="presParOf" srcId="{5A8139B6-91BE-4CD6-9A26-1E8EB65606D1}" destId="{100BB1A8-A75B-46B4-A88C-52BAAA4EA6C2}" srcOrd="0" destOrd="0" presId="urn:microsoft.com/office/officeart/2005/8/layout/hChevron3"/>
    <dgm:cxn modelId="{8A7AB3D9-74DF-4991-94ED-11FEBCFC64DB}" type="presParOf" srcId="{5A8139B6-91BE-4CD6-9A26-1E8EB65606D1}" destId="{F4229669-D6F8-4B59-A4CD-D5346B3C39F1}" srcOrd="1" destOrd="0" presId="urn:microsoft.com/office/officeart/2005/8/layout/hChevron3"/>
    <dgm:cxn modelId="{6B0B2E57-CF46-45C3-B806-CBA9927886B9}" type="presParOf" srcId="{5A8139B6-91BE-4CD6-9A26-1E8EB65606D1}" destId="{C41A44A8-F315-467A-BC7A-DF5D204D36AC}" srcOrd="2" destOrd="0" presId="urn:microsoft.com/office/officeart/2005/8/layout/hChevron3"/>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5F09BBEB-BCC3-459F-84E8-C3F45965DA09}" type="doc">
      <dgm:prSet loTypeId="urn:microsoft.com/office/officeart/2005/8/layout/hChevron3" loCatId="process" qsTypeId="urn:microsoft.com/office/officeart/2005/8/quickstyle/simple1" qsCatId="simple" csTypeId="urn:microsoft.com/office/officeart/2005/8/colors/accent1_2" csCatId="accent1" phldr="1"/>
      <dgm:spPr/>
    </dgm:pt>
    <dgm:pt modelId="{DB686BFB-198E-4000-A208-50B01C895C5D}">
      <dgm:prSet phldrT="[Text]"/>
      <dgm:spPr>
        <a:solidFill>
          <a:schemeClr val="bg2"/>
        </a:solidFill>
      </dgm:spPr>
      <dgm:t>
        <a:bodyPr/>
        <a:lstStyle/>
        <a:p>
          <a:r>
            <a:rPr lang="en-US" dirty="0"/>
            <a:t>Plan</a:t>
          </a:r>
        </a:p>
      </dgm:t>
    </dgm:pt>
    <dgm:pt modelId="{308DC400-404E-42BD-BE70-9AF5501A8294}" type="parTrans" cxnId="{19255C41-D653-4AA7-B5D5-F563627BA0CF}">
      <dgm:prSet/>
      <dgm:spPr/>
      <dgm:t>
        <a:bodyPr/>
        <a:lstStyle/>
        <a:p>
          <a:endParaRPr lang="en-US"/>
        </a:p>
      </dgm:t>
    </dgm:pt>
    <dgm:pt modelId="{71D97F50-AB3B-4D05-8099-47186F345C43}" type="sibTrans" cxnId="{19255C41-D653-4AA7-B5D5-F563627BA0CF}">
      <dgm:prSet/>
      <dgm:spPr/>
      <dgm:t>
        <a:bodyPr/>
        <a:lstStyle/>
        <a:p>
          <a:endParaRPr lang="en-US"/>
        </a:p>
      </dgm:t>
    </dgm:pt>
    <dgm:pt modelId="{28FF80C1-E366-4469-835E-804BEA7EF9E9}">
      <dgm:prSet phldrT="[Text]"/>
      <dgm:spPr>
        <a:solidFill>
          <a:schemeClr val="bg2"/>
        </a:solidFill>
      </dgm:spPr>
      <dgm:t>
        <a:bodyPr/>
        <a:lstStyle/>
        <a:p>
          <a:r>
            <a:rPr lang="en-US" dirty="0"/>
            <a:t>Code</a:t>
          </a:r>
        </a:p>
      </dgm:t>
    </dgm:pt>
    <dgm:pt modelId="{C92A0CD3-241E-488E-AA57-8B6574467E0F}" type="parTrans" cxnId="{CDCFC11C-CFCD-4E79-A72B-8D05C57DADFF}">
      <dgm:prSet/>
      <dgm:spPr/>
      <dgm:t>
        <a:bodyPr/>
        <a:lstStyle/>
        <a:p>
          <a:endParaRPr lang="en-US"/>
        </a:p>
      </dgm:t>
    </dgm:pt>
    <dgm:pt modelId="{91D0DF27-8817-4650-BB53-D21704C7C991}" type="sibTrans" cxnId="{CDCFC11C-CFCD-4E79-A72B-8D05C57DADFF}">
      <dgm:prSet/>
      <dgm:spPr/>
      <dgm:t>
        <a:bodyPr/>
        <a:lstStyle/>
        <a:p>
          <a:endParaRPr lang="en-US"/>
        </a:p>
      </dgm:t>
    </dgm:pt>
    <dgm:pt modelId="{308794B5-59A1-4F06-A19F-19B515FA2D2C}">
      <dgm:prSet phldrT="[Text]"/>
      <dgm:spPr>
        <a:solidFill>
          <a:schemeClr val="bg2"/>
        </a:solidFill>
      </dgm:spPr>
      <dgm:t>
        <a:bodyPr/>
        <a:lstStyle/>
        <a:p>
          <a:r>
            <a:rPr lang="en-US" dirty="0"/>
            <a:t>Build</a:t>
          </a:r>
        </a:p>
      </dgm:t>
    </dgm:pt>
    <dgm:pt modelId="{40A90EE6-40C6-4C1A-975D-8DECA9BC3FD2}" type="parTrans" cxnId="{8635D613-FF8F-4F3F-8F79-7C6A9DD574D3}">
      <dgm:prSet/>
      <dgm:spPr/>
      <dgm:t>
        <a:bodyPr/>
        <a:lstStyle/>
        <a:p>
          <a:endParaRPr lang="en-US"/>
        </a:p>
      </dgm:t>
    </dgm:pt>
    <dgm:pt modelId="{2A857EBE-287F-47BF-BC3B-E1E5F39FA4B7}" type="sibTrans" cxnId="{8635D613-FF8F-4F3F-8F79-7C6A9DD574D3}">
      <dgm:prSet/>
      <dgm:spPr/>
      <dgm:t>
        <a:bodyPr/>
        <a:lstStyle/>
        <a:p>
          <a:endParaRPr lang="en-US"/>
        </a:p>
      </dgm:t>
    </dgm:pt>
    <dgm:pt modelId="{79B60177-2217-4C3E-BFB2-A7F514C11442}">
      <dgm:prSet phldrT="[Text]"/>
      <dgm:spPr>
        <a:solidFill>
          <a:schemeClr val="bg2"/>
        </a:solidFill>
      </dgm:spPr>
      <dgm:t>
        <a:bodyPr/>
        <a:lstStyle/>
        <a:p>
          <a:r>
            <a:rPr lang="en-US" dirty="0"/>
            <a:t>Unit Tests</a:t>
          </a:r>
        </a:p>
      </dgm:t>
    </dgm:pt>
    <dgm:pt modelId="{C0EE4951-222A-4A3C-884C-462AB7405FF1}" type="parTrans" cxnId="{9F73CDB9-E2B2-4C3B-BD07-14E9AE766AC9}">
      <dgm:prSet/>
      <dgm:spPr/>
      <dgm:t>
        <a:bodyPr/>
        <a:lstStyle/>
        <a:p>
          <a:endParaRPr lang="en-US"/>
        </a:p>
      </dgm:t>
    </dgm:pt>
    <dgm:pt modelId="{BB68D18C-C2C2-4B5D-A338-F21AC8AC055A}" type="sibTrans" cxnId="{9F73CDB9-E2B2-4C3B-BD07-14E9AE766AC9}">
      <dgm:prSet/>
      <dgm:spPr/>
      <dgm:t>
        <a:bodyPr/>
        <a:lstStyle/>
        <a:p>
          <a:endParaRPr lang="en-US"/>
        </a:p>
      </dgm:t>
    </dgm:pt>
    <dgm:pt modelId="{EA542168-3CF6-4E7D-BE36-F1874E1A6786}">
      <dgm:prSet phldrT="[Text]"/>
      <dgm:spPr>
        <a:solidFill>
          <a:schemeClr val="bg2"/>
        </a:solidFill>
      </dgm:spPr>
      <dgm:t>
        <a:bodyPr/>
        <a:lstStyle/>
        <a:p>
          <a:r>
            <a:rPr lang="en-US" dirty="0"/>
            <a:t>Artifact publish</a:t>
          </a:r>
        </a:p>
      </dgm:t>
    </dgm:pt>
    <dgm:pt modelId="{0F2809F5-F901-42CC-9BCD-A0A9B96DFE1C}" type="parTrans" cxnId="{A2117A40-75DD-4F93-9B85-0E6C330838BF}">
      <dgm:prSet/>
      <dgm:spPr/>
      <dgm:t>
        <a:bodyPr/>
        <a:lstStyle/>
        <a:p>
          <a:endParaRPr lang="en-US"/>
        </a:p>
      </dgm:t>
    </dgm:pt>
    <dgm:pt modelId="{EFA7C1C5-FEE2-496F-9C35-D5D7E067AD72}" type="sibTrans" cxnId="{A2117A40-75DD-4F93-9B85-0E6C330838BF}">
      <dgm:prSet/>
      <dgm:spPr/>
      <dgm:t>
        <a:bodyPr/>
        <a:lstStyle/>
        <a:p>
          <a:endParaRPr lang="en-US"/>
        </a:p>
      </dgm:t>
    </dgm:pt>
    <dgm:pt modelId="{C2993C98-6A6F-4187-B0C4-7E93C9DD87FA}">
      <dgm:prSet phldrT="[Text]"/>
      <dgm:spPr>
        <a:solidFill>
          <a:schemeClr val="bg2"/>
        </a:solidFill>
      </dgm:spPr>
      <dgm:t>
        <a:bodyPr/>
        <a:lstStyle/>
        <a:p>
          <a:r>
            <a:rPr lang="en-US" dirty="0"/>
            <a:t>Deploy</a:t>
          </a:r>
        </a:p>
      </dgm:t>
    </dgm:pt>
    <dgm:pt modelId="{9CBC2D13-0312-49BE-A158-5EA5D3005C80}" type="parTrans" cxnId="{026B8171-5599-4C67-B63E-7389ED643B06}">
      <dgm:prSet/>
      <dgm:spPr/>
      <dgm:t>
        <a:bodyPr/>
        <a:lstStyle/>
        <a:p>
          <a:endParaRPr lang="en-US"/>
        </a:p>
      </dgm:t>
    </dgm:pt>
    <dgm:pt modelId="{BE740BCE-24A9-4674-AEDF-D364E86B6D22}" type="sibTrans" cxnId="{026B8171-5599-4C67-B63E-7389ED643B06}">
      <dgm:prSet/>
      <dgm:spPr/>
      <dgm:t>
        <a:bodyPr/>
        <a:lstStyle/>
        <a:p>
          <a:endParaRPr lang="en-US"/>
        </a:p>
      </dgm:t>
    </dgm:pt>
    <dgm:pt modelId="{B3D0AF40-C106-41ED-9E6C-46321A70CAAB}">
      <dgm:prSet phldrT="[Text]"/>
      <dgm:spPr>
        <a:solidFill>
          <a:schemeClr val="bg2"/>
        </a:solidFill>
      </dgm:spPr>
      <dgm:t>
        <a:bodyPr/>
        <a:lstStyle/>
        <a:p>
          <a:r>
            <a:rPr lang="en-US" dirty="0"/>
            <a:t>Integration Tests</a:t>
          </a:r>
        </a:p>
      </dgm:t>
    </dgm:pt>
    <dgm:pt modelId="{D2A261CD-44A6-4CD9-BD0E-FC21222598C3}" type="parTrans" cxnId="{FB36DB1D-2A5C-47E1-BD93-3DE6146AF4C7}">
      <dgm:prSet/>
      <dgm:spPr/>
      <dgm:t>
        <a:bodyPr/>
        <a:lstStyle/>
        <a:p>
          <a:endParaRPr lang="en-US"/>
        </a:p>
      </dgm:t>
    </dgm:pt>
    <dgm:pt modelId="{D2A85F37-7CC7-4104-AF88-FFA6A57188E0}" type="sibTrans" cxnId="{FB36DB1D-2A5C-47E1-BD93-3DE6146AF4C7}">
      <dgm:prSet/>
      <dgm:spPr/>
      <dgm:t>
        <a:bodyPr/>
        <a:lstStyle/>
        <a:p>
          <a:endParaRPr lang="en-US"/>
        </a:p>
      </dgm:t>
    </dgm:pt>
    <dgm:pt modelId="{A37E9E2F-421E-4906-9EA5-4D3D0039337B}">
      <dgm:prSet phldrT="[Text]"/>
      <dgm:spPr>
        <a:solidFill>
          <a:schemeClr val="bg2"/>
        </a:solidFill>
      </dgm:spPr>
      <dgm:t>
        <a:bodyPr/>
        <a:lstStyle/>
        <a:p>
          <a:r>
            <a:rPr lang="en-US" dirty="0"/>
            <a:t>Code Coverage and </a:t>
          </a:r>
          <a:r>
            <a:rPr lang="en-US" dirty="0" err="1"/>
            <a:t>Vulerabilities</a:t>
          </a:r>
          <a:endParaRPr lang="en-US" dirty="0"/>
        </a:p>
      </dgm:t>
    </dgm:pt>
    <dgm:pt modelId="{CE6AC0C5-5287-487A-AA5B-84A420F4BCCF}" type="parTrans" cxnId="{BFE1E3BA-C15C-41DC-AAD8-92F9635D6BF2}">
      <dgm:prSet/>
      <dgm:spPr/>
      <dgm:t>
        <a:bodyPr/>
        <a:lstStyle/>
        <a:p>
          <a:endParaRPr lang="en-US"/>
        </a:p>
      </dgm:t>
    </dgm:pt>
    <dgm:pt modelId="{FB9F0D44-060C-450B-95E1-4D0DFC8E216B}" type="sibTrans" cxnId="{BFE1E3BA-C15C-41DC-AAD8-92F9635D6BF2}">
      <dgm:prSet/>
      <dgm:spPr/>
      <dgm:t>
        <a:bodyPr/>
        <a:lstStyle/>
        <a:p>
          <a:endParaRPr lang="en-US"/>
        </a:p>
      </dgm:t>
    </dgm:pt>
    <dgm:pt modelId="{244AB1FE-452B-48D8-8768-3BA11F7CDA2F}">
      <dgm:prSet phldrT="[Text]"/>
      <dgm:spPr>
        <a:solidFill>
          <a:schemeClr val="bg2"/>
        </a:solidFill>
      </dgm:spPr>
      <dgm:t>
        <a:bodyPr/>
        <a:lstStyle/>
        <a:p>
          <a:r>
            <a:rPr lang="en-US" dirty="0"/>
            <a:t>E2E Tests</a:t>
          </a:r>
        </a:p>
      </dgm:t>
    </dgm:pt>
    <dgm:pt modelId="{3AB6269D-FE5C-4FEF-9E3C-39AACC7EF09F}" type="parTrans" cxnId="{2CB7CF59-FCF1-4ACB-AC42-B02F3DA6E02C}">
      <dgm:prSet/>
      <dgm:spPr/>
      <dgm:t>
        <a:bodyPr/>
        <a:lstStyle/>
        <a:p>
          <a:endParaRPr lang="en-US"/>
        </a:p>
      </dgm:t>
    </dgm:pt>
    <dgm:pt modelId="{102BEBE8-1030-474E-80E3-A8F484E4F6D3}" type="sibTrans" cxnId="{2CB7CF59-FCF1-4ACB-AC42-B02F3DA6E02C}">
      <dgm:prSet/>
      <dgm:spPr/>
      <dgm:t>
        <a:bodyPr/>
        <a:lstStyle/>
        <a:p>
          <a:endParaRPr lang="en-US"/>
        </a:p>
      </dgm:t>
    </dgm:pt>
    <dgm:pt modelId="{C6B3F507-2D2A-4DC6-AC05-4B9C92757C16}">
      <dgm:prSet phldrT="[Text]"/>
      <dgm:spPr>
        <a:solidFill>
          <a:schemeClr val="bg2"/>
        </a:solidFill>
      </dgm:spPr>
      <dgm:t>
        <a:bodyPr/>
        <a:lstStyle/>
        <a:p>
          <a:r>
            <a:rPr lang="en-US" dirty="0"/>
            <a:t>Deploy and Release</a:t>
          </a:r>
        </a:p>
      </dgm:t>
    </dgm:pt>
    <dgm:pt modelId="{DE8F853C-71D4-4D0D-9A17-D8B374D814FD}" type="parTrans" cxnId="{2287F43C-9B45-4B41-8BD5-84AFAA7B2870}">
      <dgm:prSet/>
      <dgm:spPr/>
      <dgm:t>
        <a:bodyPr/>
        <a:lstStyle/>
        <a:p>
          <a:endParaRPr lang="en-US"/>
        </a:p>
      </dgm:t>
    </dgm:pt>
    <dgm:pt modelId="{D0C75D6A-40FE-4179-9416-F5DC0E331C7F}" type="sibTrans" cxnId="{2287F43C-9B45-4B41-8BD5-84AFAA7B2870}">
      <dgm:prSet/>
      <dgm:spPr/>
      <dgm:t>
        <a:bodyPr/>
        <a:lstStyle/>
        <a:p>
          <a:endParaRPr lang="en-US"/>
        </a:p>
      </dgm:t>
    </dgm:pt>
    <dgm:pt modelId="{5A8139B6-91BE-4CD6-9A26-1E8EB65606D1}" type="pres">
      <dgm:prSet presAssocID="{5F09BBEB-BCC3-459F-84E8-C3F45965DA09}" presName="Name0" presStyleCnt="0">
        <dgm:presLayoutVars>
          <dgm:dir/>
          <dgm:resizeHandles val="exact"/>
        </dgm:presLayoutVars>
      </dgm:prSet>
      <dgm:spPr/>
    </dgm:pt>
    <dgm:pt modelId="{E758B83E-CFEC-43EC-AF0D-E790A3C16319}" type="pres">
      <dgm:prSet presAssocID="{DB686BFB-198E-4000-A208-50B01C895C5D}" presName="parTxOnly" presStyleLbl="node1" presStyleIdx="0" presStyleCnt="10">
        <dgm:presLayoutVars>
          <dgm:bulletEnabled val="1"/>
        </dgm:presLayoutVars>
      </dgm:prSet>
      <dgm:spPr/>
    </dgm:pt>
    <dgm:pt modelId="{8B0AB190-C0DA-4BC9-AB8E-FC2ED0D56206}" type="pres">
      <dgm:prSet presAssocID="{71D97F50-AB3B-4D05-8099-47186F345C43}" presName="parSpace" presStyleCnt="0"/>
      <dgm:spPr/>
    </dgm:pt>
    <dgm:pt modelId="{57F52E1E-2C2F-47A9-A6D9-CB7537BF727C}" type="pres">
      <dgm:prSet presAssocID="{28FF80C1-E366-4469-835E-804BEA7EF9E9}" presName="parTxOnly" presStyleLbl="node1" presStyleIdx="1" presStyleCnt="10">
        <dgm:presLayoutVars>
          <dgm:bulletEnabled val="1"/>
        </dgm:presLayoutVars>
      </dgm:prSet>
      <dgm:spPr/>
    </dgm:pt>
    <dgm:pt modelId="{23AB88B7-C798-42E5-B3C5-6FD5532695B1}" type="pres">
      <dgm:prSet presAssocID="{91D0DF27-8817-4650-BB53-D21704C7C991}" presName="parSpace" presStyleCnt="0"/>
      <dgm:spPr/>
    </dgm:pt>
    <dgm:pt modelId="{0D14839E-F7AA-41F1-8F21-377D4525EA32}" type="pres">
      <dgm:prSet presAssocID="{308794B5-59A1-4F06-A19F-19B515FA2D2C}" presName="parTxOnly" presStyleLbl="node1" presStyleIdx="2" presStyleCnt="10">
        <dgm:presLayoutVars>
          <dgm:bulletEnabled val="1"/>
        </dgm:presLayoutVars>
      </dgm:prSet>
      <dgm:spPr/>
    </dgm:pt>
    <dgm:pt modelId="{6FCAC6DE-3B61-4FC5-BCC0-E4629EF4789A}" type="pres">
      <dgm:prSet presAssocID="{2A857EBE-287F-47BF-BC3B-E1E5F39FA4B7}" presName="parSpace" presStyleCnt="0"/>
      <dgm:spPr/>
    </dgm:pt>
    <dgm:pt modelId="{AC1BF143-926D-45ED-A5A3-43D05A5B5E05}" type="pres">
      <dgm:prSet presAssocID="{79B60177-2217-4C3E-BFB2-A7F514C11442}" presName="parTxOnly" presStyleLbl="node1" presStyleIdx="3" presStyleCnt="10">
        <dgm:presLayoutVars>
          <dgm:bulletEnabled val="1"/>
        </dgm:presLayoutVars>
      </dgm:prSet>
      <dgm:spPr/>
    </dgm:pt>
    <dgm:pt modelId="{0DE0C2D5-A75D-4380-B806-1FCE20FD6100}" type="pres">
      <dgm:prSet presAssocID="{BB68D18C-C2C2-4B5D-A338-F21AC8AC055A}" presName="parSpace" presStyleCnt="0"/>
      <dgm:spPr/>
    </dgm:pt>
    <dgm:pt modelId="{FAC99AAC-4206-4C8D-B75A-31CCAA24369E}" type="pres">
      <dgm:prSet presAssocID="{A37E9E2F-421E-4906-9EA5-4D3D0039337B}" presName="parTxOnly" presStyleLbl="node1" presStyleIdx="4" presStyleCnt="10">
        <dgm:presLayoutVars>
          <dgm:bulletEnabled val="1"/>
        </dgm:presLayoutVars>
      </dgm:prSet>
      <dgm:spPr/>
    </dgm:pt>
    <dgm:pt modelId="{C7EB8198-0BBC-4800-A04C-5A838FD89335}" type="pres">
      <dgm:prSet presAssocID="{FB9F0D44-060C-450B-95E1-4D0DFC8E216B}" presName="parSpace" presStyleCnt="0"/>
      <dgm:spPr/>
    </dgm:pt>
    <dgm:pt modelId="{EECB13DF-38FD-4199-93B9-448461C16185}" type="pres">
      <dgm:prSet presAssocID="{EA542168-3CF6-4E7D-BE36-F1874E1A6786}" presName="parTxOnly" presStyleLbl="node1" presStyleIdx="5" presStyleCnt="10">
        <dgm:presLayoutVars>
          <dgm:bulletEnabled val="1"/>
        </dgm:presLayoutVars>
      </dgm:prSet>
      <dgm:spPr/>
    </dgm:pt>
    <dgm:pt modelId="{E374F486-FB19-41B2-A0F0-48FB5502A237}" type="pres">
      <dgm:prSet presAssocID="{EFA7C1C5-FEE2-496F-9C35-D5D7E067AD72}" presName="parSpace" presStyleCnt="0"/>
      <dgm:spPr/>
    </dgm:pt>
    <dgm:pt modelId="{1C920BC9-2570-439E-8481-8C6F1CB98E73}" type="pres">
      <dgm:prSet presAssocID="{C2993C98-6A6F-4187-B0C4-7E93C9DD87FA}" presName="parTxOnly" presStyleLbl="node1" presStyleIdx="6" presStyleCnt="10">
        <dgm:presLayoutVars>
          <dgm:bulletEnabled val="1"/>
        </dgm:presLayoutVars>
      </dgm:prSet>
      <dgm:spPr/>
    </dgm:pt>
    <dgm:pt modelId="{83CF4DA9-86E0-4AE4-94AE-6C72C4A1D2F8}" type="pres">
      <dgm:prSet presAssocID="{BE740BCE-24A9-4674-AEDF-D364E86B6D22}" presName="parSpace" presStyleCnt="0"/>
      <dgm:spPr/>
    </dgm:pt>
    <dgm:pt modelId="{E8BBFEEE-B21B-4C1D-846B-B89F01B73A44}" type="pres">
      <dgm:prSet presAssocID="{B3D0AF40-C106-41ED-9E6C-46321A70CAAB}" presName="parTxOnly" presStyleLbl="node1" presStyleIdx="7" presStyleCnt="10">
        <dgm:presLayoutVars>
          <dgm:bulletEnabled val="1"/>
        </dgm:presLayoutVars>
      </dgm:prSet>
      <dgm:spPr/>
    </dgm:pt>
    <dgm:pt modelId="{79E1544A-52D1-4DF3-B1EF-1D7B51F38FFB}" type="pres">
      <dgm:prSet presAssocID="{D2A85F37-7CC7-4104-AF88-FFA6A57188E0}" presName="parSpace" presStyleCnt="0"/>
      <dgm:spPr/>
    </dgm:pt>
    <dgm:pt modelId="{2297D37F-06A9-4D3B-9E7D-1BFE806033E6}" type="pres">
      <dgm:prSet presAssocID="{244AB1FE-452B-48D8-8768-3BA11F7CDA2F}" presName="parTxOnly" presStyleLbl="node1" presStyleIdx="8" presStyleCnt="10">
        <dgm:presLayoutVars>
          <dgm:bulletEnabled val="1"/>
        </dgm:presLayoutVars>
      </dgm:prSet>
      <dgm:spPr/>
    </dgm:pt>
    <dgm:pt modelId="{860E36E1-9B69-4A8E-B7F1-1A203219B22F}" type="pres">
      <dgm:prSet presAssocID="{102BEBE8-1030-474E-80E3-A8F484E4F6D3}" presName="parSpace" presStyleCnt="0"/>
      <dgm:spPr/>
    </dgm:pt>
    <dgm:pt modelId="{8BF2E94A-9EDA-4D1B-B447-B22DF4954F6F}" type="pres">
      <dgm:prSet presAssocID="{C6B3F507-2D2A-4DC6-AC05-4B9C92757C16}" presName="parTxOnly" presStyleLbl="node1" presStyleIdx="9" presStyleCnt="10">
        <dgm:presLayoutVars>
          <dgm:bulletEnabled val="1"/>
        </dgm:presLayoutVars>
      </dgm:prSet>
      <dgm:spPr/>
    </dgm:pt>
  </dgm:ptLst>
  <dgm:cxnLst>
    <dgm:cxn modelId="{8635D613-FF8F-4F3F-8F79-7C6A9DD574D3}" srcId="{5F09BBEB-BCC3-459F-84E8-C3F45965DA09}" destId="{308794B5-59A1-4F06-A19F-19B515FA2D2C}" srcOrd="2" destOrd="0" parTransId="{40A90EE6-40C6-4C1A-975D-8DECA9BC3FD2}" sibTransId="{2A857EBE-287F-47BF-BC3B-E1E5F39FA4B7}"/>
    <dgm:cxn modelId="{7498D815-AE35-4CC1-87A5-4E163067D50B}" type="presOf" srcId="{C2993C98-6A6F-4187-B0C4-7E93C9DD87FA}" destId="{1C920BC9-2570-439E-8481-8C6F1CB98E73}" srcOrd="0" destOrd="0" presId="urn:microsoft.com/office/officeart/2005/8/layout/hChevron3"/>
    <dgm:cxn modelId="{CDCFC11C-CFCD-4E79-A72B-8D05C57DADFF}" srcId="{5F09BBEB-BCC3-459F-84E8-C3F45965DA09}" destId="{28FF80C1-E366-4469-835E-804BEA7EF9E9}" srcOrd="1" destOrd="0" parTransId="{C92A0CD3-241E-488E-AA57-8B6574467E0F}" sibTransId="{91D0DF27-8817-4650-BB53-D21704C7C991}"/>
    <dgm:cxn modelId="{FB36DB1D-2A5C-47E1-BD93-3DE6146AF4C7}" srcId="{5F09BBEB-BCC3-459F-84E8-C3F45965DA09}" destId="{B3D0AF40-C106-41ED-9E6C-46321A70CAAB}" srcOrd="7" destOrd="0" parTransId="{D2A261CD-44A6-4CD9-BD0E-FC21222598C3}" sibTransId="{D2A85F37-7CC7-4104-AF88-FFA6A57188E0}"/>
    <dgm:cxn modelId="{73D5EB2C-4DDA-469C-82CB-EB293E5A841C}" type="presOf" srcId="{A37E9E2F-421E-4906-9EA5-4D3D0039337B}" destId="{FAC99AAC-4206-4C8D-B75A-31CCAA24369E}" srcOrd="0" destOrd="0" presId="urn:microsoft.com/office/officeart/2005/8/layout/hChevron3"/>
    <dgm:cxn modelId="{BFE78C36-D48C-4ADF-B40F-FDA60F1CAFF1}" type="presOf" srcId="{308794B5-59A1-4F06-A19F-19B515FA2D2C}" destId="{0D14839E-F7AA-41F1-8F21-377D4525EA32}" srcOrd="0" destOrd="0" presId="urn:microsoft.com/office/officeart/2005/8/layout/hChevron3"/>
    <dgm:cxn modelId="{2287F43C-9B45-4B41-8BD5-84AFAA7B2870}" srcId="{5F09BBEB-BCC3-459F-84E8-C3F45965DA09}" destId="{C6B3F507-2D2A-4DC6-AC05-4B9C92757C16}" srcOrd="9" destOrd="0" parTransId="{DE8F853C-71D4-4D0D-9A17-D8B374D814FD}" sibTransId="{D0C75D6A-40FE-4179-9416-F5DC0E331C7F}"/>
    <dgm:cxn modelId="{A2117A40-75DD-4F93-9B85-0E6C330838BF}" srcId="{5F09BBEB-BCC3-459F-84E8-C3F45965DA09}" destId="{EA542168-3CF6-4E7D-BE36-F1874E1A6786}" srcOrd="5" destOrd="0" parTransId="{0F2809F5-F901-42CC-9BCD-A0A9B96DFE1C}" sibTransId="{EFA7C1C5-FEE2-496F-9C35-D5D7E067AD72}"/>
    <dgm:cxn modelId="{22FE0D61-FA1A-4575-9EA7-0847D35FB40F}" type="presOf" srcId="{244AB1FE-452B-48D8-8768-3BA11F7CDA2F}" destId="{2297D37F-06A9-4D3B-9E7D-1BFE806033E6}" srcOrd="0" destOrd="0" presId="urn:microsoft.com/office/officeart/2005/8/layout/hChevron3"/>
    <dgm:cxn modelId="{19255C41-D653-4AA7-B5D5-F563627BA0CF}" srcId="{5F09BBEB-BCC3-459F-84E8-C3F45965DA09}" destId="{DB686BFB-198E-4000-A208-50B01C895C5D}" srcOrd="0" destOrd="0" parTransId="{308DC400-404E-42BD-BE70-9AF5501A8294}" sibTransId="{71D97F50-AB3B-4D05-8099-47186F345C43}"/>
    <dgm:cxn modelId="{F9DECC50-2A9D-4CCE-A94B-38F80FBC12B2}" type="presOf" srcId="{DB686BFB-198E-4000-A208-50B01C895C5D}" destId="{E758B83E-CFEC-43EC-AF0D-E790A3C16319}" srcOrd="0" destOrd="0" presId="urn:microsoft.com/office/officeart/2005/8/layout/hChevron3"/>
    <dgm:cxn modelId="{026B8171-5599-4C67-B63E-7389ED643B06}" srcId="{5F09BBEB-BCC3-459F-84E8-C3F45965DA09}" destId="{C2993C98-6A6F-4187-B0C4-7E93C9DD87FA}" srcOrd="6" destOrd="0" parTransId="{9CBC2D13-0312-49BE-A158-5EA5D3005C80}" sibTransId="{BE740BCE-24A9-4674-AEDF-D364E86B6D22}"/>
    <dgm:cxn modelId="{2CB7CF59-FCF1-4ACB-AC42-B02F3DA6E02C}" srcId="{5F09BBEB-BCC3-459F-84E8-C3F45965DA09}" destId="{244AB1FE-452B-48D8-8768-3BA11F7CDA2F}" srcOrd="8" destOrd="0" parTransId="{3AB6269D-FE5C-4FEF-9E3C-39AACC7EF09F}" sibTransId="{102BEBE8-1030-474E-80E3-A8F484E4F6D3}"/>
    <dgm:cxn modelId="{6023F593-FCF4-43E2-85CE-AD10542CEE88}" type="presOf" srcId="{C6B3F507-2D2A-4DC6-AC05-4B9C92757C16}" destId="{8BF2E94A-9EDA-4D1B-B447-B22DF4954F6F}" srcOrd="0" destOrd="0" presId="urn:microsoft.com/office/officeart/2005/8/layout/hChevron3"/>
    <dgm:cxn modelId="{766E6C9B-742C-442E-8172-8BF8D40AD199}" type="presOf" srcId="{79B60177-2217-4C3E-BFB2-A7F514C11442}" destId="{AC1BF143-926D-45ED-A5A3-43D05A5B5E05}" srcOrd="0" destOrd="0" presId="urn:microsoft.com/office/officeart/2005/8/layout/hChevron3"/>
    <dgm:cxn modelId="{9F73CDB9-E2B2-4C3B-BD07-14E9AE766AC9}" srcId="{5F09BBEB-BCC3-459F-84E8-C3F45965DA09}" destId="{79B60177-2217-4C3E-BFB2-A7F514C11442}" srcOrd="3" destOrd="0" parTransId="{C0EE4951-222A-4A3C-884C-462AB7405FF1}" sibTransId="{BB68D18C-C2C2-4B5D-A338-F21AC8AC055A}"/>
    <dgm:cxn modelId="{BFE1E3BA-C15C-41DC-AAD8-92F9635D6BF2}" srcId="{5F09BBEB-BCC3-459F-84E8-C3F45965DA09}" destId="{A37E9E2F-421E-4906-9EA5-4D3D0039337B}" srcOrd="4" destOrd="0" parTransId="{CE6AC0C5-5287-487A-AA5B-84A420F4BCCF}" sibTransId="{FB9F0D44-060C-450B-95E1-4D0DFC8E216B}"/>
    <dgm:cxn modelId="{972F8AC6-E642-4970-B4CF-B938DF3C94A2}" type="presOf" srcId="{28FF80C1-E366-4469-835E-804BEA7EF9E9}" destId="{57F52E1E-2C2F-47A9-A6D9-CB7537BF727C}" srcOrd="0" destOrd="0" presId="urn:microsoft.com/office/officeart/2005/8/layout/hChevron3"/>
    <dgm:cxn modelId="{178236CB-EF09-4173-8EBE-FC737AED0D85}" type="presOf" srcId="{EA542168-3CF6-4E7D-BE36-F1874E1A6786}" destId="{EECB13DF-38FD-4199-93B9-448461C16185}" srcOrd="0" destOrd="0" presId="urn:microsoft.com/office/officeart/2005/8/layout/hChevron3"/>
    <dgm:cxn modelId="{6C1C96E4-80FF-48EC-9B74-7A88917D15EF}" type="presOf" srcId="{B3D0AF40-C106-41ED-9E6C-46321A70CAAB}" destId="{E8BBFEEE-B21B-4C1D-846B-B89F01B73A44}" srcOrd="0" destOrd="0" presId="urn:microsoft.com/office/officeart/2005/8/layout/hChevron3"/>
    <dgm:cxn modelId="{55A360EF-56B4-4E1B-B6DC-788CB3D5C2D3}" type="presOf" srcId="{5F09BBEB-BCC3-459F-84E8-C3F45965DA09}" destId="{5A8139B6-91BE-4CD6-9A26-1E8EB65606D1}" srcOrd="0" destOrd="0" presId="urn:microsoft.com/office/officeart/2005/8/layout/hChevron3"/>
    <dgm:cxn modelId="{F7229797-FA27-4730-8A33-B779CCDC5C3C}" type="presParOf" srcId="{5A8139B6-91BE-4CD6-9A26-1E8EB65606D1}" destId="{E758B83E-CFEC-43EC-AF0D-E790A3C16319}" srcOrd="0" destOrd="0" presId="urn:microsoft.com/office/officeart/2005/8/layout/hChevron3"/>
    <dgm:cxn modelId="{797CD30E-B045-4A2A-A262-5FA3F2383F0E}" type="presParOf" srcId="{5A8139B6-91BE-4CD6-9A26-1E8EB65606D1}" destId="{8B0AB190-C0DA-4BC9-AB8E-FC2ED0D56206}" srcOrd="1" destOrd="0" presId="urn:microsoft.com/office/officeart/2005/8/layout/hChevron3"/>
    <dgm:cxn modelId="{8350EBD2-82F9-43A1-8271-7B3C2601C7FF}" type="presParOf" srcId="{5A8139B6-91BE-4CD6-9A26-1E8EB65606D1}" destId="{57F52E1E-2C2F-47A9-A6D9-CB7537BF727C}" srcOrd="2" destOrd="0" presId="urn:microsoft.com/office/officeart/2005/8/layout/hChevron3"/>
    <dgm:cxn modelId="{065A1536-B084-4DE2-9756-A8BD56653EAA}" type="presParOf" srcId="{5A8139B6-91BE-4CD6-9A26-1E8EB65606D1}" destId="{23AB88B7-C798-42E5-B3C5-6FD5532695B1}" srcOrd="3" destOrd="0" presId="urn:microsoft.com/office/officeart/2005/8/layout/hChevron3"/>
    <dgm:cxn modelId="{900BF689-8BEA-4E5F-86F5-16B928223239}" type="presParOf" srcId="{5A8139B6-91BE-4CD6-9A26-1E8EB65606D1}" destId="{0D14839E-F7AA-41F1-8F21-377D4525EA32}" srcOrd="4" destOrd="0" presId="urn:microsoft.com/office/officeart/2005/8/layout/hChevron3"/>
    <dgm:cxn modelId="{FDD11ECE-9527-4A81-A422-BB7C9D8AFA6A}" type="presParOf" srcId="{5A8139B6-91BE-4CD6-9A26-1E8EB65606D1}" destId="{6FCAC6DE-3B61-4FC5-BCC0-E4629EF4789A}" srcOrd="5" destOrd="0" presId="urn:microsoft.com/office/officeart/2005/8/layout/hChevron3"/>
    <dgm:cxn modelId="{3C10773A-398D-41D7-B997-F0F842EF9BCD}" type="presParOf" srcId="{5A8139B6-91BE-4CD6-9A26-1E8EB65606D1}" destId="{AC1BF143-926D-45ED-A5A3-43D05A5B5E05}" srcOrd="6" destOrd="0" presId="urn:microsoft.com/office/officeart/2005/8/layout/hChevron3"/>
    <dgm:cxn modelId="{CC76DA5B-FB4F-4410-8237-D6E32C8F3069}" type="presParOf" srcId="{5A8139B6-91BE-4CD6-9A26-1E8EB65606D1}" destId="{0DE0C2D5-A75D-4380-B806-1FCE20FD6100}" srcOrd="7" destOrd="0" presId="urn:microsoft.com/office/officeart/2005/8/layout/hChevron3"/>
    <dgm:cxn modelId="{F2E2E515-6858-4F8B-B7EC-AA286C5DFF3C}" type="presParOf" srcId="{5A8139B6-91BE-4CD6-9A26-1E8EB65606D1}" destId="{FAC99AAC-4206-4C8D-B75A-31CCAA24369E}" srcOrd="8" destOrd="0" presId="urn:microsoft.com/office/officeart/2005/8/layout/hChevron3"/>
    <dgm:cxn modelId="{7A259C44-7F18-419D-B25D-87D26844FD0A}" type="presParOf" srcId="{5A8139B6-91BE-4CD6-9A26-1E8EB65606D1}" destId="{C7EB8198-0BBC-4800-A04C-5A838FD89335}" srcOrd="9" destOrd="0" presId="urn:microsoft.com/office/officeart/2005/8/layout/hChevron3"/>
    <dgm:cxn modelId="{1DB9D684-FDF1-4485-8F05-243A582343B3}" type="presParOf" srcId="{5A8139B6-91BE-4CD6-9A26-1E8EB65606D1}" destId="{EECB13DF-38FD-4199-93B9-448461C16185}" srcOrd="10" destOrd="0" presId="urn:microsoft.com/office/officeart/2005/8/layout/hChevron3"/>
    <dgm:cxn modelId="{F9BC0876-B7B1-4E36-866A-621301818E4D}" type="presParOf" srcId="{5A8139B6-91BE-4CD6-9A26-1E8EB65606D1}" destId="{E374F486-FB19-41B2-A0F0-48FB5502A237}" srcOrd="11" destOrd="0" presId="urn:microsoft.com/office/officeart/2005/8/layout/hChevron3"/>
    <dgm:cxn modelId="{68901253-C80F-4309-BEEB-846BF429E040}" type="presParOf" srcId="{5A8139B6-91BE-4CD6-9A26-1E8EB65606D1}" destId="{1C920BC9-2570-439E-8481-8C6F1CB98E73}" srcOrd="12" destOrd="0" presId="urn:microsoft.com/office/officeart/2005/8/layout/hChevron3"/>
    <dgm:cxn modelId="{5EB9676F-FACE-4045-893B-ED5656605287}" type="presParOf" srcId="{5A8139B6-91BE-4CD6-9A26-1E8EB65606D1}" destId="{83CF4DA9-86E0-4AE4-94AE-6C72C4A1D2F8}" srcOrd="13" destOrd="0" presId="urn:microsoft.com/office/officeart/2005/8/layout/hChevron3"/>
    <dgm:cxn modelId="{BC6C1E01-C648-40BB-BFCB-9AB904C2A097}" type="presParOf" srcId="{5A8139B6-91BE-4CD6-9A26-1E8EB65606D1}" destId="{E8BBFEEE-B21B-4C1D-846B-B89F01B73A44}" srcOrd="14" destOrd="0" presId="urn:microsoft.com/office/officeart/2005/8/layout/hChevron3"/>
    <dgm:cxn modelId="{0B6B22D8-7F48-4240-8E4C-779E49ED37CA}" type="presParOf" srcId="{5A8139B6-91BE-4CD6-9A26-1E8EB65606D1}" destId="{79E1544A-52D1-4DF3-B1EF-1D7B51F38FFB}" srcOrd="15" destOrd="0" presId="urn:microsoft.com/office/officeart/2005/8/layout/hChevron3"/>
    <dgm:cxn modelId="{3EC2B338-A00C-4A6E-975E-8084F004117A}" type="presParOf" srcId="{5A8139B6-91BE-4CD6-9A26-1E8EB65606D1}" destId="{2297D37F-06A9-4D3B-9E7D-1BFE806033E6}" srcOrd="16" destOrd="0" presId="urn:microsoft.com/office/officeart/2005/8/layout/hChevron3"/>
    <dgm:cxn modelId="{430BCF5F-58E7-4BD0-88BD-64AD6818FB00}" type="presParOf" srcId="{5A8139B6-91BE-4CD6-9A26-1E8EB65606D1}" destId="{860E36E1-9B69-4A8E-B7F1-1A203219B22F}" srcOrd="17" destOrd="0" presId="urn:microsoft.com/office/officeart/2005/8/layout/hChevron3"/>
    <dgm:cxn modelId="{2455F435-7A6F-438C-8A67-346DE979ECE7}" type="presParOf" srcId="{5A8139B6-91BE-4CD6-9A26-1E8EB65606D1}" destId="{8BF2E94A-9EDA-4D1B-B447-B22DF4954F6F}" srcOrd="18" destOrd="0" presId="urn:microsoft.com/office/officeart/2005/8/layout/hChevron3"/>
  </dgm:cxnLst>
  <dgm:bg>
    <a:noFill/>
  </dgm:bg>
  <dgm:whole/>
  <dgm:extLst>
    <a:ext uri="http://schemas.microsoft.com/office/drawing/2008/diagram">
      <dsp:dataModelExt xmlns:dsp="http://schemas.microsoft.com/office/drawing/2008/diagram" relId="rId12"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5F09BBEB-BCC3-459F-84E8-C3F45965DA09}" type="doc">
      <dgm:prSet loTypeId="urn:microsoft.com/office/officeart/2005/8/layout/hChevron3" loCatId="process" qsTypeId="urn:microsoft.com/office/officeart/2005/8/quickstyle/simple1" qsCatId="simple" csTypeId="urn:microsoft.com/office/officeart/2005/8/colors/accent1_2" csCatId="accent1" phldr="1"/>
      <dgm:spPr/>
    </dgm:pt>
    <dgm:pt modelId="{D9A46A24-1A39-40C4-BDEF-CFA7810A2AAE}">
      <dgm:prSet custT="1"/>
      <dgm:spPr/>
      <dgm:t>
        <a:bodyPr/>
        <a:lstStyle/>
        <a:p>
          <a:r>
            <a:rPr lang="en-US" sz="1800" dirty="0"/>
            <a:t>Continuous Integration</a:t>
          </a:r>
        </a:p>
      </dgm:t>
    </dgm:pt>
    <dgm:pt modelId="{66FFC086-41A2-4587-A80D-C476FEB0A87D}" type="parTrans" cxnId="{D4CE26BC-77E7-45C7-A7B2-153FEC32CCF0}">
      <dgm:prSet/>
      <dgm:spPr/>
      <dgm:t>
        <a:bodyPr/>
        <a:lstStyle/>
        <a:p>
          <a:endParaRPr lang="en-US" sz="1200"/>
        </a:p>
      </dgm:t>
    </dgm:pt>
    <dgm:pt modelId="{F798BDF2-5A93-4BDF-814C-A30D18340DBF}" type="sibTrans" cxnId="{D4CE26BC-77E7-45C7-A7B2-153FEC32CCF0}">
      <dgm:prSet/>
      <dgm:spPr/>
      <dgm:t>
        <a:bodyPr/>
        <a:lstStyle/>
        <a:p>
          <a:endParaRPr lang="en-US" sz="1200"/>
        </a:p>
      </dgm:t>
    </dgm:pt>
    <dgm:pt modelId="{34418343-4F07-404D-BE38-92B2D24B7E05}">
      <dgm:prSet custT="1"/>
      <dgm:spPr/>
      <dgm:t>
        <a:bodyPr/>
        <a:lstStyle/>
        <a:p>
          <a:r>
            <a:rPr lang="en-US" sz="1800" dirty="0"/>
            <a:t>Continuous Delivery</a:t>
          </a:r>
        </a:p>
      </dgm:t>
    </dgm:pt>
    <dgm:pt modelId="{A7A8E09D-662C-45E2-9798-75DFCF5AD338}" type="parTrans" cxnId="{72105B5F-CE7A-4453-8ABE-41BD72E534BE}">
      <dgm:prSet/>
      <dgm:spPr/>
      <dgm:t>
        <a:bodyPr/>
        <a:lstStyle/>
        <a:p>
          <a:endParaRPr lang="en-US" sz="1200"/>
        </a:p>
      </dgm:t>
    </dgm:pt>
    <dgm:pt modelId="{492097AD-6096-4A56-ACAB-319019CDAEEB}" type="sibTrans" cxnId="{72105B5F-CE7A-4453-8ABE-41BD72E534BE}">
      <dgm:prSet/>
      <dgm:spPr/>
      <dgm:t>
        <a:bodyPr/>
        <a:lstStyle/>
        <a:p>
          <a:endParaRPr lang="en-US" sz="1200"/>
        </a:p>
      </dgm:t>
    </dgm:pt>
    <dgm:pt modelId="{5A8139B6-91BE-4CD6-9A26-1E8EB65606D1}" type="pres">
      <dgm:prSet presAssocID="{5F09BBEB-BCC3-459F-84E8-C3F45965DA09}" presName="Name0" presStyleCnt="0">
        <dgm:presLayoutVars>
          <dgm:dir/>
          <dgm:resizeHandles val="exact"/>
        </dgm:presLayoutVars>
      </dgm:prSet>
      <dgm:spPr/>
    </dgm:pt>
    <dgm:pt modelId="{100BB1A8-A75B-46B4-A88C-52BAAA4EA6C2}" type="pres">
      <dgm:prSet presAssocID="{D9A46A24-1A39-40C4-BDEF-CFA7810A2AAE}" presName="parTxOnly" presStyleLbl="node1" presStyleIdx="0" presStyleCnt="2" custScaleX="58075" custLinFactNeighborX="-40788" custLinFactNeighborY="7816">
        <dgm:presLayoutVars>
          <dgm:bulletEnabled val="1"/>
        </dgm:presLayoutVars>
      </dgm:prSet>
      <dgm:spPr/>
    </dgm:pt>
    <dgm:pt modelId="{F4229669-D6F8-4B59-A4CD-D5346B3C39F1}" type="pres">
      <dgm:prSet presAssocID="{F798BDF2-5A93-4BDF-814C-A30D18340DBF}" presName="parSpace" presStyleCnt="0"/>
      <dgm:spPr/>
    </dgm:pt>
    <dgm:pt modelId="{C41A44A8-F315-467A-BC7A-DF5D204D36AC}" type="pres">
      <dgm:prSet presAssocID="{34418343-4F07-404D-BE38-92B2D24B7E05}" presName="parTxOnly" presStyleLbl="node1" presStyleIdx="1" presStyleCnt="2" custScaleX="45034" custLinFactNeighborX="35969" custLinFactNeighborY="-3574">
        <dgm:presLayoutVars>
          <dgm:bulletEnabled val="1"/>
        </dgm:presLayoutVars>
      </dgm:prSet>
      <dgm:spPr/>
    </dgm:pt>
  </dgm:ptLst>
  <dgm:cxnLst>
    <dgm:cxn modelId="{3F1E4133-2A1E-4235-9328-E58716960D9C}" type="presOf" srcId="{D9A46A24-1A39-40C4-BDEF-CFA7810A2AAE}" destId="{100BB1A8-A75B-46B4-A88C-52BAAA4EA6C2}" srcOrd="0" destOrd="0" presId="urn:microsoft.com/office/officeart/2005/8/layout/hChevron3"/>
    <dgm:cxn modelId="{72105B5F-CE7A-4453-8ABE-41BD72E534BE}" srcId="{5F09BBEB-BCC3-459F-84E8-C3F45965DA09}" destId="{34418343-4F07-404D-BE38-92B2D24B7E05}" srcOrd="1" destOrd="0" parTransId="{A7A8E09D-662C-45E2-9798-75DFCF5AD338}" sibTransId="{492097AD-6096-4A56-ACAB-319019CDAEEB}"/>
    <dgm:cxn modelId="{7E9AAF4F-F86E-4539-8342-B42AC99F5AEA}" type="presOf" srcId="{34418343-4F07-404D-BE38-92B2D24B7E05}" destId="{C41A44A8-F315-467A-BC7A-DF5D204D36AC}" srcOrd="0" destOrd="0" presId="urn:microsoft.com/office/officeart/2005/8/layout/hChevron3"/>
    <dgm:cxn modelId="{D4CE26BC-77E7-45C7-A7B2-153FEC32CCF0}" srcId="{5F09BBEB-BCC3-459F-84E8-C3F45965DA09}" destId="{D9A46A24-1A39-40C4-BDEF-CFA7810A2AAE}" srcOrd="0" destOrd="0" parTransId="{66FFC086-41A2-4587-A80D-C476FEB0A87D}" sibTransId="{F798BDF2-5A93-4BDF-814C-A30D18340DBF}"/>
    <dgm:cxn modelId="{55A360EF-56B4-4E1B-B6DC-788CB3D5C2D3}" type="presOf" srcId="{5F09BBEB-BCC3-459F-84E8-C3F45965DA09}" destId="{5A8139B6-91BE-4CD6-9A26-1E8EB65606D1}" srcOrd="0" destOrd="0" presId="urn:microsoft.com/office/officeart/2005/8/layout/hChevron3"/>
    <dgm:cxn modelId="{DDC0E7FD-96EA-4482-B703-BF8FE526B224}" type="presParOf" srcId="{5A8139B6-91BE-4CD6-9A26-1E8EB65606D1}" destId="{100BB1A8-A75B-46B4-A88C-52BAAA4EA6C2}" srcOrd="0" destOrd="0" presId="urn:microsoft.com/office/officeart/2005/8/layout/hChevron3"/>
    <dgm:cxn modelId="{8A7AB3D9-74DF-4991-94ED-11FEBCFC64DB}" type="presParOf" srcId="{5A8139B6-91BE-4CD6-9A26-1E8EB65606D1}" destId="{F4229669-D6F8-4B59-A4CD-D5346B3C39F1}" srcOrd="1" destOrd="0" presId="urn:microsoft.com/office/officeart/2005/8/layout/hChevron3"/>
    <dgm:cxn modelId="{6B0B2E57-CF46-45C3-B806-CBA9927886B9}" type="presParOf" srcId="{5A8139B6-91BE-4CD6-9A26-1E8EB65606D1}" destId="{C41A44A8-F315-467A-BC7A-DF5D204D36AC}" srcOrd="2" destOrd="0" presId="urn:microsoft.com/office/officeart/2005/8/layout/hChevron3"/>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5F09BBEB-BCC3-459F-84E8-C3F45965DA09}" type="doc">
      <dgm:prSet loTypeId="urn:microsoft.com/office/officeart/2005/8/layout/hChevron3" loCatId="process" qsTypeId="urn:microsoft.com/office/officeart/2005/8/quickstyle/simple1" qsCatId="simple" csTypeId="urn:microsoft.com/office/officeart/2005/8/colors/accent1_2" csCatId="accent1" phldr="1"/>
      <dgm:spPr/>
    </dgm:pt>
    <dgm:pt modelId="{DB686BFB-198E-4000-A208-50B01C895C5D}">
      <dgm:prSet phldrT="[Text]"/>
      <dgm:spPr>
        <a:solidFill>
          <a:schemeClr val="bg2"/>
        </a:solidFill>
      </dgm:spPr>
      <dgm:t>
        <a:bodyPr/>
        <a:lstStyle/>
        <a:p>
          <a:r>
            <a:rPr lang="en-US" dirty="0"/>
            <a:t>Plan</a:t>
          </a:r>
        </a:p>
      </dgm:t>
    </dgm:pt>
    <dgm:pt modelId="{308DC400-404E-42BD-BE70-9AF5501A8294}" type="parTrans" cxnId="{19255C41-D653-4AA7-B5D5-F563627BA0CF}">
      <dgm:prSet/>
      <dgm:spPr/>
      <dgm:t>
        <a:bodyPr/>
        <a:lstStyle/>
        <a:p>
          <a:endParaRPr lang="en-US"/>
        </a:p>
      </dgm:t>
    </dgm:pt>
    <dgm:pt modelId="{71D97F50-AB3B-4D05-8099-47186F345C43}" type="sibTrans" cxnId="{19255C41-D653-4AA7-B5D5-F563627BA0CF}">
      <dgm:prSet/>
      <dgm:spPr/>
      <dgm:t>
        <a:bodyPr/>
        <a:lstStyle/>
        <a:p>
          <a:endParaRPr lang="en-US"/>
        </a:p>
      </dgm:t>
    </dgm:pt>
    <dgm:pt modelId="{28FF80C1-E366-4469-835E-804BEA7EF9E9}">
      <dgm:prSet phldrT="[Text]"/>
      <dgm:spPr>
        <a:solidFill>
          <a:schemeClr val="bg2"/>
        </a:solidFill>
      </dgm:spPr>
      <dgm:t>
        <a:bodyPr/>
        <a:lstStyle/>
        <a:p>
          <a:r>
            <a:rPr lang="en-US" dirty="0"/>
            <a:t>Code</a:t>
          </a:r>
        </a:p>
      </dgm:t>
    </dgm:pt>
    <dgm:pt modelId="{C92A0CD3-241E-488E-AA57-8B6574467E0F}" type="parTrans" cxnId="{CDCFC11C-CFCD-4E79-A72B-8D05C57DADFF}">
      <dgm:prSet/>
      <dgm:spPr/>
      <dgm:t>
        <a:bodyPr/>
        <a:lstStyle/>
        <a:p>
          <a:endParaRPr lang="en-US"/>
        </a:p>
      </dgm:t>
    </dgm:pt>
    <dgm:pt modelId="{91D0DF27-8817-4650-BB53-D21704C7C991}" type="sibTrans" cxnId="{CDCFC11C-CFCD-4E79-A72B-8D05C57DADFF}">
      <dgm:prSet/>
      <dgm:spPr/>
      <dgm:t>
        <a:bodyPr/>
        <a:lstStyle/>
        <a:p>
          <a:endParaRPr lang="en-US"/>
        </a:p>
      </dgm:t>
    </dgm:pt>
    <dgm:pt modelId="{308794B5-59A1-4F06-A19F-19B515FA2D2C}">
      <dgm:prSet phldrT="[Text]"/>
      <dgm:spPr>
        <a:solidFill>
          <a:schemeClr val="accent1"/>
        </a:solidFill>
      </dgm:spPr>
      <dgm:t>
        <a:bodyPr/>
        <a:lstStyle/>
        <a:p>
          <a:r>
            <a:rPr lang="en-US" dirty="0"/>
            <a:t>Build</a:t>
          </a:r>
        </a:p>
      </dgm:t>
    </dgm:pt>
    <dgm:pt modelId="{40A90EE6-40C6-4C1A-975D-8DECA9BC3FD2}" type="parTrans" cxnId="{8635D613-FF8F-4F3F-8F79-7C6A9DD574D3}">
      <dgm:prSet/>
      <dgm:spPr/>
      <dgm:t>
        <a:bodyPr/>
        <a:lstStyle/>
        <a:p>
          <a:endParaRPr lang="en-US"/>
        </a:p>
      </dgm:t>
    </dgm:pt>
    <dgm:pt modelId="{2A857EBE-287F-47BF-BC3B-E1E5F39FA4B7}" type="sibTrans" cxnId="{8635D613-FF8F-4F3F-8F79-7C6A9DD574D3}">
      <dgm:prSet/>
      <dgm:spPr/>
      <dgm:t>
        <a:bodyPr/>
        <a:lstStyle/>
        <a:p>
          <a:endParaRPr lang="en-US"/>
        </a:p>
      </dgm:t>
    </dgm:pt>
    <dgm:pt modelId="{79B60177-2217-4C3E-BFB2-A7F514C11442}">
      <dgm:prSet phldrT="[Text]"/>
      <dgm:spPr>
        <a:solidFill>
          <a:schemeClr val="bg2"/>
        </a:solidFill>
      </dgm:spPr>
      <dgm:t>
        <a:bodyPr/>
        <a:lstStyle/>
        <a:p>
          <a:r>
            <a:rPr lang="en-US" dirty="0"/>
            <a:t>Unit Tests</a:t>
          </a:r>
        </a:p>
      </dgm:t>
    </dgm:pt>
    <dgm:pt modelId="{C0EE4951-222A-4A3C-884C-462AB7405FF1}" type="parTrans" cxnId="{9F73CDB9-E2B2-4C3B-BD07-14E9AE766AC9}">
      <dgm:prSet/>
      <dgm:spPr/>
      <dgm:t>
        <a:bodyPr/>
        <a:lstStyle/>
        <a:p>
          <a:endParaRPr lang="en-US"/>
        </a:p>
      </dgm:t>
    </dgm:pt>
    <dgm:pt modelId="{BB68D18C-C2C2-4B5D-A338-F21AC8AC055A}" type="sibTrans" cxnId="{9F73CDB9-E2B2-4C3B-BD07-14E9AE766AC9}">
      <dgm:prSet/>
      <dgm:spPr/>
      <dgm:t>
        <a:bodyPr/>
        <a:lstStyle/>
        <a:p>
          <a:endParaRPr lang="en-US"/>
        </a:p>
      </dgm:t>
    </dgm:pt>
    <dgm:pt modelId="{EA542168-3CF6-4E7D-BE36-F1874E1A6786}">
      <dgm:prSet phldrT="[Text]"/>
      <dgm:spPr>
        <a:solidFill>
          <a:schemeClr val="bg2"/>
        </a:solidFill>
      </dgm:spPr>
      <dgm:t>
        <a:bodyPr/>
        <a:lstStyle/>
        <a:p>
          <a:r>
            <a:rPr lang="en-US" dirty="0"/>
            <a:t>Artifact publish</a:t>
          </a:r>
        </a:p>
      </dgm:t>
    </dgm:pt>
    <dgm:pt modelId="{0F2809F5-F901-42CC-9BCD-A0A9B96DFE1C}" type="parTrans" cxnId="{A2117A40-75DD-4F93-9B85-0E6C330838BF}">
      <dgm:prSet/>
      <dgm:spPr/>
      <dgm:t>
        <a:bodyPr/>
        <a:lstStyle/>
        <a:p>
          <a:endParaRPr lang="en-US"/>
        </a:p>
      </dgm:t>
    </dgm:pt>
    <dgm:pt modelId="{EFA7C1C5-FEE2-496F-9C35-D5D7E067AD72}" type="sibTrans" cxnId="{A2117A40-75DD-4F93-9B85-0E6C330838BF}">
      <dgm:prSet/>
      <dgm:spPr/>
      <dgm:t>
        <a:bodyPr/>
        <a:lstStyle/>
        <a:p>
          <a:endParaRPr lang="en-US"/>
        </a:p>
      </dgm:t>
    </dgm:pt>
    <dgm:pt modelId="{C2993C98-6A6F-4187-B0C4-7E93C9DD87FA}">
      <dgm:prSet phldrT="[Text]"/>
      <dgm:spPr>
        <a:solidFill>
          <a:schemeClr val="bg2"/>
        </a:solidFill>
      </dgm:spPr>
      <dgm:t>
        <a:bodyPr/>
        <a:lstStyle/>
        <a:p>
          <a:r>
            <a:rPr lang="en-US" dirty="0"/>
            <a:t>Deploy</a:t>
          </a:r>
        </a:p>
      </dgm:t>
    </dgm:pt>
    <dgm:pt modelId="{9CBC2D13-0312-49BE-A158-5EA5D3005C80}" type="parTrans" cxnId="{026B8171-5599-4C67-B63E-7389ED643B06}">
      <dgm:prSet/>
      <dgm:spPr/>
      <dgm:t>
        <a:bodyPr/>
        <a:lstStyle/>
        <a:p>
          <a:endParaRPr lang="en-US"/>
        </a:p>
      </dgm:t>
    </dgm:pt>
    <dgm:pt modelId="{BE740BCE-24A9-4674-AEDF-D364E86B6D22}" type="sibTrans" cxnId="{026B8171-5599-4C67-B63E-7389ED643B06}">
      <dgm:prSet/>
      <dgm:spPr/>
      <dgm:t>
        <a:bodyPr/>
        <a:lstStyle/>
        <a:p>
          <a:endParaRPr lang="en-US"/>
        </a:p>
      </dgm:t>
    </dgm:pt>
    <dgm:pt modelId="{B3D0AF40-C106-41ED-9E6C-46321A70CAAB}">
      <dgm:prSet phldrT="[Text]"/>
      <dgm:spPr>
        <a:solidFill>
          <a:schemeClr val="bg2"/>
        </a:solidFill>
      </dgm:spPr>
      <dgm:t>
        <a:bodyPr/>
        <a:lstStyle/>
        <a:p>
          <a:r>
            <a:rPr lang="en-US" dirty="0"/>
            <a:t>Integration Tests</a:t>
          </a:r>
        </a:p>
      </dgm:t>
    </dgm:pt>
    <dgm:pt modelId="{D2A261CD-44A6-4CD9-BD0E-FC21222598C3}" type="parTrans" cxnId="{FB36DB1D-2A5C-47E1-BD93-3DE6146AF4C7}">
      <dgm:prSet/>
      <dgm:spPr/>
      <dgm:t>
        <a:bodyPr/>
        <a:lstStyle/>
        <a:p>
          <a:endParaRPr lang="en-US"/>
        </a:p>
      </dgm:t>
    </dgm:pt>
    <dgm:pt modelId="{D2A85F37-7CC7-4104-AF88-FFA6A57188E0}" type="sibTrans" cxnId="{FB36DB1D-2A5C-47E1-BD93-3DE6146AF4C7}">
      <dgm:prSet/>
      <dgm:spPr/>
      <dgm:t>
        <a:bodyPr/>
        <a:lstStyle/>
        <a:p>
          <a:endParaRPr lang="en-US"/>
        </a:p>
      </dgm:t>
    </dgm:pt>
    <dgm:pt modelId="{A37E9E2F-421E-4906-9EA5-4D3D0039337B}">
      <dgm:prSet phldrT="[Text]"/>
      <dgm:spPr>
        <a:solidFill>
          <a:schemeClr val="bg2"/>
        </a:solidFill>
      </dgm:spPr>
      <dgm:t>
        <a:bodyPr/>
        <a:lstStyle/>
        <a:p>
          <a:r>
            <a:rPr lang="en-US" dirty="0"/>
            <a:t>Code Coverage and </a:t>
          </a:r>
          <a:r>
            <a:rPr lang="en-US" dirty="0" err="1"/>
            <a:t>Vulerabilities</a:t>
          </a:r>
          <a:endParaRPr lang="en-US" dirty="0"/>
        </a:p>
      </dgm:t>
    </dgm:pt>
    <dgm:pt modelId="{CE6AC0C5-5287-487A-AA5B-84A420F4BCCF}" type="parTrans" cxnId="{BFE1E3BA-C15C-41DC-AAD8-92F9635D6BF2}">
      <dgm:prSet/>
      <dgm:spPr/>
      <dgm:t>
        <a:bodyPr/>
        <a:lstStyle/>
        <a:p>
          <a:endParaRPr lang="en-US"/>
        </a:p>
      </dgm:t>
    </dgm:pt>
    <dgm:pt modelId="{FB9F0D44-060C-450B-95E1-4D0DFC8E216B}" type="sibTrans" cxnId="{BFE1E3BA-C15C-41DC-AAD8-92F9635D6BF2}">
      <dgm:prSet/>
      <dgm:spPr/>
      <dgm:t>
        <a:bodyPr/>
        <a:lstStyle/>
        <a:p>
          <a:endParaRPr lang="en-US"/>
        </a:p>
      </dgm:t>
    </dgm:pt>
    <dgm:pt modelId="{244AB1FE-452B-48D8-8768-3BA11F7CDA2F}">
      <dgm:prSet phldrT="[Text]"/>
      <dgm:spPr>
        <a:solidFill>
          <a:schemeClr val="bg2"/>
        </a:solidFill>
      </dgm:spPr>
      <dgm:t>
        <a:bodyPr/>
        <a:lstStyle/>
        <a:p>
          <a:r>
            <a:rPr lang="en-US" dirty="0"/>
            <a:t>E2E Tests</a:t>
          </a:r>
        </a:p>
      </dgm:t>
    </dgm:pt>
    <dgm:pt modelId="{3AB6269D-FE5C-4FEF-9E3C-39AACC7EF09F}" type="parTrans" cxnId="{2CB7CF59-FCF1-4ACB-AC42-B02F3DA6E02C}">
      <dgm:prSet/>
      <dgm:spPr/>
      <dgm:t>
        <a:bodyPr/>
        <a:lstStyle/>
        <a:p>
          <a:endParaRPr lang="en-US"/>
        </a:p>
      </dgm:t>
    </dgm:pt>
    <dgm:pt modelId="{102BEBE8-1030-474E-80E3-A8F484E4F6D3}" type="sibTrans" cxnId="{2CB7CF59-FCF1-4ACB-AC42-B02F3DA6E02C}">
      <dgm:prSet/>
      <dgm:spPr/>
      <dgm:t>
        <a:bodyPr/>
        <a:lstStyle/>
        <a:p>
          <a:endParaRPr lang="en-US"/>
        </a:p>
      </dgm:t>
    </dgm:pt>
    <dgm:pt modelId="{C6B3F507-2D2A-4DC6-AC05-4B9C92757C16}">
      <dgm:prSet phldrT="[Text]"/>
      <dgm:spPr>
        <a:solidFill>
          <a:schemeClr val="bg2"/>
        </a:solidFill>
      </dgm:spPr>
      <dgm:t>
        <a:bodyPr/>
        <a:lstStyle/>
        <a:p>
          <a:r>
            <a:rPr lang="en-US" dirty="0"/>
            <a:t>Deploy and Release</a:t>
          </a:r>
        </a:p>
      </dgm:t>
    </dgm:pt>
    <dgm:pt modelId="{DE8F853C-71D4-4D0D-9A17-D8B374D814FD}" type="parTrans" cxnId="{2287F43C-9B45-4B41-8BD5-84AFAA7B2870}">
      <dgm:prSet/>
      <dgm:spPr/>
      <dgm:t>
        <a:bodyPr/>
        <a:lstStyle/>
        <a:p>
          <a:endParaRPr lang="en-US"/>
        </a:p>
      </dgm:t>
    </dgm:pt>
    <dgm:pt modelId="{D0C75D6A-40FE-4179-9416-F5DC0E331C7F}" type="sibTrans" cxnId="{2287F43C-9B45-4B41-8BD5-84AFAA7B2870}">
      <dgm:prSet/>
      <dgm:spPr/>
      <dgm:t>
        <a:bodyPr/>
        <a:lstStyle/>
        <a:p>
          <a:endParaRPr lang="en-US"/>
        </a:p>
      </dgm:t>
    </dgm:pt>
    <dgm:pt modelId="{5A8139B6-91BE-4CD6-9A26-1E8EB65606D1}" type="pres">
      <dgm:prSet presAssocID="{5F09BBEB-BCC3-459F-84E8-C3F45965DA09}" presName="Name0" presStyleCnt="0">
        <dgm:presLayoutVars>
          <dgm:dir/>
          <dgm:resizeHandles val="exact"/>
        </dgm:presLayoutVars>
      </dgm:prSet>
      <dgm:spPr/>
    </dgm:pt>
    <dgm:pt modelId="{E758B83E-CFEC-43EC-AF0D-E790A3C16319}" type="pres">
      <dgm:prSet presAssocID="{DB686BFB-198E-4000-A208-50B01C895C5D}" presName="parTxOnly" presStyleLbl="node1" presStyleIdx="0" presStyleCnt="10">
        <dgm:presLayoutVars>
          <dgm:bulletEnabled val="1"/>
        </dgm:presLayoutVars>
      </dgm:prSet>
      <dgm:spPr/>
    </dgm:pt>
    <dgm:pt modelId="{8B0AB190-C0DA-4BC9-AB8E-FC2ED0D56206}" type="pres">
      <dgm:prSet presAssocID="{71D97F50-AB3B-4D05-8099-47186F345C43}" presName="parSpace" presStyleCnt="0"/>
      <dgm:spPr/>
    </dgm:pt>
    <dgm:pt modelId="{57F52E1E-2C2F-47A9-A6D9-CB7537BF727C}" type="pres">
      <dgm:prSet presAssocID="{28FF80C1-E366-4469-835E-804BEA7EF9E9}" presName="parTxOnly" presStyleLbl="node1" presStyleIdx="1" presStyleCnt="10">
        <dgm:presLayoutVars>
          <dgm:bulletEnabled val="1"/>
        </dgm:presLayoutVars>
      </dgm:prSet>
      <dgm:spPr/>
    </dgm:pt>
    <dgm:pt modelId="{23AB88B7-C798-42E5-B3C5-6FD5532695B1}" type="pres">
      <dgm:prSet presAssocID="{91D0DF27-8817-4650-BB53-D21704C7C991}" presName="parSpace" presStyleCnt="0"/>
      <dgm:spPr/>
    </dgm:pt>
    <dgm:pt modelId="{0D14839E-F7AA-41F1-8F21-377D4525EA32}" type="pres">
      <dgm:prSet presAssocID="{308794B5-59A1-4F06-A19F-19B515FA2D2C}" presName="parTxOnly" presStyleLbl="node1" presStyleIdx="2" presStyleCnt="10">
        <dgm:presLayoutVars>
          <dgm:bulletEnabled val="1"/>
        </dgm:presLayoutVars>
      </dgm:prSet>
      <dgm:spPr/>
    </dgm:pt>
    <dgm:pt modelId="{6FCAC6DE-3B61-4FC5-BCC0-E4629EF4789A}" type="pres">
      <dgm:prSet presAssocID="{2A857EBE-287F-47BF-BC3B-E1E5F39FA4B7}" presName="parSpace" presStyleCnt="0"/>
      <dgm:spPr/>
    </dgm:pt>
    <dgm:pt modelId="{AC1BF143-926D-45ED-A5A3-43D05A5B5E05}" type="pres">
      <dgm:prSet presAssocID="{79B60177-2217-4C3E-BFB2-A7F514C11442}" presName="parTxOnly" presStyleLbl="node1" presStyleIdx="3" presStyleCnt="10">
        <dgm:presLayoutVars>
          <dgm:bulletEnabled val="1"/>
        </dgm:presLayoutVars>
      </dgm:prSet>
      <dgm:spPr/>
    </dgm:pt>
    <dgm:pt modelId="{0DE0C2D5-A75D-4380-B806-1FCE20FD6100}" type="pres">
      <dgm:prSet presAssocID="{BB68D18C-C2C2-4B5D-A338-F21AC8AC055A}" presName="parSpace" presStyleCnt="0"/>
      <dgm:spPr/>
    </dgm:pt>
    <dgm:pt modelId="{FAC99AAC-4206-4C8D-B75A-31CCAA24369E}" type="pres">
      <dgm:prSet presAssocID="{A37E9E2F-421E-4906-9EA5-4D3D0039337B}" presName="parTxOnly" presStyleLbl="node1" presStyleIdx="4" presStyleCnt="10">
        <dgm:presLayoutVars>
          <dgm:bulletEnabled val="1"/>
        </dgm:presLayoutVars>
      </dgm:prSet>
      <dgm:spPr/>
    </dgm:pt>
    <dgm:pt modelId="{C7EB8198-0BBC-4800-A04C-5A838FD89335}" type="pres">
      <dgm:prSet presAssocID="{FB9F0D44-060C-450B-95E1-4D0DFC8E216B}" presName="parSpace" presStyleCnt="0"/>
      <dgm:spPr/>
    </dgm:pt>
    <dgm:pt modelId="{EECB13DF-38FD-4199-93B9-448461C16185}" type="pres">
      <dgm:prSet presAssocID="{EA542168-3CF6-4E7D-BE36-F1874E1A6786}" presName="parTxOnly" presStyleLbl="node1" presStyleIdx="5" presStyleCnt="10">
        <dgm:presLayoutVars>
          <dgm:bulletEnabled val="1"/>
        </dgm:presLayoutVars>
      </dgm:prSet>
      <dgm:spPr/>
    </dgm:pt>
    <dgm:pt modelId="{E374F486-FB19-41B2-A0F0-48FB5502A237}" type="pres">
      <dgm:prSet presAssocID="{EFA7C1C5-FEE2-496F-9C35-D5D7E067AD72}" presName="parSpace" presStyleCnt="0"/>
      <dgm:spPr/>
    </dgm:pt>
    <dgm:pt modelId="{1C920BC9-2570-439E-8481-8C6F1CB98E73}" type="pres">
      <dgm:prSet presAssocID="{C2993C98-6A6F-4187-B0C4-7E93C9DD87FA}" presName="parTxOnly" presStyleLbl="node1" presStyleIdx="6" presStyleCnt="10">
        <dgm:presLayoutVars>
          <dgm:bulletEnabled val="1"/>
        </dgm:presLayoutVars>
      </dgm:prSet>
      <dgm:spPr/>
    </dgm:pt>
    <dgm:pt modelId="{83CF4DA9-86E0-4AE4-94AE-6C72C4A1D2F8}" type="pres">
      <dgm:prSet presAssocID="{BE740BCE-24A9-4674-AEDF-D364E86B6D22}" presName="parSpace" presStyleCnt="0"/>
      <dgm:spPr/>
    </dgm:pt>
    <dgm:pt modelId="{E8BBFEEE-B21B-4C1D-846B-B89F01B73A44}" type="pres">
      <dgm:prSet presAssocID="{B3D0AF40-C106-41ED-9E6C-46321A70CAAB}" presName="parTxOnly" presStyleLbl="node1" presStyleIdx="7" presStyleCnt="10">
        <dgm:presLayoutVars>
          <dgm:bulletEnabled val="1"/>
        </dgm:presLayoutVars>
      </dgm:prSet>
      <dgm:spPr/>
    </dgm:pt>
    <dgm:pt modelId="{79E1544A-52D1-4DF3-B1EF-1D7B51F38FFB}" type="pres">
      <dgm:prSet presAssocID="{D2A85F37-7CC7-4104-AF88-FFA6A57188E0}" presName="parSpace" presStyleCnt="0"/>
      <dgm:spPr/>
    </dgm:pt>
    <dgm:pt modelId="{2297D37F-06A9-4D3B-9E7D-1BFE806033E6}" type="pres">
      <dgm:prSet presAssocID="{244AB1FE-452B-48D8-8768-3BA11F7CDA2F}" presName="parTxOnly" presStyleLbl="node1" presStyleIdx="8" presStyleCnt="10">
        <dgm:presLayoutVars>
          <dgm:bulletEnabled val="1"/>
        </dgm:presLayoutVars>
      </dgm:prSet>
      <dgm:spPr/>
    </dgm:pt>
    <dgm:pt modelId="{860E36E1-9B69-4A8E-B7F1-1A203219B22F}" type="pres">
      <dgm:prSet presAssocID="{102BEBE8-1030-474E-80E3-A8F484E4F6D3}" presName="parSpace" presStyleCnt="0"/>
      <dgm:spPr/>
    </dgm:pt>
    <dgm:pt modelId="{8BF2E94A-9EDA-4D1B-B447-B22DF4954F6F}" type="pres">
      <dgm:prSet presAssocID="{C6B3F507-2D2A-4DC6-AC05-4B9C92757C16}" presName="parTxOnly" presStyleLbl="node1" presStyleIdx="9" presStyleCnt="10">
        <dgm:presLayoutVars>
          <dgm:bulletEnabled val="1"/>
        </dgm:presLayoutVars>
      </dgm:prSet>
      <dgm:spPr/>
    </dgm:pt>
  </dgm:ptLst>
  <dgm:cxnLst>
    <dgm:cxn modelId="{8635D613-FF8F-4F3F-8F79-7C6A9DD574D3}" srcId="{5F09BBEB-BCC3-459F-84E8-C3F45965DA09}" destId="{308794B5-59A1-4F06-A19F-19B515FA2D2C}" srcOrd="2" destOrd="0" parTransId="{40A90EE6-40C6-4C1A-975D-8DECA9BC3FD2}" sibTransId="{2A857EBE-287F-47BF-BC3B-E1E5F39FA4B7}"/>
    <dgm:cxn modelId="{7498D815-AE35-4CC1-87A5-4E163067D50B}" type="presOf" srcId="{C2993C98-6A6F-4187-B0C4-7E93C9DD87FA}" destId="{1C920BC9-2570-439E-8481-8C6F1CB98E73}" srcOrd="0" destOrd="0" presId="urn:microsoft.com/office/officeart/2005/8/layout/hChevron3"/>
    <dgm:cxn modelId="{CDCFC11C-CFCD-4E79-A72B-8D05C57DADFF}" srcId="{5F09BBEB-BCC3-459F-84E8-C3F45965DA09}" destId="{28FF80C1-E366-4469-835E-804BEA7EF9E9}" srcOrd="1" destOrd="0" parTransId="{C92A0CD3-241E-488E-AA57-8B6574467E0F}" sibTransId="{91D0DF27-8817-4650-BB53-D21704C7C991}"/>
    <dgm:cxn modelId="{FB36DB1D-2A5C-47E1-BD93-3DE6146AF4C7}" srcId="{5F09BBEB-BCC3-459F-84E8-C3F45965DA09}" destId="{B3D0AF40-C106-41ED-9E6C-46321A70CAAB}" srcOrd="7" destOrd="0" parTransId="{D2A261CD-44A6-4CD9-BD0E-FC21222598C3}" sibTransId="{D2A85F37-7CC7-4104-AF88-FFA6A57188E0}"/>
    <dgm:cxn modelId="{73D5EB2C-4DDA-469C-82CB-EB293E5A841C}" type="presOf" srcId="{A37E9E2F-421E-4906-9EA5-4D3D0039337B}" destId="{FAC99AAC-4206-4C8D-B75A-31CCAA24369E}" srcOrd="0" destOrd="0" presId="urn:microsoft.com/office/officeart/2005/8/layout/hChevron3"/>
    <dgm:cxn modelId="{BFE78C36-D48C-4ADF-B40F-FDA60F1CAFF1}" type="presOf" srcId="{308794B5-59A1-4F06-A19F-19B515FA2D2C}" destId="{0D14839E-F7AA-41F1-8F21-377D4525EA32}" srcOrd="0" destOrd="0" presId="urn:microsoft.com/office/officeart/2005/8/layout/hChevron3"/>
    <dgm:cxn modelId="{2287F43C-9B45-4B41-8BD5-84AFAA7B2870}" srcId="{5F09BBEB-BCC3-459F-84E8-C3F45965DA09}" destId="{C6B3F507-2D2A-4DC6-AC05-4B9C92757C16}" srcOrd="9" destOrd="0" parTransId="{DE8F853C-71D4-4D0D-9A17-D8B374D814FD}" sibTransId="{D0C75D6A-40FE-4179-9416-F5DC0E331C7F}"/>
    <dgm:cxn modelId="{A2117A40-75DD-4F93-9B85-0E6C330838BF}" srcId="{5F09BBEB-BCC3-459F-84E8-C3F45965DA09}" destId="{EA542168-3CF6-4E7D-BE36-F1874E1A6786}" srcOrd="5" destOrd="0" parTransId="{0F2809F5-F901-42CC-9BCD-A0A9B96DFE1C}" sibTransId="{EFA7C1C5-FEE2-496F-9C35-D5D7E067AD72}"/>
    <dgm:cxn modelId="{22FE0D61-FA1A-4575-9EA7-0847D35FB40F}" type="presOf" srcId="{244AB1FE-452B-48D8-8768-3BA11F7CDA2F}" destId="{2297D37F-06A9-4D3B-9E7D-1BFE806033E6}" srcOrd="0" destOrd="0" presId="urn:microsoft.com/office/officeart/2005/8/layout/hChevron3"/>
    <dgm:cxn modelId="{19255C41-D653-4AA7-B5D5-F563627BA0CF}" srcId="{5F09BBEB-BCC3-459F-84E8-C3F45965DA09}" destId="{DB686BFB-198E-4000-A208-50B01C895C5D}" srcOrd="0" destOrd="0" parTransId="{308DC400-404E-42BD-BE70-9AF5501A8294}" sibTransId="{71D97F50-AB3B-4D05-8099-47186F345C43}"/>
    <dgm:cxn modelId="{F9DECC50-2A9D-4CCE-A94B-38F80FBC12B2}" type="presOf" srcId="{DB686BFB-198E-4000-A208-50B01C895C5D}" destId="{E758B83E-CFEC-43EC-AF0D-E790A3C16319}" srcOrd="0" destOrd="0" presId="urn:microsoft.com/office/officeart/2005/8/layout/hChevron3"/>
    <dgm:cxn modelId="{026B8171-5599-4C67-B63E-7389ED643B06}" srcId="{5F09BBEB-BCC3-459F-84E8-C3F45965DA09}" destId="{C2993C98-6A6F-4187-B0C4-7E93C9DD87FA}" srcOrd="6" destOrd="0" parTransId="{9CBC2D13-0312-49BE-A158-5EA5D3005C80}" sibTransId="{BE740BCE-24A9-4674-AEDF-D364E86B6D22}"/>
    <dgm:cxn modelId="{2CB7CF59-FCF1-4ACB-AC42-B02F3DA6E02C}" srcId="{5F09BBEB-BCC3-459F-84E8-C3F45965DA09}" destId="{244AB1FE-452B-48D8-8768-3BA11F7CDA2F}" srcOrd="8" destOrd="0" parTransId="{3AB6269D-FE5C-4FEF-9E3C-39AACC7EF09F}" sibTransId="{102BEBE8-1030-474E-80E3-A8F484E4F6D3}"/>
    <dgm:cxn modelId="{6023F593-FCF4-43E2-85CE-AD10542CEE88}" type="presOf" srcId="{C6B3F507-2D2A-4DC6-AC05-4B9C92757C16}" destId="{8BF2E94A-9EDA-4D1B-B447-B22DF4954F6F}" srcOrd="0" destOrd="0" presId="urn:microsoft.com/office/officeart/2005/8/layout/hChevron3"/>
    <dgm:cxn modelId="{766E6C9B-742C-442E-8172-8BF8D40AD199}" type="presOf" srcId="{79B60177-2217-4C3E-BFB2-A7F514C11442}" destId="{AC1BF143-926D-45ED-A5A3-43D05A5B5E05}" srcOrd="0" destOrd="0" presId="urn:microsoft.com/office/officeart/2005/8/layout/hChevron3"/>
    <dgm:cxn modelId="{9F73CDB9-E2B2-4C3B-BD07-14E9AE766AC9}" srcId="{5F09BBEB-BCC3-459F-84E8-C3F45965DA09}" destId="{79B60177-2217-4C3E-BFB2-A7F514C11442}" srcOrd="3" destOrd="0" parTransId="{C0EE4951-222A-4A3C-884C-462AB7405FF1}" sibTransId="{BB68D18C-C2C2-4B5D-A338-F21AC8AC055A}"/>
    <dgm:cxn modelId="{BFE1E3BA-C15C-41DC-AAD8-92F9635D6BF2}" srcId="{5F09BBEB-BCC3-459F-84E8-C3F45965DA09}" destId="{A37E9E2F-421E-4906-9EA5-4D3D0039337B}" srcOrd="4" destOrd="0" parTransId="{CE6AC0C5-5287-487A-AA5B-84A420F4BCCF}" sibTransId="{FB9F0D44-060C-450B-95E1-4D0DFC8E216B}"/>
    <dgm:cxn modelId="{972F8AC6-E642-4970-B4CF-B938DF3C94A2}" type="presOf" srcId="{28FF80C1-E366-4469-835E-804BEA7EF9E9}" destId="{57F52E1E-2C2F-47A9-A6D9-CB7537BF727C}" srcOrd="0" destOrd="0" presId="urn:microsoft.com/office/officeart/2005/8/layout/hChevron3"/>
    <dgm:cxn modelId="{178236CB-EF09-4173-8EBE-FC737AED0D85}" type="presOf" srcId="{EA542168-3CF6-4E7D-BE36-F1874E1A6786}" destId="{EECB13DF-38FD-4199-93B9-448461C16185}" srcOrd="0" destOrd="0" presId="urn:microsoft.com/office/officeart/2005/8/layout/hChevron3"/>
    <dgm:cxn modelId="{6C1C96E4-80FF-48EC-9B74-7A88917D15EF}" type="presOf" srcId="{B3D0AF40-C106-41ED-9E6C-46321A70CAAB}" destId="{E8BBFEEE-B21B-4C1D-846B-B89F01B73A44}" srcOrd="0" destOrd="0" presId="urn:microsoft.com/office/officeart/2005/8/layout/hChevron3"/>
    <dgm:cxn modelId="{55A360EF-56B4-4E1B-B6DC-788CB3D5C2D3}" type="presOf" srcId="{5F09BBEB-BCC3-459F-84E8-C3F45965DA09}" destId="{5A8139B6-91BE-4CD6-9A26-1E8EB65606D1}" srcOrd="0" destOrd="0" presId="urn:microsoft.com/office/officeart/2005/8/layout/hChevron3"/>
    <dgm:cxn modelId="{F7229797-FA27-4730-8A33-B779CCDC5C3C}" type="presParOf" srcId="{5A8139B6-91BE-4CD6-9A26-1E8EB65606D1}" destId="{E758B83E-CFEC-43EC-AF0D-E790A3C16319}" srcOrd="0" destOrd="0" presId="urn:microsoft.com/office/officeart/2005/8/layout/hChevron3"/>
    <dgm:cxn modelId="{797CD30E-B045-4A2A-A262-5FA3F2383F0E}" type="presParOf" srcId="{5A8139B6-91BE-4CD6-9A26-1E8EB65606D1}" destId="{8B0AB190-C0DA-4BC9-AB8E-FC2ED0D56206}" srcOrd="1" destOrd="0" presId="urn:microsoft.com/office/officeart/2005/8/layout/hChevron3"/>
    <dgm:cxn modelId="{8350EBD2-82F9-43A1-8271-7B3C2601C7FF}" type="presParOf" srcId="{5A8139B6-91BE-4CD6-9A26-1E8EB65606D1}" destId="{57F52E1E-2C2F-47A9-A6D9-CB7537BF727C}" srcOrd="2" destOrd="0" presId="urn:microsoft.com/office/officeart/2005/8/layout/hChevron3"/>
    <dgm:cxn modelId="{065A1536-B084-4DE2-9756-A8BD56653EAA}" type="presParOf" srcId="{5A8139B6-91BE-4CD6-9A26-1E8EB65606D1}" destId="{23AB88B7-C798-42E5-B3C5-6FD5532695B1}" srcOrd="3" destOrd="0" presId="urn:microsoft.com/office/officeart/2005/8/layout/hChevron3"/>
    <dgm:cxn modelId="{900BF689-8BEA-4E5F-86F5-16B928223239}" type="presParOf" srcId="{5A8139B6-91BE-4CD6-9A26-1E8EB65606D1}" destId="{0D14839E-F7AA-41F1-8F21-377D4525EA32}" srcOrd="4" destOrd="0" presId="urn:microsoft.com/office/officeart/2005/8/layout/hChevron3"/>
    <dgm:cxn modelId="{FDD11ECE-9527-4A81-A422-BB7C9D8AFA6A}" type="presParOf" srcId="{5A8139B6-91BE-4CD6-9A26-1E8EB65606D1}" destId="{6FCAC6DE-3B61-4FC5-BCC0-E4629EF4789A}" srcOrd="5" destOrd="0" presId="urn:microsoft.com/office/officeart/2005/8/layout/hChevron3"/>
    <dgm:cxn modelId="{3C10773A-398D-41D7-B997-F0F842EF9BCD}" type="presParOf" srcId="{5A8139B6-91BE-4CD6-9A26-1E8EB65606D1}" destId="{AC1BF143-926D-45ED-A5A3-43D05A5B5E05}" srcOrd="6" destOrd="0" presId="urn:microsoft.com/office/officeart/2005/8/layout/hChevron3"/>
    <dgm:cxn modelId="{CC76DA5B-FB4F-4410-8237-D6E32C8F3069}" type="presParOf" srcId="{5A8139B6-91BE-4CD6-9A26-1E8EB65606D1}" destId="{0DE0C2D5-A75D-4380-B806-1FCE20FD6100}" srcOrd="7" destOrd="0" presId="urn:microsoft.com/office/officeart/2005/8/layout/hChevron3"/>
    <dgm:cxn modelId="{F2E2E515-6858-4F8B-B7EC-AA286C5DFF3C}" type="presParOf" srcId="{5A8139B6-91BE-4CD6-9A26-1E8EB65606D1}" destId="{FAC99AAC-4206-4C8D-B75A-31CCAA24369E}" srcOrd="8" destOrd="0" presId="urn:microsoft.com/office/officeart/2005/8/layout/hChevron3"/>
    <dgm:cxn modelId="{7A259C44-7F18-419D-B25D-87D26844FD0A}" type="presParOf" srcId="{5A8139B6-91BE-4CD6-9A26-1E8EB65606D1}" destId="{C7EB8198-0BBC-4800-A04C-5A838FD89335}" srcOrd="9" destOrd="0" presId="urn:microsoft.com/office/officeart/2005/8/layout/hChevron3"/>
    <dgm:cxn modelId="{1DB9D684-FDF1-4485-8F05-243A582343B3}" type="presParOf" srcId="{5A8139B6-91BE-4CD6-9A26-1E8EB65606D1}" destId="{EECB13DF-38FD-4199-93B9-448461C16185}" srcOrd="10" destOrd="0" presId="urn:microsoft.com/office/officeart/2005/8/layout/hChevron3"/>
    <dgm:cxn modelId="{F9BC0876-B7B1-4E36-866A-621301818E4D}" type="presParOf" srcId="{5A8139B6-91BE-4CD6-9A26-1E8EB65606D1}" destId="{E374F486-FB19-41B2-A0F0-48FB5502A237}" srcOrd="11" destOrd="0" presId="urn:microsoft.com/office/officeart/2005/8/layout/hChevron3"/>
    <dgm:cxn modelId="{68901253-C80F-4309-BEEB-846BF429E040}" type="presParOf" srcId="{5A8139B6-91BE-4CD6-9A26-1E8EB65606D1}" destId="{1C920BC9-2570-439E-8481-8C6F1CB98E73}" srcOrd="12" destOrd="0" presId="urn:microsoft.com/office/officeart/2005/8/layout/hChevron3"/>
    <dgm:cxn modelId="{5EB9676F-FACE-4045-893B-ED5656605287}" type="presParOf" srcId="{5A8139B6-91BE-4CD6-9A26-1E8EB65606D1}" destId="{83CF4DA9-86E0-4AE4-94AE-6C72C4A1D2F8}" srcOrd="13" destOrd="0" presId="urn:microsoft.com/office/officeart/2005/8/layout/hChevron3"/>
    <dgm:cxn modelId="{BC6C1E01-C648-40BB-BFCB-9AB904C2A097}" type="presParOf" srcId="{5A8139B6-91BE-4CD6-9A26-1E8EB65606D1}" destId="{E8BBFEEE-B21B-4C1D-846B-B89F01B73A44}" srcOrd="14" destOrd="0" presId="urn:microsoft.com/office/officeart/2005/8/layout/hChevron3"/>
    <dgm:cxn modelId="{0B6B22D8-7F48-4240-8E4C-779E49ED37CA}" type="presParOf" srcId="{5A8139B6-91BE-4CD6-9A26-1E8EB65606D1}" destId="{79E1544A-52D1-4DF3-B1EF-1D7B51F38FFB}" srcOrd="15" destOrd="0" presId="urn:microsoft.com/office/officeart/2005/8/layout/hChevron3"/>
    <dgm:cxn modelId="{3EC2B338-A00C-4A6E-975E-8084F004117A}" type="presParOf" srcId="{5A8139B6-91BE-4CD6-9A26-1E8EB65606D1}" destId="{2297D37F-06A9-4D3B-9E7D-1BFE806033E6}" srcOrd="16" destOrd="0" presId="urn:microsoft.com/office/officeart/2005/8/layout/hChevron3"/>
    <dgm:cxn modelId="{430BCF5F-58E7-4BD0-88BD-64AD6818FB00}" type="presParOf" srcId="{5A8139B6-91BE-4CD6-9A26-1E8EB65606D1}" destId="{860E36E1-9B69-4A8E-B7F1-1A203219B22F}" srcOrd="17" destOrd="0" presId="urn:microsoft.com/office/officeart/2005/8/layout/hChevron3"/>
    <dgm:cxn modelId="{2455F435-7A6F-438C-8A67-346DE979ECE7}" type="presParOf" srcId="{5A8139B6-91BE-4CD6-9A26-1E8EB65606D1}" destId="{8BF2E94A-9EDA-4D1B-B447-B22DF4954F6F}" srcOrd="18" destOrd="0" presId="urn:microsoft.com/office/officeart/2005/8/layout/hChevron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758B83E-CFEC-43EC-AF0D-E790A3C16319}">
      <dsp:nvSpPr>
        <dsp:cNvPr id="0" name=""/>
        <dsp:cNvSpPr/>
      </dsp:nvSpPr>
      <dsp:spPr>
        <a:xfrm>
          <a:off x="105" y="185295"/>
          <a:ext cx="1058372" cy="423348"/>
        </a:xfrm>
        <a:prstGeom prst="homePlat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2672" tIns="21336" rIns="10668" bIns="21336" numCol="1" spcCol="1270" anchor="ctr" anchorCtr="0">
          <a:noAutofit/>
        </a:bodyPr>
        <a:lstStyle/>
        <a:p>
          <a:pPr marL="0" lvl="0" indent="0" algn="ctr" defTabSz="355600">
            <a:lnSpc>
              <a:spcPct val="90000"/>
            </a:lnSpc>
            <a:spcBef>
              <a:spcPct val="0"/>
            </a:spcBef>
            <a:spcAft>
              <a:spcPct val="35000"/>
            </a:spcAft>
            <a:buNone/>
          </a:pPr>
          <a:r>
            <a:rPr lang="en-US" sz="800" kern="1200" dirty="0"/>
            <a:t>Plan</a:t>
          </a:r>
        </a:p>
      </dsp:txBody>
      <dsp:txXfrm>
        <a:off x="105" y="185295"/>
        <a:ext cx="952535" cy="423348"/>
      </dsp:txXfrm>
    </dsp:sp>
    <dsp:sp modelId="{57F52E1E-2C2F-47A9-A6D9-CB7537BF727C}">
      <dsp:nvSpPr>
        <dsp:cNvPr id="0" name=""/>
        <dsp:cNvSpPr/>
      </dsp:nvSpPr>
      <dsp:spPr>
        <a:xfrm>
          <a:off x="846803" y="185295"/>
          <a:ext cx="1058372" cy="423348"/>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21336" rIns="10668" bIns="21336" numCol="1" spcCol="1270" anchor="ctr" anchorCtr="0">
          <a:noAutofit/>
        </a:bodyPr>
        <a:lstStyle/>
        <a:p>
          <a:pPr marL="0" lvl="0" indent="0" algn="ctr" defTabSz="355600">
            <a:lnSpc>
              <a:spcPct val="90000"/>
            </a:lnSpc>
            <a:spcBef>
              <a:spcPct val="0"/>
            </a:spcBef>
            <a:spcAft>
              <a:spcPct val="35000"/>
            </a:spcAft>
            <a:buNone/>
          </a:pPr>
          <a:r>
            <a:rPr lang="en-US" sz="800" kern="1200" dirty="0"/>
            <a:t>Code</a:t>
          </a:r>
        </a:p>
      </dsp:txBody>
      <dsp:txXfrm>
        <a:off x="1058477" y="185295"/>
        <a:ext cx="635024" cy="423348"/>
      </dsp:txXfrm>
    </dsp:sp>
    <dsp:sp modelId="{0D14839E-F7AA-41F1-8F21-377D4525EA32}">
      <dsp:nvSpPr>
        <dsp:cNvPr id="0" name=""/>
        <dsp:cNvSpPr/>
      </dsp:nvSpPr>
      <dsp:spPr>
        <a:xfrm>
          <a:off x="1693501" y="185295"/>
          <a:ext cx="1058372" cy="423348"/>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21336" rIns="10668" bIns="21336" numCol="1" spcCol="1270" anchor="ctr" anchorCtr="0">
          <a:noAutofit/>
        </a:bodyPr>
        <a:lstStyle/>
        <a:p>
          <a:pPr marL="0" lvl="0" indent="0" algn="ctr" defTabSz="355600">
            <a:lnSpc>
              <a:spcPct val="90000"/>
            </a:lnSpc>
            <a:spcBef>
              <a:spcPct val="0"/>
            </a:spcBef>
            <a:spcAft>
              <a:spcPct val="35000"/>
            </a:spcAft>
            <a:buNone/>
          </a:pPr>
          <a:r>
            <a:rPr lang="en-US" sz="800" kern="1200" dirty="0"/>
            <a:t>Build</a:t>
          </a:r>
        </a:p>
      </dsp:txBody>
      <dsp:txXfrm>
        <a:off x="1905175" y="185295"/>
        <a:ext cx="635024" cy="423348"/>
      </dsp:txXfrm>
    </dsp:sp>
    <dsp:sp modelId="{AC1BF143-926D-45ED-A5A3-43D05A5B5E05}">
      <dsp:nvSpPr>
        <dsp:cNvPr id="0" name=""/>
        <dsp:cNvSpPr/>
      </dsp:nvSpPr>
      <dsp:spPr>
        <a:xfrm>
          <a:off x="2540198" y="185295"/>
          <a:ext cx="1058372" cy="423348"/>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21336" rIns="10668" bIns="21336" numCol="1" spcCol="1270" anchor="ctr" anchorCtr="0">
          <a:noAutofit/>
        </a:bodyPr>
        <a:lstStyle/>
        <a:p>
          <a:pPr marL="0" lvl="0" indent="0" algn="ctr" defTabSz="355600">
            <a:lnSpc>
              <a:spcPct val="90000"/>
            </a:lnSpc>
            <a:spcBef>
              <a:spcPct val="0"/>
            </a:spcBef>
            <a:spcAft>
              <a:spcPct val="35000"/>
            </a:spcAft>
            <a:buNone/>
          </a:pPr>
          <a:r>
            <a:rPr lang="en-US" sz="800" kern="1200" dirty="0"/>
            <a:t>Unit Tests</a:t>
          </a:r>
        </a:p>
      </dsp:txBody>
      <dsp:txXfrm>
        <a:off x="2751872" y="185295"/>
        <a:ext cx="635024" cy="423348"/>
      </dsp:txXfrm>
    </dsp:sp>
    <dsp:sp modelId="{FAC99AAC-4206-4C8D-B75A-31CCAA24369E}">
      <dsp:nvSpPr>
        <dsp:cNvPr id="0" name=""/>
        <dsp:cNvSpPr/>
      </dsp:nvSpPr>
      <dsp:spPr>
        <a:xfrm>
          <a:off x="3386896" y="185295"/>
          <a:ext cx="1058372" cy="423348"/>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21336" rIns="10668" bIns="21336" numCol="1" spcCol="1270" anchor="ctr" anchorCtr="0">
          <a:noAutofit/>
        </a:bodyPr>
        <a:lstStyle/>
        <a:p>
          <a:pPr marL="0" lvl="0" indent="0" algn="ctr" defTabSz="355600">
            <a:lnSpc>
              <a:spcPct val="90000"/>
            </a:lnSpc>
            <a:spcBef>
              <a:spcPct val="0"/>
            </a:spcBef>
            <a:spcAft>
              <a:spcPct val="35000"/>
            </a:spcAft>
            <a:buNone/>
          </a:pPr>
          <a:r>
            <a:rPr lang="en-US" sz="800" kern="1200" dirty="0"/>
            <a:t>Code Coverage and </a:t>
          </a:r>
          <a:r>
            <a:rPr lang="en-US" sz="800" kern="1200" dirty="0" err="1"/>
            <a:t>Vulerabilities</a:t>
          </a:r>
          <a:endParaRPr lang="en-US" sz="800" kern="1200" dirty="0"/>
        </a:p>
      </dsp:txBody>
      <dsp:txXfrm>
        <a:off x="3598570" y="185295"/>
        <a:ext cx="635024" cy="423348"/>
      </dsp:txXfrm>
    </dsp:sp>
    <dsp:sp modelId="{EECB13DF-38FD-4199-93B9-448461C16185}">
      <dsp:nvSpPr>
        <dsp:cNvPr id="0" name=""/>
        <dsp:cNvSpPr/>
      </dsp:nvSpPr>
      <dsp:spPr>
        <a:xfrm>
          <a:off x="4233594" y="185295"/>
          <a:ext cx="1058372" cy="423348"/>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21336" rIns="10668" bIns="21336" numCol="1" spcCol="1270" anchor="ctr" anchorCtr="0">
          <a:noAutofit/>
        </a:bodyPr>
        <a:lstStyle/>
        <a:p>
          <a:pPr marL="0" lvl="0" indent="0" algn="ctr" defTabSz="355600">
            <a:lnSpc>
              <a:spcPct val="90000"/>
            </a:lnSpc>
            <a:spcBef>
              <a:spcPct val="0"/>
            </a:spcBef>
            <a:spcAft>
              <a:spcPct val="35000"/>
            </a:spcAft>
            <a:buNone/>
          </a:pPr>
          <a:r>
            <a:rPr lang="en-US" sz="800" kern="1200" dirty="0"/>
            <a:t>Artifact publish</a:t>
          </a:r>
        </a:p>
      </dsp:txBody>
      <dsp:txXfrm>
        <a:off x="4445268" y="185295"/>
        <a:ext cx="635024" cy="423348"/>
      </dsp:txXfrm>
    </dsp:sp>
    <dsp:sp modelId="{1C920BC9-2570-439E-8481-8C6F1CB98E73}">
      <dsp:nvSpPr>
        <dsp:cNvPr id="0" name=""/>
        <dsp:cNvSpPr/>
      </dsp:nvSpPr>
      <dsp:spPr>
        <a:xfrm>
          <a:off x="5080291" y="185295"/>
          <a:ext cx="1058372" cy="423348"/>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21336" rIns="10668" bIns="21336" numCol="1" spcCol="1270" anchor="ctr" anchorCtr="0">
          <a:noAutofit/>
        </a:bodyPr>
        <a:lstStyle/>
        <a:p>
          <a:pPr marL="0" lvl="0" indent="0" algn="ctr" defTabSz="355600">
            <a:lnSpc>
              <a:spcPct val="90000"/>
            </a:lnSpc>
            <a:spcBef>
              <a:spcPct val="0"/>
            </a:spcBef>
            <a:spcAft>
              <a:spcPct val="35000"/>
            </a:spcAft>
            <a:buNone/>
          </a:pPr>
          <a:r>
            <a:rPr lang="en-US" sz="800" kern="1200" dirty="0"/>
            <a:t>Deploy</a:t>
          </a:r>
        </a:p>
      </dsp:txBody>
      <dsp:txXfrm>
        <a:off x="5291965" y="185295"/>
        <a:ext cx="635024" cy="423348"/>
      </dsp:txXfrm>
    </dsp:sp>
    <dsp:sp modelId="{E8BBFEEE-B21B-4C1D-846B-B89F01B73A44}">
      <dsp:nvSpPr>
        <dsp:cNvPr id="0" name=""/>
        <dsp:cNvSpPr/>
      </dsp:nvSpPr>
      <dsp:spPr>
        <a:xfrm>
          <a:off x="5926989" y="185295"/>
          <a:ext cx="1058372" cy="423348"/>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21336" rIns="10668" bIns="21336" numCol="1" spcCol="1270" anchor="ctr" anchorCtr="0">
          <a:noAutofit/>
        </a:bodyPr>
        <a:lstStyle/>
        <a:p>
          <a:pPr marL="0" lvl="0" indent="0" algn="ctr" defTabSz="355600">
            <a:lnSpc>
              <a:spcPct val="90000"/>
            </a:lnSpc>
            <a:spcBef>
              <a:spcPct val="0"/>
            </a:spcBef>
            <a:spcAft>
              <a:spcPct val="35000"/>
            </a:spcAft>
            <a:buNone/>
          </a:pPr>
          <a:r>
            <a:rPr lang="en-US" sz="800" kern="1200" dirty="0"/>
            <a:t>Integration Tests</a:t>
          </a:r>
        </a:p>
      </dsp:txBody>
      <dsp:txXfrm>
        <a:off x="6138663" y="185295"/>
        <a:ext cx="635024" cy="423348"/>
      </dsp:txXfrm>
    </dsp:sp>
    <dsp:sp modelId="{2297D37F-06A9-4D3B-9E7D-1BFE806033E6}">
      <dsp:nvSpPr>
        <dsp:cNvPr id="0" name=""/>
        <dsp:cNvSpPr/>
      </dsp:nvSpPr>
      <dsp:spPr>
        <a:xfrm>
          <a:off x="6773687" y="185295"/>
          <a:ext cx="1058372" cy="423348"/>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21336" rIns="10668" bIns="21336" numCol="1" spcCol="1270" anchor="ctr" anchorCtr="0">
          <a:noAutofit/>
        </a:bodyPr>
        <a:lstStyle/>
        <a:p>
          <a:pPr marL="0" lvl="0" indent="0" algn="ctr" defTabSz="355600">
            <a:lnSpc>
              <a:spcPct val="90000"/>
            </a:lnSpc>
            <a:spcBef>
              <a:spcPct val="0"/>
            </a:spcBef>
            <a:spcAft>
              <a:spcPct val="35000"/>
            </a:spcAft>
            <a:buNone/>
          </a:pPr>
          <a:r>
            <a:rPr lang="en-US" sz="800" kern="1200" dirty="0"/>
            <a:t>E2E Tests</a:t>
          </a:r>
        </a:p>
      </dsp:txBody>
      <dsp:txXfrm>
        <a:off x="6985361" y="185295"/>
        <a:ext cx="635024" cy="423348"/>
      </dsp:txXfrm>
    </dsp:sp>
    <dsp:sp modelId="{8BF2E94A-9EDA-4D1B-B447-B22DF4954F6F}">
      <dsp:nvSpPr>
        <dsp:cNvPr id="0" name=""/>
        <dsp:cNvSpPr/>
      </dsp:nvSpPr>
      <dsp:spPr>
        <a:xfrm>
          <a:off x="7620384" y="185295"/>
          <a:ext cx="1058372" cy="423348"/>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21336" rIns="10668" bIns="21336" numCol="1" spcCol="1270" anchor="ctr" anchorCtr="0">
          <a:noAutofit/>
        </a:bodyPr>
        <a:lstStyle/>
        <a:p>
          <a:pPr marL="0" lvl="0" indent="0" algn="ctr" defTabSz="355600">
            <a:lnSpc>
              <a:spcPct val="90000"/>
            </a:lnSpc>
            <a:spcBef>
              <a:spcPct val="0"/>
            </a:spcBef>
            <a:spcAft>
              <a:spcPct val="35000"/>
            </a:spcAft>
            <a:buNone/>
          </a:pPr>
          <a:r>
            <a:rPr lang="en-US" sz="800" kern="1200" dirty="0"/>
            <a:t>Deploy and Release</a:t>
          </a:r>
        </a:p>
      </dsp:txBody>
      <dsp:txXfrm>
        <a:off x="7832058" y="185295"/>
        <a:ext cx="635024" cy="423348"/>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00BB1A8-A75B-46B4-A88C-52BAAA4EA6C2}">
      <dsp:nvSpPr>
        <dsp:cNvPr id="0" name=""/>
        <dsp:cNvSpPr/>
      </dsp:nvSpPr>
      <dsp:spPr>
        <a:xfrm>
          <a:off x="20593" y="0"/>
          <a:ext cx="3551311" cy="416256"/>
        </a:xfrm>
        <a:prstGeom prst="homePlate">
          <a:avLst/>
        </a:prstGeom>
        <a:solidFill>
          <a:schemeClr val="bg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6012" tIns="48006" rIns="24003" bIns="48006" numCol="1" spcCol="1270" anchor="ctr" anchorCtr="0">
          <a:noAutofit/>
        </a:bodyPr>
        <a:lstStyle/>
        <a:p>
          <a:pPr marL="0" lvl="0" indent="0" algn="ctr" defTabSz="800100">
            <a:lnSpc>
              <a:spcPct val="90000"/>
            </a:lnSpc>
            <a:spcBef>
              <a:spcPct val="0"/>
            </a:spcBef>
            <a:spcAft>
              <a:spcPct val="35000"/>
            </a:spcAft>
            <a:buNone/>
          </a:pPr>
          <a:r>
            <a:rPr lang="en-US" sz="1800" kern="1200" dirty="0"/>
            <a:t>Continuous Integration</a:t>
          </a:r>
        </a:p>
      </dsp:txBody>
      <dsp:txXfrm>
        <a:off x="20593" y="0"/>
        <a:ext cx="3447247" cy="416256"/>
      </dsp:txXfrm>
    </dsp:sp>
    <dsp:sp modelId="{C41A44A8-F315-467A-BC7A-DF5D204D36AC}">
      <dsp:nvSpPr>
        <dsp:cNvPr id="0" name=""/>
        <dsp:cNvSpPr/>
      </dsp:nvSpPr>
      <dsp:spPr>
        <a:xfrm>
          <a:off x="3287641" y="0"/>
          <a:ext cx="2753848" cy="416256"/>
        </a:xfrm>
        <a:prstGeom prst="chevron">
          <a:avLst/>
        </a:prstGeom>
        <a:solidFill>
          <a:schemeClr val="bg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48006" rIns="24003" bIns="48006" numCol="1" spcCol="1270" anchor="ctr" anchorCtr="0">
          <a:noAutofit/>
        </a:bodyPr>
        <a:lstStyle/>
        <a:p>
          <a:pPr marL="0" lvl="0" indent="0" algn="ctr" defTabSz="800100">
            <a:lnSpc>
              <a:spcPct val="90000"/>
            </a:lnSpc>
            <a:spcBef>
              <a:spcPct val="0"/>
            </a:spcBef>
            <a:spcAft>
              <a:spcPct val="35000"/>
            </a:spcAft>
            <a:buNone/>
          </a:pPr>
          <a:r>
            <a:rPr lang="en-US" sz="1800" kern="1200" dirty="0"/>
            <a:t>Continuous Delivery</a:t>
          </a:r>
        </a:p>
      </dsp:txBody>
      <dsp:txXfrm>
        <a:off x="3495769" y="0"/>
        <a:ext cx="2337592" cy="416256"/>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758B83E-CFEC-43EC-AF0D-E790A3C16319}">
      <dsp:nvSpPr>
        <dsp:cNvPr id="0" name=""/>
        <dsp:cNvSpPr/>
      </dsp:nvSpPr>
      <dsp:spPr>
        <a:xfrm>
          <a:off x="105" y="185295"/>
          <a:ext cx="1058372" cy="423348"/>
        </a:xfrm>
        <a:prstGeom prst="homePlate">
          <a:avLst/>
        </a:prstGeom>
        <a:solidFill>
          <a:schemeClr val="bg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2672" tIns="21336" rIns="10668" bIns="21336" numCol="1" spcCol="1270" anchor="ctr" anchorCtr="0">
          <a:noAutofit/>
        </a:bodyPr>
        <a:lstStyle/>
        <a:p>
          <a:pPr marL="0" lvl="0" indent="0" algn="ctr" defTabSz="355600">
            <a:lnSpc>
              <a:spcPct val="90000"/>
            </a:lnSpc>
            <a:spcBef>
              <a:spcPct val="0"/>
            </a:spcBef>
            <a:spcAft>
              <a:spcPct val="35000"/>
            </a:spcAft>
            <a:buNone/>
          </a:pPr>
          <a:r>
            <a:rPr lang="en-US" sz="800" kern="1200" dirty="0"/>
            <a:t>Plan</a:t>
          </a:r>
        </a:p>
      </dsp:txBody>
      <dsp:txXfrm>
        <a:off x="105" y="185295"/>
        <a:ext cx="952535" cy="423348"/>
      </dsp:txXfrm>
    </dsp:sp>
    <dsp:sp modelId="{57F52E1E-2C2F-47A9-A6D9-CB7537BF727C}">
      <dsp:nvSpPr>
        <dsp:cNvPr id="0" name=""/>
        <dsp:cNvSpPr/>
      </dsp:nvSpPr>
      <dsp:spPr>
        <a:xfrm>
          <a:off x="846803" y="185295"/>
          <a:ext cx="1058372" cy="423348"/>
        </a:xfrm>
        <a:prstGeom prst="chevron">
          <a:avLst/>
        </a:prstGeom>
        <a:solidFill>
          <a:schemeClr val="bg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21336" rIns="10668" bIns="21336" numCol="1" spcCol="1270" anchor="ctr" anchorCtr="0">
          <a:noAutofit/>
        </a:bodyPr>
        <a:lstStyle/>
        <a:p>
          <a:pPr marL="0" lvl="0" indent="0" algn="ctr" defTabSz="355600">
            <a:lnSpc>
              <a:spcPct val="90000"/>
            </a:lnSpc>
            <a:spcBef>
              <a:spcPct val="0"/>
            </a:spcBef>
            <a:spcAft>
              <a:spcPct val="35000"/>
            </a:spcAft>
            <a:buNone/>
          </a:pPr>
          <a:r>
            <a:rPr lang="en-US" sz="800" kern="1200" dirty="0"/>
            <a:t>Code</a:t>
          </a:r>
        </a:p>
      </dsp:txBody>
      <dsp:txXfrm>
        <a:off x="1058477" y="185295"/>
        <a:ext cx="635024" cy="423348"/>
      </dsp:txXfrm>
    </dsp:sp>
    <dsp:sp modelId="{0D14839E-F7AA-41F1-8F21-377D4525EA32}">
      <dsp:nvSpPr>
        <dsp:cNvPr id="0" name=""/>
        <dsp:cNvSpPr/>
      </dsp:nvSpPr>
      <dsp:spPr>
        <a:xfrm>
          <a:off x="1693501" y="185295"/>
          <a:ext cx="1058372" cy="423348"/>
        </a:xfrm>
        <a:prstGeom prst="chevron">
          <a:avLst/>
        </a:prstGeom>
        <a:solidFill>
          <a:schemeClr val="bg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21336" rIns="10668" bIns="21336" numCol="1" spcCol="1270" anchor="ctr" anchorCtr="0">
          <a:noAutofit/>
        </a:bodyPr>
        <a:lstStyle/>
        <a:p>
          <a:pPr marL="0" lvl="0" indent="0" algn="ctr" defTabSz="355600">
            <a:lnSpc>
              <a:spcPct val="90000"/>
            </a:lnSpc>
            <a:spcBef>
              <a:spcPct val="0"/>
            </a:spcBef>
            <a:spcAft>
              <a:spcPct val="35000"/>
            </a:spcAft>
            <a:buNone/>
          </a:pPr>
          <a:r>
            <a:rPr lang="en-US" sz="800" kern="1200" dirty="0"/>
            <a:t>Build</a:t>
          </a:r>
        </a:p>
      </dsp:txBody>
      <dsp:txXfrm>
        <a:off x="1905175" y="185295"/>
        <a:ext cx="635024" cy="423348"/>
      </dsp:txXfrm>
    </dsp:sp>
    <dsp:sp modelId="{AC1BF143-926D-45ED-A5A3-43D05A5B5E05}">
      <dsp:nvSpPr>
        <dsp:cNvPr id="0" name=""/>
        <dsp:cNvSpPr/>
      </dsp:nvSpPr>
      <dsp:spPr>
        <a:xfrm>
          <a:off x="2540198" y="185295"/>
          <a:ext cx="1058372" cy="423348"/>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21336" rIns="10668" bIns="21336" numCol="1" spcCol="1270" anchor="ctr" anchorCtr="0">
          <a:noAutofit/>
        </a:bodyPr>
        <a:lstStyle/>
        <a:p>
          <a:pPr marL="0" lvl="0" indent="0" algn="ctr" defTabSz="355600">
            <a:lnSpc>
              <a:spcPct val="90000"/>
            </a:lnSpc>
            <a:spcBef>
              <a:spcPct val="0"/>
            </a:spcBef>
            <a:spcAft>
              <a:spcPct val="35000"/>
            </a:spcAft>
            <a:buNone/>
          </a:pPr>
          <a:r>
            <a:rPr lang="en-US" sz="800" kern="1200" dirty="0"/>
            <a:t>Unit Tests</a:t>
          </a:r>
        </a:p>
      </dsp:txBody>
      <dsp:txXfrm>
        <a:off x="2751872" y="185295"/>
        <a:ext cx="635024" cy="423348"/>
      </dsp:txXfrm>
    </dsp:sp>
    <dsp:sp modelId="{FAC99AAC-4206-4C8D-B75A-31CCAA24369E}">
      <dsp:nvSpPr>
        <dsp:cNvPr id="0" name=""/>
        <dsp:cNvSpPr/>
      </dsp:nvSpPr>
      <dsp:spPr>
        <a:xfrm>
          <a:off x="3386896" y="185295"/>
          <a:ext cx="1058372" cy="423348"/>
        </a:xfrm>
        <a:prstGeom prst="chevron">
          <a:avLst/>
        </a:prstGeom>
        <a:solidFill>
          <a:schemeClr val="bg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21336" rIns="10668" bIns="21336" numCol="1" spcCol="1270" anchor="ctr" anchorCtr="0">
          <a:noAutofit/>
        </a:bodyPr>
        <a:lstStyle/>
        <a:p>
          <a:pPr marL="0" lvl="0" indent="0" algn="ctr" defTabSz="355600">
            <a:lnSpc>
              <a:spcPct val="90000"/>
            </a:lnSpc>
            <a:spcBef>
              <a:spcPct val="0"/>
            </a:spcBef>
            <a:spcAft>
              <a:spcPct val="35000"/>
            </a:spcAft>
            <a:buNone/>
          </a:pPr>
          <a:r>
            <a:rPr lang="en-US" sz="800" kern="1200" dirty="0"/>
            <a:t>Code Coverage and </a:t>
          </a:r>
          <a:r>
            <a:rPr lang="en-US" sz="800" kern="1200" dirty="0" err="1"/>
            <a:t>Vulerabilities</a:t>
          </a:r>
          <a:endParaRPr lang="en-US" sz="800" kern="1200" dirty="0"/>
        </a:p>
      </dsp:txBody>
      <dsp:txXfrm>
        <a:off x="3598570" y="185295"/>
        <a:ext cx="635024" cy="423348"/>
      </dsp:txXfrm>
    </dsp:sp>
    <dsp:sp modelId="{EECB13DF-38FD-4199-93B9-448461C16185}">
      <dsp:nvSpPr>
        <dsp:cNvPr id="0" name=""/>
        <dsp:cNvSpPr/>
      </dsp:nvSpPr>
      <dsp:spPr>
        <a:xfrm>
          <a:off x="4233594" y="185295"/>
          <a:ext cx="1058372" cy="423348"/>
        </a:xfrm>
        <a:prstGeom prst="chevron">
          <a:avLst/>
        </a:prstGeom>
        <a:solidFill>
          <a:schemeClr val="bg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21336" rIns="10668" bIns="21336" numCol="1" spcCol="1270" anchor="ctr" anchorCtr="0">
          <a:noAutofit/>
        </a:bodyPr>
        <a:lstStyle/>
        <a:p>
          <a:pPr marL="0" lvl="0" indent="0" algn="ctr" defTabSz="355600">
            <a:lnSpc>
              <a:spcPct val="90000"/>
            </a:lnSpc>
            <a:spcBef>
              <a:spcPct val="0"/>
            </a:spcBef>
            <a:spcAft>
              <a:spcPct val="35000"/>
            </a:spcAft>
            <a:buNone/>
          </a:pPr>
          <a:r>
            <a:rPr lang="en-US" sz="800" kern="1200" dirty="0"/>
            <a:t>Artifact publish</a:t>
          </a:r>
        </a:p>
      </dsp:txBody>
      <dsp:txXfrm>
        <a:off x="4445268" y="185295"/>
        <a:ext cx="635024" cy="423348"/>
      </dsp:txXfrm>
    </dsp:sp>
    <dsp:sp modelId="{1C920BC9-2570-439E-8481-8C6F1CB98E73}">
      <dsp:nvSpPr>
        <dsp:cNvPr id="0" name=""/>
        <dsp:cNvSpPr/>
      </dsp:nvSpPr>
      <dsp:spPr>
        <a:xfrm>
          <a:off x="5080291" y="185295"/>
          <a:ext cx="1058372" cy="423348"/>
        </a:xfrm>
        <a:prstGeom prst="chevron">
          <a:avLst/>
        </a:prstGeom>
        <a:solidFill>
          <a:schemeClr val="bg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21336" rIns="10668" bIns="21336" numCol="1" spcCol="1270" anchor="ctr" anchorCtr="0">
          <a:noAutofit/>
        </a:bodyPr>
        <a:lstStyle/>
        <a:p>
          <a:pPr marL="0" lvl="0" indent="0" algn="ctr" defTabSz="355600">
            <a:lnSpc>
              <a:spcPct val="90000"/>
            </a:lnSpc>
            <a:spcBef>
              <a:spcPct val="0"/>
            </a:spcBef>
            <a:spcAft>
              <a:spcPct val="35000"/>
            </a:spcAft>
            <a:buNone/>
          </a:pPr>
          <a:r>
            <a:rPr lang="en-US" sz="800" kern="1200" dirty="0"/>
            <a:t>Deploy</a:t>
          </a:r>
        </a:p>
      </dsp:txBody>
      <dsp:txXfrm>
        <a:off x="5291965" y="185295"/>
        <a:ext cx="635024" cy="423348"/>
      </dsp:txXfrm>
    </dsp:sp>
    <dsp:sp modelId="{E8BBFEEE-B21B-4C1D-846B-B89F01B73A44}">
      <dsp:nvSpPr>
        <dsp:cNvPr id="0" name=""/>
        <dsp:cNvSpPr/>
      </dsp:nvSpPr>
      <dsp:spPr>
        <a:xfrm>
          <a:off x="5926989" y="185295"/>
          <a:ext cx="1058372" cy="423348"/>
        </a:xfrm>
        <a:prstGeom prst="chevron">
          <a:avLst/>
        </a:prstGeom>
        <a:solidFill>
          <a:schemeClr val="bg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21336" rIns="10668" bIns="21336" numCol="1" spcCol="1270" anchor="ctr" anchorCtr="0">
          <a:noAutofit/>
        </a:bodyPr>
        <a:lstStyle/>
        <a:p>
          <a:pPr marL="0" lvl="0" indent="0" algn="ctr" defTabSz="355600">
            <a:lnSpc>
              <a:spcPct val="90000"/>
            </a:lnSpc>
            <a:spcBef>
              <a:spcPct val="0"/>
            </a:spcBef>
            <a:spcAft>
              <a:spcPct val="35000"/>
            </a:spcAft>
            <a:buNone/>
          </a:pPr>
          <a:r>
            <a:rPr lang="en-US" sz="800" kern="1200" dirty="0"/>
            <a:t>Integration Tests</a:t>
          </a:r>
        </a:p>
      </dsp:txBody>
      <dsp:txXfrm>
        <a:off x="6138663" y="185295"/>
        <a:ext cx="635024" cy="423348"/>
      </dsp:txXfrm>
    </dsp:sp>
    <dsp:sp modelId="{2297D37F-06A9-4D3B-9E7D-1BFE806033E6}">
      <dsp:nvSpPr>
        <dsp:cNvPr id="0" name=""/>
        <dsp:cNvSpPr/>
      </dsp:nvSpPr>
      <dsp:spPr>
        <a:xfrm>
          <a:off x="6773687" y="185295"/>
          <a:ext cx="1058372" cy="423348"/>
        </a:xfrm>
        <a:prstGeom prst="chevron">
          <a:avLst/>
        </a:prstGeom>
        <a:solidFill>
          <a:schemeClr val="bg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21336" rIns="10668" bIns="21336" numCol="1" spcCol="1270" anchor="ctr" anchorCtr="0">
          <a:noAutofit/>
        </a:bodyPr>
        <a:lstStyle/>
        <a:p>
          <a:pPr marL="0" lvl="0" indent="0" algn="ctr" defTabSz="355600">
            <a:lnSpc>
              <a:spcPct val="90000"/>
            </a:lnSpc>
            <a:spcBef>
              <a:spcPct val="0"/>
            </a:spcBef>
            <a:spcAft>
              <a:spcPct val="35000"/>
            </a:spcAft>
            <a:buNone/>
          </a:pPr>
          <a:r>
            <a:rPr lang="en-US" sz="800" kern="1200" dirty="0"/>
            <a:t>E2E Tests</a:t>
          </a:r>
        </a:p>
      </dsp:txBody>
      <dsp:txXfrm>
        <a:off x="6985361" y="185295"/>
        <a:ext cx="635024" cy="423348"/>
      </dsp:txXfrm>
    </dsp:sp>
    <dsp:sp modelId="{8BF2E94A-9EDA-4D1B-B447-B22DF4954F6F}">
      <dsp:nvSpPr>
        <dsp:cNvPr id="0" name=""/>
        <dsp:cNvSpPr/>
      </dsp:nvSpPr>
      <dsp:spPr>
        <a:xfrm>
          <a:off x="7620384" y="185295"/>
          <a:ext cx="1058372" cy="423348"/>
        </a:xfrm>
        <a:prstGeom prst="chevron">
          <a:avLst/>
        </a:prstGeom>
        <a:solidFill>
          <a:schemeClr val="bg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21336" rIns="10668" bIns="21336" numCol="1" spcCol="1270" anchor="ctr" anchorCtr="0">
          <a:noAutofit/>
        </a:bodyPr>
        <a:lstStyle/>
        <a:p>
          <a:pPr marL="0" lvl="0" indent="0" algn="ctr" defTabSz="355600">
            <a:lnSpc>
              <a:spcPct val="90000"/>
            </a:lnSpc>
            <a:spcBef>
              <a:spcPct val="0"/>
            </a:spcBef>
            <a:spcAft>
              <a:spcPct val="35000"/>
            </a:spcAft>
            <a:buNone/>
          </a:pPr>
          <a:r>
            <a:rPr lang="en-US" sz="800" kern="1200" dirty="0"/>
            <a:t>Deploy and Release</a:t>
          </a:r>
        </a:p>
      </dsp:txBody>
      <dsp:txXfrm>
        <a:off x="7832058" y="185295"/>
        <a:ext cx="635024" cy="423348"/>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00BB1A8-A75B-46B4-A88C-52BAAA4EA6C2}">
      <dsp:nvSpPr>
        <dsp:cNvPr id="0" name=""/>
        <dsp:cNvSpPr/>
      </dsp:nvSpPr>
      <dsp:spPr>
        <a:xfrm>
          <a:off x="20593" y="0"/>
          <a:ext cx="3551311" cy="416256"/>
        </a:xfrm>
        <a:prstGeom prst="homePlate">
          <a:avLst/>
        </a:prstGeom>
        <a:solidFill>
          <a:schemeClr val="bg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6012" tIns="48006" rIns="24003" bIns="48006" numCol="1" spcCol="1270" anchor="ctr" anchorCtr="0">
          <a:noAutofit/>
        </a:bodyPr>
        <a:lstStyle/>
        <a:p>
          <a:pPr marL="0" lvl="0" indent="0" algn="ctr" defTabSz="800100">
            <a:lnSpc>
              <a:spcPct val="90000"/>
            </a:lnSpc>
            <a:spcBef>
              <a:spcPct val="0"/>
            </a:spcBef>
            <a:spcAft>
              <a:spcPct val="35000"/>
            </a:spcAft>
            <a:buNone/>
          </a:pPr>
          <a:r>
            <a:rPr lang="en-US" sz="1800" kern="1200" dirty="0"/>
            <a:t>Continuous Integration</a:t>
          </a:r>
        </a:p>
      </dsp:txBody>
      <dsp:txXfrm>
        <a:off x="20593" y="0"/>
        <a:ext cx="3447247" cy="416256"/>
      </dsp:txXfrm>
    </dsp:sp>
    <dsp:sp modelId="{C41A44A8-F315-467A-BC7A-DF5D204D36AC}">
      <dsp:nvSpPr>
        <dsp:cNvPr id="0" name=""/>
        <dsp:cNvSpPr/>
      </dsp:nvSpPr>
      <dsp:spPr>
        <a:xfrm>
          <a:off x="3287641" y="0"/>
          <a:ext cx="2753848" cy="416256"/>
        </a:xfrm>
        <a:prstGeom prst="chevron">
          <a:avLst/>
        </a:prstGeom>
        <a:solidFill>
          <a:schemeClr val="bg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48006" rIns="24003" bIns="48006" numCol="1" spcCol="1270" anchor="ctr" anchorCtr="0">
          <a:noAutofit/>
        </a:bodyPr>
        <a:lstStyle/>
        <a:p>
          <a:pPr marL="0" lvl="0" indent="0" algn="ctr" defTabSz="800100">
            <a:lnSpc>
              <a:spcPct val="90000"/>
            </a:lnSpc>
            <a:spcBef>
              <a:spcPct val="0"/>
            </a:spcBef>
            <a:spcAft>
              <a:spcPct val="35000"/>
            </a:spcAft>
            <a:buNone/>
          </a:pPr>
          <a:r>
            <a:rPr lang="en-US" sz="1800" kern="1200" dirty="0"/>
            <a:t>Continuous Delivery</a:t>
          </a:r>
        </a:p>
      </dsp:txBody>
      <dsp:txXfrm>
        <a:off x="3495769" y="0"/>
        <a:ext cx="2337592" cy="416256"/>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758B83E-CFEC-43EC-AF0D-E790A3C16319}">
      <dsp:nvSpPr>
        <dsp:cNvPr id="0" name=""/>
        <dsp:cNvSpPr/>
      </dsp:nvSpPr>
      <dsp:spPr>
        <a:xfrm>
          <a:off x="105" y="185295"/>
          <a:ext cx="1058372" cy="423348"/>
        </a:xfrm>
        <a:prstGeom prst="homePlate">
          <a:avLst/>
        </a:prstGeom>
        <a:solidFill>
          <a:schemeClr val="bg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2672" tIns="21336" rIns="10668" bIns="21336" numCol="1" spcCol="1270" anchor="ctr" anchorCtr="0">
          <a:noAutofit/>
        </a:bodyPr>
        <a:lstStyle/>
        <a:p>
          <a:pPr marL="0" lvl="0" indent="0" algn="ctr" defTabSz="355600">
            <a:lnSpc>
              <a:spcPct val="90000"/>
            </a:lnSpc>
            <a:spcBef>
              <a:spcPct val="0"/>
            </a:spcBef>
            <a:spcAft>
              <a:spcPct val="35000"/>
            </a:spcAft>
            <a:buNone/>
          </a:pPr>
          <a:r>
            <a:rPr lang="en-US" sz="800" kern="1200" dirty="0"/>
            <a:t>Plan</a:t>
          </a:r>
        </a:p>
      </dsp:txBody>
      <dsp:txXfrm>
        <a:off x="105" y="185295"/>
        <a:ext cx="952535" cy="423348"/>
      </dsp:txXfrm>
    </dsp:sp>
    <dsp:sp modelId="{57F52E1E-2C2F-47A9-A6D9-CB7537BF727C}">
      <dsp:nvSpPr>
        <dsp:cNvPr id="0" name=""/>
        <dsp:cNvSpPr/>
      </dsp:nvSpPr>
      <dsp:spPr>
        <a:xfrm>
          <a:off x="846803" y="185295"/>
          <a:ext cx="1058372" cy="423348"/>
        </a:xfrm>
        <a:prstGeom prst="chevron">
          <a:avLst/>
        </a:prstGeom>
        <a:solidFill>
          <a:schemeClr val="bg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21336" rIns="10668" bIns="21336" numCol="1" spcCol="1270" anchor="ctr" anchorCtr="0">
          <a:noAutofit/>
        </a:bodyPr>
        <a:lstStyle/>
        <a:p>
          <a:pPr marL="0" lvl="0" indent="0" algn="ctr" defTabSz="355600">
            <a:lnSpc>
              <a:spcPct val="90000"/>
            </a:lnSpc>
            <a:spcBef>
              <a:spcPct val="0"/>
            </a:spcBef>
            <a:spcAft>
              <a:spcPct val="35000"/>
            </a:spcAft>
            <a:buNone/>
          </a:pPr>
          <a:r>
            <a:rPr lang="en-US" sz="800" kern="1200" dirty="0"/>
            <a:t>Code</a:t>
          </a:r>
        </a:p>
      </dsp:txBody>
      <dsp:txXfrm>
        <a:off x="1058477" y="185295"/>
        <a:ext cx="635024" cy="423348"/>
      </dsp:txXfrm>
    </dsp:sp>
    <dsp:sp modelId="{0D14839E-F7AA-41F1-8F21-377D4525EA32}">
      <dsp:nvSpPr>
        <dsp:cNvPr id="0" name=""/>
        <dsp:cNvSpPr/>
      </dsp:nvSpPr>
      <dsp:spPr>
        <a:xfrm>
          <a:off x="1693501" y="185295"/>
          <a:ext cx="1058372" cy="423348"/>
        </a:xfrm>
        <a:prstGeom prst="chevron">
          <a:avLst/>
        </a:prstGeom>
        <a:solidFill>
          <a:schemeClr val="bg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21336" rIns="10668" bIns="21336" numCol="1" spcCol="1270" anchor="ctr" anchorCtr="0">
          <a:noAutofit/>
        </a:bodyPr>
        <a:lstStyle/>
        <a:p>
          <a:pPr marL="0" lvl="0" indent="0" algn="ctr" defTabSz="355600">
            <a:lnSpc>
              <a:spcPct val="90000"/>
            </a:lnSpc>
            <a:spcBef>
              <a:spcPct val="0"/>
            </a:spcBef>
            <a:spcAft>
              <a:spcPct val="35000"/>
            </a:spcAft>
            <a:buNone/>
          </a:pPr>
          <a:r>
            <a:rPr lang="en-US" sz="800" kern="1200" dirty="0"/>
            <a:t>Build</a:t>
          </a:r>
        </a:p>
      </dsp:txBody>
      <dsp:txXfrm>
        <a:off x="1905175" y="185295"/>
        <a:ext cx="635024" cy="423348"/>
      </dsp:txXfrm>
    </dsp:sp>
    <dsp:sp modelId="{AC1BF143-926D-45ED-A5A3-43D05A5B5E05}">
      <dsp:nvSpPr>
        <dsp:cNvPr id="0" name=""/>
        <dsp:cNvSpPr/>
      </dsp:nvSpPr>
      <dsp:spPr>
        <a:xfrm>
          <a:off x="2540198" y="185295"/>
          <a:ext cx="1058372" cy="423348"/>
        </a:xfrm>
        <a:prstGeom prst="chevron">
          <a:avLst/>
        </a:prstGeom>
        <a:solidFill>
          <a:schemeClr val="bg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21336" rIns="10668" bIns="21336" numCol="1" spcCol="1270" anchor="ctr" anchorCtr="0">
          <a:noAutofit/>
        </a:bodyPr>
        <a:lstStyle/>
        <a:p>
          <a:pPr marL="0" lvl="0" indent="0" algn="ctr" defTabSz="355600">
            <a:lnSpc>
              <a:spcPct val="90000"/>
            </a:lnSpc>
            <a:spcBef>
              <a:spcPct val="0"/>
            </a:spcBef>
            <a:spcAft>
              <a:spcPct val="35000"/>
            </a:spcAft>
            <a:buNone/>
          </a:pPr>
          <a:r>
            <a:rPr lang="en-US" sz="800" kern="1200" dirty="0"/>
            <a:t>Unit Tests</a:t>
          </a:r>
        </a:p>
      </dsp:txBody>
      <dsp:txXfrm>
        <a:off x="2751872" y="185295"/>
        <a:ext cx="635024" cy="423348"/>
      </dsp:txXfrm>
    </dsp:sp>
    <dsp:sp modelId="{FAC99AAC-4206-4C8D-B75A-31CCAA24369E}">
      <dsp:nvSpPr>
        <dsp:cNvPr id="0" name=""/>
        <dsp:cNvSpPr/>
      </dsp:nvSpPr>
      <dsp:spPr>
        <a:xfrm>
          <a:off x="3386896" y="185295"/>
          <a:ext cx="1058372" cy="423348"/>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21336" rIns="10668" bIns="21336" numCol="1" spcCol="1270" anchor="ctr" anchorCtr="0">
          <a:noAutofit/>
        </a:bodyPr>
        <a:lstStyle/>
        <a:p>
          <a:pPr marL="0" lvl="0" indent="0" algn="ctr" defTabSz="355600">
            <a:lnSpc>
              <a:spcPct val="90000"/>
            </a:lnSpc>
            <a:spcBef>
              <a:spcPct val="0"/>
            </a:spcBef>
            <a:spcAft>
              <a:spcPct val="35000"/>
            </a:spcAft>
            <a:buNone/>
          </a:pPr>
          <a:r>
            <a:rPr lang="en-US" sz="800" kern="1200" dirty="0"/>
            <a:t>Code Coverage and </a:t>
          </a:r>
          <a:r>
            <a:rPr lang="en-US" sz="800" kern="1200" dirty="0" err="1"/>
            <a:t>Vulerabilities</a:t>
          </a:r>
          <a:endParaRPr lang="en-US" sz="800" kern="1200" dirty="0"/>
        </a:p>
      </dsp:txBody>
      <dsp:txXfrm>
        <a:off x="3598570" y="185295"/>
        <a:ext cx="635024" cy="423348"/>
      </dsp:txXfrm>
    </dsp:sp>
    <dsp:sp modelId="{EECB13DF-38FD-4199-93B9-448461C16185}">
      <dsp:nvSpPr>
        <dsp:cNvPr id="0" name=""/>
        <dsp:cNvSpPr/>
      </dsp:nvSpPr>
      <dsp:spPr>
        <a:xfrm>
          <a:off x="4233594" y="185295"/>
          <a:ext cx="1058372" cy="423348"/>
        </a:xfrm>
        <a:prstGeom prst="chevron">
          <a:avLst/>
        </a:prstGeom>
        <a:solidFill>
          <a:schemeClr val="bg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21336" rIns="10668" bIns="21336" numCol="1" spcCol="1270" anchor="ctr" anchorCtr="0">
          <a:noAutofit/>
        </a:bodyPr>
        <a:lstStyle/>
        <a:p>
          <a:pPr marL="0" lvl="0" indent="0" algn="ctr" defTabSz="355600">
            <a:lnSpc>
              <a:spcPct val="90000"/>
            </a:lnSpc>
            <a:spcBef>
              <a:spcPct val="0"/>
            </a:spcBef>
            <a:spcAft>
              <a:spcPct val="35000"/>
            </a:spcAft>
            <a:buNone/>
          </a:pPr>
          <a:r>
            <a:rPr lang="en-US" sz="800" kern="1200" dirty="0"/>
            <a:t>Artifact publish</a:t>
          </a:r>
        </a:p>
      </dsp:txBody>
      <dsp:txXfrm>
        <a:off x="4445268" y="185295"/>
        <a:ext cx="635024" cy="423348"/>
      </dsp:txXfrm>
    </dsp:sp>
    <dsp:sp modelId="{1C920BC9-2570-439E-8481-8C6F1CB98E73}">
      <dsp:nvSpPr>
        <dsp:cNvPr id="0" name=""/>
        <dsp:cNvSpPr/>
      </dsp:nvSpPr>
      <dsp:spPr>
        <a:xfrm>
          <a:off x="5080291" y="185295"/>
          <a:ext cx="1058372" cy="423348"/>
        </a:xfrm>
        <a:prstGeom prst="chevron">
          <a:avLst/>
        </a:prstGeom>
        <a:solidFill>
          <a:schemeClr val="bg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21336" rIns="10668" bIns="21336" numCol="1" spcCol="1270" anchor="ctr" anchorCtr="0">
          <a:noAutofit/>
        </a:bodyPr>
        <a:lstStyle/>
        <a:p>
          <a:pPr marL="0" lvl="0" indent="0" algn="ctr" defTabSz="355600">
            <a:lnSpc>
              <a:spcPct val="90000"/>
            </a:lnSpc>
            <a:spcBef>
              <a:spcPct val="0"/>
            </a:spcBef>
            <a:spcAft>
              <a:spcPct val="35000"/>
            </a:spcAft>
            <a:buNone/>
          </a:pPr>
          <a:r>
            <a:rPr lang="en-US" sz="800" kern="1200" dirty="0"/>
            <a:t>Deploy</a:t>
          </a:r>
        </a:p>
      </dsp:txBody>
      <dsp:txXfrm>
        <a:off x="5291965" y="185295"/>
        <a:ext cx="635024" cy="423348"/>
      </dsp:txXfrm>
    </dsp:sp>
    <dsp:sp modelId="{E8BBFEEE-B21B-4C1D-846B-B89F01B73A44}">
      <dsp:nvSpPr>
        <dsp:cNvPr id="0" name=""/>
        <dsp:cNvSpPr/>
      </dsp:nvSpPr>
      <dsp:spPr>
        <a:xfrm>
          <a:off x="5926989" y="185295"/>
          <a:ext cx="1058372" cy="423348"/>
        </a:xfrm>
        <a:prstGeom prst="chevron">
          <a:avLst/>
        </a:prstGeom>
        <a:solidFill>
          <a:schemeClr val="bg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21336" rIns="10668" bIns="21336" numCol="1" spcCol="1270" anchor="ctr" anchorCtr="0">
          <a:noAutofit/>
        </a:bodyPr>
        <a:lstStyle/>
        <a:p>
          <a:pPr marL="0" lvl="0" indent="0" algn="ctr" defTabSz="355600">
            <a:lnSpc>
              <a:spcPct val="90000"/>
            </a:lnSpc>
            <a:spcBef>
              <a:spcPct val="0"/>
            </a:spcBef>
            <a:spcAft>
              <a:spcPct val="35000"/>
            </a:spcAft>
            <a:buNone/>
          </a:pPr>
          <a:r>
            <a:rPr lang="en-US" sz="800" kern="1200" dirty="0"/>
            <a:t>Integration Tests</a:t>
          </a:r>
        </a:p>
      </dsp:txBody>
      <dsp:txXfrm>
        <a:off x="6138663" y="185295"/>
        <a:ext cx="635024" cy="423348"/>
      </dsp:txXfrm>
    </dsp:sp>
    <dsp:sp modelId="{2297D37F-06A9-4D3B-9E7D-1BFE806033E6}">
      <dsp:nvSpPr>
        <dsp:cNvPr id="0" name=""/>
        <dsp:cNvSpPr/>
      </dsp:nvSpPr>
      <dsp:spPr>
        <a:xfrm>
          <a:off x="6773687" y="185295"/>
          <a:ext cx="1058372" cy="423348"/>
        </a:xfrm>
        <a:prstGeom prst="chevron">
          <a:avLst/>
        </a:prstGeom>
        <a:solidFill>
          <a:schemeClr val="bg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21336" rIns="10668" bIns="21336" numCol="1" spcCol="1270" anchor="ctr" anchorCtr="0">
          <a:noAutofit/>
        </a:bodyPr>
        <a:lstStyle/>
        <a:p>
          <a:pPr marL="0" lvl="0" indent="0" algn="ctr" defTabSz="355600">
            <a:lnSpc>
              <a:spcPct val="90000"/>
            </a:lnSpc>
            <a:spcBef>
              <a:spcPct val="0"/>
            </a:spcBef>
            <a:spcAft>
              <a:spcPct val="35000"/>
            </a:spcAft>
            <a:buNone/>
          </a:pPr>
          <a:r>
            <a:rPr lang="en-US" sz="800" kern="1200" dirty="0"/>
            <a:t>E2E Tests</a:t>
          </a:r>
        </a:p>
      </dsp:txBody>
      <dsp:txXfrm>
        <a:off x="6985361" y="185295"/>
        <a:ext cx="635024" cy="423348"/>
      </dsp:txXfrm>
    </dsp:sp>
    <dsp:sp modelId="{8BF2E94A-9EDA-4D1B-B447-B22DF4954F6F}">
      <dsp:nvSpPr>
        <dsp:cNvPr id="0" name=""/>
        <dsp:cNvSpPr/>
      </dsp:nvSpPr>
      <dsp:spPr>
        <a:xfrm>
          <a:off x="7620384" y="185295"/>
          <a:ext cx="1058372" cy="423348"/>
        </a:xfrm>
        <a:prstGeom prst="chevron">
          <a:avLst/>
        </a:prstGeom>
        <a:solidFill>
          <a:schemeClr val="bg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21336" rIns="10668" bIns="21336" numCol="1" spcCol="1270" anchor="ctr" anchorCtr="0">
          <a:noAutofit/>
        </a:bodyPr>
        <a:lstStyle/>
        <a:p>
          <a:pPr marL="0" lvl="0" indent="0" algn="ctr" defTabSz="355600">
            <a:lnSpc>
              <a:spcPct val="90000"/>
            </a:lnSpc>
            <a:spcBef>
              <a:spcPct val="0"/>
            </a:spcBef>
            <a:spcAft>
              <a:spcPct val="35000"/>
            </a:spcAft>
            <a:buNone/>
          </a:pPr>
          <a:r>
            <a:rPr lang="en-US" sz="800" kern="1200" dirty="0"/>
            <a:t>Deploy and Release</a:t>
          </a:r>
        </a:p>
      </dsp:txBody>
      <dsp:txXfrm>
        <a:off x="7832058" y="185295"/>
        <a:ext cx="635024" cy="423348"/>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00BB1A8-A75B-46B4-A88C-52BAAA4EA6C2}">
      <dsp:nvSpPr>
        <dsp:cNvPr id="0" name=""/>
        <dsp:cNvSpPr/>
      </dsp:nvSpPr>
      <dsp:spPr>
        <a:xfrm>
          <a:off x="20593" y="0"/>
          <a:ext cx="3551311" cy="416256"/>
        </a:xfrm>
        <a:prstGeom prst="homePlate">
          <a:avLst/>
        </a:prstGeom>
        <a:solidFill>
          <a:schemeClr val="bg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6012" tIns="48006" rIns="24003" bIns="48006" numCol="1" spcCol="1270" anchor="ctr" anchorCtr="0">
          <a:noAutofit/>
        </a:bodyPr>
        <a:lstStyle/>
        <a:p>
          <a:pPr marL="0" lvl="0" indent="0" algn="ctr" defTabSz="800100">
            <a:lnSpc>
              <a:spcPct val="90000"/>
            </a:lnSpc>
            <a:spcBef>
              <a:spcPct val="0"/>
            </a:spcBef>
            <a:spcAft>
              <a:spcPct val="35000"/>
            </a:spcAft>
            <a:buNone/>
          </a:pPr>
          <a:r>
            <a:rPr lang="en-US" sz="1800" kern="1200" dirty="0"/>
            <a:t>Continuous Integration</a:t>
          </a:r>
        </a:p>
      </dsp:txBody>
      <dsp:txXfrm>
        <a:off x="20593" y="0"/>
        <a:ext cx="3447247" cy="416256"/>
      </dsp:txXfrm>
    </dsp:sp>
    <dsp:sp modelId="{C41A44A8-F315-467A-BC7A-DF5D204D36AC}">
      <dsp:nvSpPr>
        <dsp:cNvPr id="0" name=""/>
        <dsp:cNvSpPr/>
      </dsp:nvSpPr>
      <dsp:spPr>
        <a:xfrm>
          <a:off x="3287641" y="0"/>
          <a:ext cx="2753848" cy="416256"/>
        </a:xfrm>
        <a:prstGeom prst="chevron">
          <a:avLst/>
        </a:prstGeom>
        <a:solidFill>
          <a:schemeClr val="bg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48006" rIns="24003" bIns="48006" numCol="1" spcCol="1270" anchor="ctr" anchorCtr="0">
          <a:noAutofit/>
        </a:bodyPr>
        <a:lstStyle/>
        <a:p>
          <a:pPr marL="0" lvl="0" indent="0" algn="ctr" defTabSz="800100">
            <a:lnSpc>
              <a:spcPct val="90000"/>
            </a:lnSpc>
            <a:spcBef>
              <a:spcPct val="0"/>
            </a:spcBef>
            <a:spcAft>
              <a:spcPct val="35000"/>
            </a:spcAft>
            <a:buNone/>
          </a:pPr>
          <a:r>
            <a:rPr lang="en-US" sz="1800" kern="1200" dirty="0"/>
            <a:t>Continuous Delivery</a:t>
          </a:r>
        </a:p>
      </dsp:txBody>
      <dsp:txXfrm>
        <a:off x="3495769" y="0"/>
        <a:ext cx="2337592" cy="416256"/>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758B83E-CFEC-43EC-AF0D-E790A3C16319}">
      <dsp:nvSpPr>
        <dsp:cNvPr id="0" name=""/>
        <dsp:cNvSpPr/>
      </dsp:nvSpPr>
      <dsp:spPr>
        <a:xfrm>
          <a:off x="105" y="185295"/>
          <a:ext cx="1058372" cy="423348"/>
        </a:xfrm>
        <a:prstGeom prst="homePlate">
          <a:avLst/>
        </a:prstGeom>
        <a:solidFill>
          <a:schemeClr val="bg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2672" tIns="21336" rIns="10668" bIns="21336" numCol="1" spcCol="1270" anchor="ctr" anchorCtr="0">
          <a:noAutofit/>
        </a:bodyPr>
        <a:lstStyle/>
        <a:p>
          <a:pPr marL="0" lvl="0" indent="0" algn="ctr" defTabSz="355600">
            <a:lnSpc>
              <a:spcPct val="90000"/>
            </a:lnSpc>
            <a:spcBef>
              <a:spcPct val="0"/>
            </a:spcBef>
            <a:spcAft>
              <a:spcPct val="35000"/>
            </a:spcAft>
            <a:buNone/>
          </a:pPr>
          <a:r>
            <a:rPr lang="en-US" sz="800" kern="1200" dirty="0"/>
            <a:t>Plan</a:t>
          </a:r>
        </a:p>
      </dsp:txBody>
      <dsp:txXfrm>
        <a:off x="105" y="185295"/>
        <a:ext cx="952535" cy="423348"/>
      </dsp:txXfrm>
    </dsp:sp>
    <dsp:sp modelId="{57F52E1E-2C2F-47A9-A6D9-CB7537BF727C}">
      <dsp:nvSpPr>
        <dsp:cNvPr id="0" name=""/>
        <dsp:cNvSpPr/>
      </dsp:nvSpPr>
      <dsp:spPr>
        <a:xfrm>
          <a:off x="846803" y="185295"/>
          <a:ext cx="1058372" cy="423348"/>
        </a:xfrm>
        <a:prstGeom prst="chevron">
          <a:avLst/>
        </a:prstGeom>
        <a:solidFill>
          <a:schemeClr val="bg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21336" rIns="10668" bIns="21336" numCol="1" spcCol="1270" anchor="ctr" anchorCtr="0">
          <a:noAutofit/>
        </a:bodyPr>
        <a:lstStyle/>
        <a:p>
          <a:pPr marL="0" lvl="0" indent="0" algn="ctr" defTabSz="355600">
            <a:lnSpc>
              <a:spcPct val="90000"/>
            </a:lnSpc>
            <a:spcBef>
              <a:spcPct val="0"/>
            </a:spcBef>
            <a:spcAft>
              <a:spcPct val="35000"/>
            </a:spcAft>
            <a:buNone/>
          </a:pPr>
          <a:r>
            <a:rPr lang="en-US" sz="800" kern="1200" dirty="0"/>
            <a:t>Code</a:t>
          </a:r>
        </a:p>
      </dsp:txBody>
      <dsp:txXfrm>
        <a:off x="1058477" y="185295"/>
        <a:ext cx="635024" cy="423348"/>
      </dsp:txXfrm>
    </dsp:sp>
    <dsp:sp modelId="{0D14839E-F7AA-41F1-8F21-377D4525EA32}">
      <dsp:nvSpPr>
        <dsp:cNvPr id="0" name=""/>
        <dsp:cNvSpPr/>
      </dsp:nvSpPr>
      <dsp:spPr>
        <a:xfrm>
          <a:off x="1693501" y="185295"/>
          <a:ext cx="1058372" cy="423348"/>
        </a:xfrm>
        <a:prstGeom prst="chevron">
          <a:avLst/>
        </a:prstGeom>
        <a:solidFill>
          <a:schemeClr val="bg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21336" rIns="10668" bIns="21336" numCol="1" spcCol="1270" anchor="ctr" anchorCtr="0">
          <a:noAutofit/>
        </a:bodyPr>
        <a:lstStyle/>
        <a:p>
          <a:pPr marL="0" lvl="0" indent="0" algn="ctr" defTabSz="355600">
            <a:lnSpc>
              <a:spcPct val="90000"/>
            </a:lnSpc>
            <a:spcBef>
              <a:spcPct val="0"/>
            </a:spcBef>
            <a:spcAft>
              <a:spcPct val="35000"/>
            </a:spcAft>
            <a:buNone/>
          </a:pPr>
          <a:r>
            <a:rPr lang="en-US" sz="800" kern="1200" dirty="0"/>
            <a:t>Build</a:t>
          </a:r>
        </a:p>
      </dsp:txBody>
      <dsp:txXfrm>
        <a:off x="1905175" y="185295"/>
        <a:ext cx="635024" cy="423348"/>
      </dsp:txXfrm>
    </dsp:sp>
    <dsp:sp modelId="{AC1BF143-926D-45ED-A5A3-43D05A5B5E05}">
      <dsp:nvSpPr>
        <dsp:cNvPr id="0" name=""/>
        <dsp:cNvSpPr/>
      </dsp:nvSpPr>
      <dsp:spPr>
        <a:xfrm>
          <a:off x="2540198" y="185295"/>
          <a:ext cx="1058372" cy="423348"/>
        </a:xfrm>
        <a:prstGeom prst="chevron">
          <a:avLst/>
        </a:prstGeom>
        <a:solidFill>
          <a:schemeClr val="bg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21336" rIns="10668" bIns="21336" numCol="1" spcCol="1270" anchor="ctr" anchorCtr="0">
          <a:noAutofit/>
        </a:bodyPr>
        <a:lstStyle/>
        <a:p>
          <a:pPr marL="0" lvl="0" indent="0" algn="ctr" defTabSz="355600">
            <a:lnSpc>
              <a:spcPct val="90000"/>
            </a:lnSpc>
            <a:spcBef>
              <a:spcPct val="0"/>
            </a:spcBef>
            <a:spcAft>
              <a:spcPct val="35000"/>
            </a:spcAft>
            <a:buNone/>
          </a:pPr>
          <a:r>
            <a:rPr lang="en-US" sz="800" kern="1200" dirty="0"/>
            <a:t>Unit Tests</a:t>
          </a:r>
        </a:p>
      </dsp:txBody>
      <dsp:txXfrm>
        <a:off x="2751872" y="185295"/>
        <a:ext cx="635024" cy="423348"/>
      </dsp:txXfrm>
    </dsp:sp>
    <dsp:sp modelId="{FAC99AAC-4206-4C8D-B75A-31CCAA24369E}">
      <dsp:nvSpPr>
        <dsp:cNvPr id="0" name=""/>
        <dsp:cNvSpPr/>
      </dsp:nvSpPr>
      <dsp:spPr>
        <a:xfrm>
          <a:off x="3386896" y="185295"/>
          <a:ext cx="1058372" cy="423348"/>
        </a:xfrm>
        <a:prstGeom prst="chevron">
          <a:avLst/>
        </a:prstGeom>
        <a:solidFill>
          <a:schemeClr val="bg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21336" rIns="10668" bIns="21336" numCol="1" spcCol="1270" anchor="ctr" anchorCtr="0">
          <a:noAutofit/>
        </a:bodyPr>
        <a:lstStyle/>
        <a:p>
          <a:pPr marL="0" lvl="0" indent="0" algn="ctr" defTabSz="355600">
            <a:lnSpc>
              <a:spcPct val="90000"/>
            </a:lnSpc>
            <a:spcBef>
              <a:spcPct val="0"/>
            </a:spcBef>
            <a:spcAft>
              <a:spcPct val="35000"/>
            </a:spcAft>
            <a:buNone/>
          </a:pPr>
          <a:r>
            <a:rPr lang="en-US" sz="800" kern="1200" dirty="0"/>
            <a:t>Code Coverage and </a:t>
          </a:r>
          <a:r>
            <a:rPr lang="en-US" sz="800" kern="1200" dirty="0" err="1"/>
            <a:t>Vulerabilities</a:t>
          </a:r>
          <a:endParaRPr lang="en-US" sz="800" kern="1200" dirty="0"/>
        </a:p>
      </dsp:txBody>
      <dsp:txXfrm>
        <a:off x="3598570" y="185295"/>
        <a:ext cx="635024" cy="423348"/>
      </dsp:txXfrm>
    </dsp:sp>
    <dsp:sp modelId="{EECB13DF-38FD-4199-93B9-448461C16185}">
      <dsp:nvSpPr>
        <dsp:cNvPr id="0" name=""/>
        <dsp:cNvSpPr/>
      </dsp:nvSpPr>
      <dsp:spPr>
        <a:xfrm>
          <a:off x="4233594" y="185295"/>
          <a:ext cx="1058372" cy="423348"/>
        </a:xfrm>
        <a:prstGeom prst="chevron">
          <a:avLst/>
        </a:prstGeom>
        <a:solidFill>
          <a:schemeClr val="accent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21336" rIns="10668" bIns="21336" numCol="1" spcCol="1270" anchor="ctr" anchorCtr="0">
          <a:noAutofit/>
        </a:bodyPr>
        <a:lstStyle/>
        <a:p>
          <a:pPr marL="0" lvl="0" indent="0" algn="ctr" defTabSz="355600">
            <a:lnSpc>
              <a:spcPct val="90000"/>
            </a:lnSpc>
            <a:spcBef>
              <a:spcPct val="0"/>
            </a:spcBef>
            <a:spcAft>
              <a:spcPct val="35000"/>
            </a:spcAft>
            <a:buNone/>
          </a:pPr>
          <a:r>
            <a:rPr lang="en-US" sz="800" kern="1200" dirty="0"/>
            <a:t>Artifact publish</a:t>
          </a:r>
        </a:p>
      </dsp:txBody>
      <dsp:txXfrm>
        <a:off x="4445268" y="185295"/>
        <a:ext cx="635024" cy="423348"/>
      </dsp:txXfrm>
    </dsp:sp>
    <dsp:sp modelId="{1C920BC9-2570-439E-8481-8C6F1CB98E73}">
      <dsp:nvSpPr>
        <dsp:cNvPr id="0" name=""/>
        <dsp:cNvSpPr/>
      </dsp:nvSpPr>
      <dsp:spPr>
        <a:xfrm>
          <a:off x="5080291" y="185295"/>
          <a:ext cx="1058372" cy="423348"/>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21336" rIns="10668" bIns="21336" numCol="1" spcCol="1270" anchor="ctr" anchorCtr="0">
          <a:noAutofit/>
        </a:bodyPr>
        <a:lstStyle/>
        <a:p>
          <a:pPr marL="0" lvl="0" indent="0" algn="ctr" defTabSz="355600">
            <a:lnSpc>
              <a:spcPct val="90000"/>
            </a:lnSpc>
            <a:spcBef>
              <a:spcPct val="0"/>
            </a:spcBef>
            <a:spcAft>
              <a:spcPct val="35000"/>
            </a:spcAft>
            <a:buNone/>
          </a:pPr>
          <a:r>
            <a:rPr lang="en-US" sz="800" kern="1200" dirty="0"/>
            <a:t>Deploy</a:t>
          </a:r>
        </a:p>
      </dsp:txBody>
      <dsp:txXfrm>
        <a:off x="5291965" y="185295"/>
        <a:ext cx="635024" cy="423348"/>
      </dsp:txXfrm>
    </dsp:sp>
    <dsp:sp modelId="{E8BBFEEE-B21B-4C1D-846B-B89F01B73A44}">
      <dsp:nvSpPr>
        <dsp:cNvPr id="0" name=""/>
        <dsp:cNvSpPr/>
      </dsp:nvSpPr>
      <dsp:spPr>
        <a:xfrm>
          <a:off x="5926989" y="185295"/>
          <a:ext cx="1058372" cy="423348"/>
        </a:xfrm>
        <a:prstGeom prst="chevron">
          <a:avLst/>
        </a:prstGeom>
        <a:solidFill>
          <a:schemeClr val="bg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21336" rIns="10668" bIns="21336" numCol="1" spcCol="1270" anchor="ctr" anchorCtr="0">
          <a:noAutofit/>
        </a:bodyPr>
        <a:lstStyle/>
        <a:p>
          <a:pPr marL="0" lvl="0" indent="0" algn="ctr" defTabSz="355600">
            <a:lnSpc>
              <a:spcPct val="90000"/>
            </a:lnSpc>
            <a:spcBef>
              <a:spcPct val="0"/>
            </a:spcBef>
            <a:spcAft>
              <a:spcPct val="35000"/>
            </a:spcAft>
            <a:buNone/>
          </a:pPr>
          <a:r>
            <a:rPr lang="en-US" sz="800" kern="1200" dirty="0"/>
            <a:t>Integration Tests</a:t>
          </a:r>
        </a:p>
      </dsp:txBody>
      <dsp:txXfrm>
        <a:off x="6138663" y="185295"/>
        <a:ext cx="635024" cy="423348"/>
      </dsp:txXfrm>
    </dsp:sp>
    <dsp:sp modelId="{2297D37F-06A9-4D3B-9E7D-1BFE806033E6}">
      <dsp:nvSpPr>
        <dsp:cNvPr id="0" name=""/>
        <dsp:cNvSpPr/>
      </dsp:nvSpPr>
      <dsp:spPr>
        <a:xfrm>
          <a:off x="6773687" y="185295"/>
          <a:ext cx="1058372" cy="423348"/>
        </a:xfrm>
        <a:prstGeom prst="chevron">
          <a:avLst/>
        </a:prstGeom>
        <a:solidFill>
          <a:schemeClr val="bg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21336" rIns="10668" bIns="21336" numCol="1" spcCol="1270" anchor="ctr" anchorCtr="0">
          <a:noAutofit/>
        </a:bodyPr>
        <a:lstStyle/>
        <a:p>
          <a:pPr marL="0" lvl="0" indent="0" algn="ctr" defTabSz="355600">
            <a:lnSpc>
              <a:spcPct val="90000"/>
            </a:lnSpc>
            <a:spcBef>
              <a:spcPct val="0"/>
            </a:spcBef>
            <a:spcAft>
              <a:spcPct val="35000"/>
            </a:spcAft>
            <a:buNone/>
          </a:pPr>
          <a:r>
            <a:rPr lang="en-US" sz="800" kern="1200" dirty="0"/>
            <a:t>E2E Tests</a:t>
          </a:r>
        </a:p>
      </dsp:txBody>
      <dsp:txXfrm>
        <a:off x="6985361" y="185295"/>
        <a:ext cx="635024" cy="423348"/>
      </dsp:txXfrm>
    </dsp:sp>
    <dsp:sp modelId="{8BF2E94A-9EDA-4D1B-B447-B22DF4954F6F}">
      <dsp:nvSpPr>
        <dsp:cNvPr id="0" name=""/>
        <dsp:cNvSpPr/>
      </dsp:nvSpPr>
      <dsp:spPr>
        <a:xfrm>
          <a:off x="7620384" y="185295"/>
          <a:ext cx="1058372" cy="423348"/>
        </a:xfrm>
        <a:prstGeom prst="chevron">
          <a:avLst/>
        </a:prstGeom>
        <a:solidFill>
          <a:schemeClr val="bg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21336" rIns="10668" bIns="21336" numCol="1" spcCol="1270" anchor="ctr" anchorCtr="0">
          <a:noAutofit/>
        </a:bodyPr>
        <a:lstStyle/>
        <a:p>
          <a:pPr marL="0" lvl="0" indent="0" algn="ctr" defTabSz="355600">
            <a:lnSpc>
              <a:spcPct val="90000"/>
            </a:lnSpc>
            <a:spcBef>
              <a:spcPct val="0"/>
            </a:spcBef>
            <a:spcAft>
              <a:spcPct val="35000"/>
            </a:spcAft>
            <a:buNone/>
          </a:pPr>
          <a:r>
            <a:rPr lang="en-US" sz="800" kern="1200" dirty="0"/>
            <a:t>Deploy and Release</a:t>
          </a:r>
        </a:p>
      </dsp:txBody>
      <dsp:txXfrm>
        <a:off x="7832058" y="185295"/>
        <a:ext cx="635024" cy="423348"/>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00BB1A8-A75B-46B4-A88C-52BAAA4EA6C2}">
      <dsp:nvSpPr>
        <dsp:cNvPr id="0" name=""/>
        <dsp:cNvSpPr/>
      </dsp:nvSpPr>
      <dsp:spPr>
        <a:xfrm>
          <a:off x="20593" y="0"/>
          <a:ext cx="3551311" cy="416256"/>
        </a:xfrm>
        <a:prstGeom prst="homePlate">
          <a:avLst/>
        </a:prstGeom>
        <a:solidFill>
          <a:schemeClr val="bg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6012" tIns="48006" rIns="24003" bIns="48006" numCol="1" spcCol="1270" anchor="ctr" anchorCtr="0">
          <a:noAutofit/>
        </a:bodyPr>
        <a:lstStyle/>
        <a:p>
          <a:pPr marL="0" lvl="0" indent="0" algn="ctr" defTabSz="800100">
            <a:lnSpc>
              <a:spcPct val="90000"/>
            </a:lnSpc>
            <a:spcBef>
              <a:spcPct val="0"/>
            </a:spcBef>
            <a:spcAft>
              <a:spcPct val="35000"/>
            </a:spcAft>
            <a:buNone/>
          </a:pPr>
          <a:r>
            <a:rPr lang="en-US" sz="1800" kern="1200" dirty="0"/>
            <a:t>Continuous Integration</a:t>
          </a:r>
        </a:p>
      </dsp:txBody>
      <dsp:txXfrm>
        <a:off x="20593" y="0"/>
        <a:ext cx="3447247" cy="416256"/>
      </dsp:txXfrm>
    </dsp:sp>
    <dsp:sp modelId="{C41A44A8-F315-467A-BC7A-DF5D204D36AC}">
      <dsp:nvSpPr>
        <dsp:cNvPr id="0" name=""/>
        <dsp:cNvSpPr/>
      </dsp:nvSpPr>
      <dsp:spPr>
        <a:xfrm>
          <a:off x="3287641" y="0"/>
          <a:ext cx="2753848" cy="416256"/>
        </a:xfrm>
        <a:prstGeom prst="chevron">
          <a:avLst/>
        </a:prstGeom>
        <a:solidFill>
          <a:schemeClr val="bg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48006" rIns="24003" bIns="48006" numCol="1" spcCol="1270" anchor="ctr" anchorCtr="0">
          <a:noAutofit/>
        </a:bodyPr>
        <a:lstStyle/>
        <a:p>
          <a:pPr marL="0" lvl="0" indent="0" algn="ctr" defTabSz="800100">
            <a:lnSpc>
              <a:spcPct val="90000"/>
            </a:lnSpc>
            <a:spcBef>
              <a:spcPct val="0"/>
            </a:spcBef>
            <a:spcAft>
              <a:spcPct val="35000"/>
            </a:spcAft>
            <a:buNone/>
          </a:pPr>
          <a:r>
            <a:rPr lang="en-US" sz="1800" kern="1200" dirty="0"/>
            <a:t>Continuous Delivery</a:t>
          </a:r>
        </a:p>
      </dsp:txBody>
      <dsp:txXfrm>
        <a:off x="3495769" y="0"/>
        <a:ext cx="2337592" cy="416256"/>
      </dsp:txXfrm>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758B83E-CFEC-43EC-AF0D-E790A3C16319}">
      <dsp:nvSpPr>
        <dsp:cNvPr id="0" name=""/>
        <dsp:cNvSpPr/>
      </dsp:nvSpPr>
      <dsp:spPr>
        <a:xfrm>
          <a:off x="105" y="185295"/>
          <a:ext cx="1058372" cy="423348"/>
        </a:xfrm>
        <a:prstGeom prst="homePlate">
          <a:avLst/>
        </a:prstGeom>
        <a:solidFill>
          <a:schemeClr val="bg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2672" tIns="21336" rIns="10668" bIns="21336" numCol="1" spcCol="1270" anchor="ctr" anchorCtr="0">
          <a:noAutofit/>
        </a:bodyPr>
        <a:lstStyle/>
        <a:p>
          <a:pPr marL="0" lvl="0" indent="0" algn="ctr" defTabSz="355600">
            <a:lnSpc>
              <a:spcPct val="90000"/>
            </a:lnSpc>
            <a:spcBef>
              <a:spcPct val="0"/>
            </a:spcBef>
            <a:spcAft>
              <a:spcPct val="35000"/>
            </a:spcAft>
            <a:buNone/>
          </a:pPr>
          <a:r>
            <a:rPr lang="en-US" sz="800" kern="1200" dirty="0"/>
            <a:t>Plan</a:t>
          </a:r>
        </a:p>
      </dsp:txBody>
      <dsp:txXfrm>
        <a:off x="105" y="185295"/>
        <a:ext cx="952535" cy="423348"/>
      </dsp:txXfrm>
    </dsp:sp>
    <dsp:sp modelId="{57F52E1E-2C2F-47A9-A6D9-CB7537BF727C}">
      <dsp:nvSpPr>
        <dsp:cNvPr id="0" name=""/>
        <dsp:cNvSpPr/>
      </dsp:nvSpPr>
      <dsp:spPr>
        <a:xfrm>
          <a:off x="846803" y="185295"/>
          <a:ext cx="1058372" cy="423348"/>
        </a:xfrm>
        <a:prstGeom prst="chevron">
          <a:avLst/>
        </a:prstGeom>
        <a:solidFill>
          <a:schemeClr val="bg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21336" rIns="10668" bIns="21336" numCol="1" spcCol="1270" anchor="ctr" anchorCtr="0">
          <a:noAutofit/>
        </a:bodyPr>
        <a:lstStyle/>
        <a:p>
          <a:pPr marL="0" lvl="0" indent="0" algn="ctr" defTabSz="355600">
            <a:lnSpc>
              <a:spcPct val="90000"/>
            </a:lnSpc>
            <a:spcBef>
              <a:spcPct val="0"/>
            </a:spcBef>
            <a:spcAft>
              <a:spcPct val="35000"/>
            </a:spcAft>
            <a:buNone/>
          </a:pPr>
          <a:r>
            <a:rPr lang="en-US" sz="800" kern="1200" dirty="0"/>
            <a:t>Code</a:t>
          </a:r>
        </a:p>
      </dsp:txBody>
      <dsp:txXfrm>
        <a:off x="1058477" y="185295"/>
        <a:ext cx="635024" cy="423348"/>
      </dsp:txXfrm>
    </dsp:sp>
    <dsp:sp modelId="{0D14839E-F7AA-41F1-8F21-377D4525EA32}">
      <dsp:nvSpPr>
        <dsp:cNvPr id="0" name=""/>
        <dsp:cNvSpPr/>
      </dsp:nvSpPr>
      <dsp:spPr>
        <a:xfrm>
          <a:off x="1693501" y="185295"/>
          <a:ext cx="1058372" cy="423348"/>
        </a:xfrm>
        <a:prstGeom prst="chevron">
          <a:avLst/>
        </a:prstGeom>
        <a:solidFill>
          <a:schemeClr val="bg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21336" rIns="10668" bIns="21336" numCol="1" spcCol="1270" anchor="ctr" anchorCtr="0">
          <a:noAutofit/>
        </a:bodyPr>
        <a:lstStyle/>
        <a:p>
          <a:pPr marL="0" lvl="0" indent="0" algn="ctr" defTabSz="355600">
            <a:lnSpc>
              <a:spcPct val="90000"/>
            </a:lnSpc>
            <a:spcBef>
              <a:spcPct val="0"/>
            </a:spcBef>
            <a:spcAft>
              <a:spcPct val="35000"/>
            </a:spcAft>
            <a:buNone/>
          </a:pPr>
          <a:r>
            <a:rPr lang="en-US" sz="800" kern="1200" dirty="0"/>
            <a:t>Build</a:t>
          </a:r>
        </a:p>
      </dsp:txBody>
      <dsp:txXfrm>
        <a:off x="1905175" y="185295"/>
        <a:ext cx="635024" cy="423348"/>
      </dsp:txXfrm>
    </dsp:sp>
    <dsp:sp modelId="{AC1BF143-926D-45ED-A5A3-43D05A5B5E05}">
      <dsp:nvSpPr>
        <dsp:cNvPr id="0" name=""/>
        <dsp:cNvSpPr/>
      </dsp:nvSpPr>
      <dsp:spPr>
        <a:xfrm>
          <a:off x="2540198" y="185295"/>
          <a:ext cx="1058372" cy="423348"/>
        </a:xfrm>
        <a:prstGeom prst="chevron">
          <a:avLst/>
        </a:prstGeom>
        <a:solidFill>
          <a:schemeClr val="bg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21336" rIns="10668" bIns="21336" numCol="1" spcCol="1270" anchor="ctr" anchorCtr="0">
          <a:noAutofit/>
        </a:bodyPr>
        <a:lstStyle/>
        <a:p>
          <a:pPr marL="0" lvl="0" indent="0" algn="ctr" defTabSz="355600">
            <a:lnSpc>
              <a:spcPct val="90000"/>
            </a:lnSpc>
            <a:spcBef>
              <a:spcPct val="0"/>
            </a:spcBef>
            <a:spcAft>
              <a:spcPct val="35000"/>
            </a:spcAft>
            <a:buNone/>
          </a:pPr>
          <a:r>
            <a:rPr lang="en-US" sz="800" kern="1200" dirty="0"/>
            <a:t>Unit Tests</a:t>
          </a:r>
        </a:p>
      </dsp:txBody>
      <dsp:txXfrm>
        <a:off x="2751872" y="185295"/>
        <a:ext cx="635024" cy="423348"/>
      </dsp:txXfrm>
    </dsp:sp>
    <dsp:sp modelId="{FAC99AAC-4206-4C8D-B75A-31CCAA24369E}">
      <dsp:nvSpPr>
        <dsp:cNvPr id="0" name=""/>
        <dsp:cNvSpPr/>
      </dsp:nvSpPr>
      <dsp:spPr>
        <a:xfrm>
          <a:off x="3386896" y="185295"/>
          <a:ext cx="1058372" cy="423348"/>
        </a:xfrm>
        <a:prstGeom prst="chevron">
          <a:avLst/>
        </a:prstGeom>
        <a:solidFill>
          <a:schemeClr val="bg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21336" rIns="10668" bIns="21336" numCol="1" spcCol="1270" anchor="ctr" anchorCtr="0">
          <a:noAutofit/>
        </a:bodyPr>
        <a:lstStyle/>
        <a:p>
          <a:pPr marL="0" lvl="0" indent="0" algn="ctr" defTabSz="355600">
            <a:lnSpc>
              <a:spcPct val="90000"/>
            </a:lnSpc>
            <a:spcBef>
              <a:spcPct val="0"/>
            </a:spcBef>
            <a:spcAft>
              <a:spcPct val="35000"/>
            </a:spcAft>
            <a:buNone/>
          </a:pPr>
          <a:r>
            <a:rPr lang="en-US" sz="800" kern="1200" dirty="0"/>
            <a:t>Code Coverage and </a:t>
          </a:r>
          <a:r>
            <a:rPr lang="en-US" sz="800" kern="1200" dirty="0" err="1"/>
            <a:t>Vulerabilities</a:t>
          </a:r>
          <a:endParaRPr lang="en-US" sz="800" kern="1200" dirty="0"/>
        </a:p>
      </dsp:txBody>
      <dsp:txXfrm>
        <a:off x="3598570" y="185295"/>
        <a:ext cx="635024" cy="423348"/>
      </dsp:txXfrm>
    </dsp:sp>
    <dsp:sp modelId="{EECB13DF-38FD-4199-93B9-448461C16185}">
      <dsp:nvSpPr>
        <dsp:cNvPr id="0" name=""/>
        <dsp:cNvSpPr/>
      </dsp:nvSpPr>
      <dsp:spPr>
        <a:xfrm>
          <a:off x="4233594" y="185295"/>
          <a:ext cx="1058372" cy="423348"/>
        </a:xfrm>
        <a:prstGeom prst="chevron">
          <a:avLst/>
        </a:prstGeom>
        <a:solidFill>
          <a:schemeClr val="bg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21336" rIns="10668" bIns="21336" numCol="1" spcCol="1270" anchor="ctr" anchorCtr="0">
          <a:noAutofit/>
        </a:bodyPr>
        <a:lstStyle/>
        <a:p>
          <a:pPr marL="0" lvl="0" indent="0" algn="ctr" defTabSz="355600">
            <a:lnSpc>
              <a:spcPct val="90000"/>
            </a:lnSpc>
            <a:spcBef>
              <a:spcPct val="0"/>
            </a:spcBef>
            <a:spcAft>
              <a:spcPct val="35000"/>
            </a:spcAft>
            <a:buNone/>
          </a:pPr>
          <a:r>
            <a:rPr lang="en-US" sz="800" kern="1200" dirty="0"/>
            <a:t>Artifact publish</a:t>
          </a:r>
        </a:p>
      </dsp:txBody>
      <dsp:txXfrm>
        <a:off x="4445268" y="185295"/>
        <a:ext cx="635024" cy="423348"/>
      </dsp:txXfrm>
    </dsp:sp>
    <dsp:sp modelId="{1C920BC9-2570-439E-8481-8C6F1CB98E73}">
      <dsp:nvSpPr>
        <dsp:cNvPr id="0" name=""/>
        <dsp:cNvSpPr/>
      </dsp:nvSpPr>
      <dsp:spPr>
        <a:xfrm>
          <a:off x="5080291" y="185295"/>
          <a:ext cx="1058372" cy="423348"/>
        </a:xfrm>
        <a:prstGeom prst="chevron">
          <a:avLst/>
        </a:prstGeom>
        <a:solidFill>
          <a:schemeClr val="bg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21336" rIns="10668" bIns="21336" numCol="1" spcCol="1270" anchor="ctr" anchorCtr="0">
          <a:noAutofit/>
        </a:bodyPr>
        <a:lstStyle/>
        <a:p>
          <a:pPr marL="0" lvl="0" indent="0" algn="ctr" defTabSz="355600">
            <a:lnSpc>
              <a:spcPct val="90000"/>
            </a:lnSpc>
            <a:spcBef>
              <a:spcPct val="0"/>
            </a:spcBef>
            <a:spcAft>
              <a:spcPct val="35000"/>
            </a:spcAft>
            <a:buNone/>
          </a:pPr>
          <a:r>
            <a:rPr lang="en-US" sz="800" kern="1200" dirty="0"/>
            <a:t>Deploy</a:t>
          </a:r>
        </a:p>
      </dsp:txBody>
      <dsp:txXfrm>
        <a:off x="5291965" y="185295"/>
        <a:ext cx="635024" cy="423348"/>
      </dsp:txXfrm>
    </dsp:sp>
    <dsp:sp modelId="{E8BBFEEE-B21B-4C1D-846B-B89F01B73A44}">
      <dsp:nvSpPr>
        <dsp:cNvPr id="0" name=""/>
        <dsp:cNvSpPr/>
      </dsp:nvSpPr>
      <dsp:spPr>
        <a:xfrm>
          <a:off x="5926989" y="185295"/>
          <a:ext cx="1058372" cy="423348"/>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21336" rIns="10668" bIns="21336" numCol="1" spcCol="1270" anchor="ctr" anchorCtr="0">
          <a:noAutofit/>
        </a:bodyPr>
        <a:lstStyle/>
        <a:p>
          <a:pPr marL="0" lvl="0" indent="0" algn="ctr" defTabSz="355600">
            <a:lnSpc>
              <a:spcPct val="90000"/>
            </a:lnSpc>
            <a:spcBef>
              <a:spcPct val="0"/>
            </a:spcBef>
            <a:spcAft>
              <a:spcPct val="35000"/>
            </a:spcAft>
            <a:buNone/>
          </a:pPr>
          <a:r>
            <a:rPr lang="en-US" sz="800" kern="1200" dirty="0"/>
            <a:t>Integration Tests</a:t>
          </a:r>
        </a:p>
      </dsp:txBody>
      <dsp:txXfrm>
        <a:off x="6138663" y="185295"/>
        <a:ext cx="635024" cy="423348"/>
      </dsp:txXfrm>
    </dsp:sp>
    <dsp:sp modelId="{2297D37F-06A9-4D3B-9E7D-1BFE806033E6}">
      <dsp:nvSpPr>
        <dsp:cNvPr id="0" name=""/>
        <dsp:cNvSpPr/>
      </dsp:nvSpPr>
      <dsp:spPr>
        <a:xfrm>
          <a:off x="6773687" y="185295"/>
          <a:ext cx="1058372" cy="423348"/>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21336" rIns="10668" bIns="21336" numCol="1" spcCol="1270" anchor="ctr" anchorCtr="0">
          <a:noAutofit/>
        </a:bodyPr>
        <a:lstStyle/>
        <a:p>
          <a:pPr marL="0" lvl="0" indent="0" algn="ctr" defTabSz="355600">
            <a:lnSpc>
              <a:spcPct val="90000"/>
            </a:lnSpc>
            <a:spcBef>
              <a:spcPct val="0"/>
            </a:spcBef>
            <a:spcAft>
              <a:spcPct val="35000"/>
            </a:spcAft>
            <a:buNone/>
          </a:pPr>
          <a:r>
            <a:rPr lang="en-US" sz="800" kern="1200" dirty="0"/>
            <a:t>E2E Tests</a:t>
          </a:r>
        </a:p>
      </dsp:txBody>
      <dsp:txXfrm>
        <a:off x="6985361" y="185295"/>
        <a:ext cx="635024" cy="423348"/>
      </dsp:txXfrm>
    </dsp:sp>
    <dsp:sp modelId="{8BF2E94A-9EDA-4D1B-B447-B22DF4954F6F}">
      <dsp:nvSpPr>
        <dsp:cNvPr id="0" name=""/>
        <dsp:cNvSpPr/>
      </dsp:nvSpPr>
      <dsp:spPr>
        <a:xfrm>
          <a:off x="7620384" y="185295"/>
          <a:ext cx="1058372" cy="423348"/>
        </a:xfrm>
        <a:prstGeom prst="chevron">
          <a:avLst/>
        </a:prstGeom>
        <a:solidFill>
          <a:schemeClr val="bg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21336" rIns="10668" bIns="21336" numCol="1" spcCol="1270" anchor="ctr" anchorCtr="0">
          <a:noAutofit/>
        </a:bodyPr>
        <a:lstStyle/>
        <a:p>
          <a:pPr marL="0" lvl="0" indent="0" algn="ctr" defTabSz="355600">
            <a:lnSpc>
              <a:spcPct val="90000"/>
            </a:lnSpc>
            <a:spcBef>
              <a:spcPct val="0"/>
            </a:spcBef>
            <a:spcAft>
              <a:spcPct val="35000"/>
            </a:spcAft>
            <a:buNone/>
          </a:pPr>
          <a:r>
            <a:rPr lang="en-US" sz="800" kern="1200" dirty="0"/>
            <a:t>Deploy and Release</a:t>
          </a:r>
        </a:p>
      </dsp:txBody>
      <dsp:txXfrm>
        <a:off x="7832058" y="185295"/>
        <a:ext cx="635024" cy="423348"/>
      </dsp:txXfrm>
    </dsp:sp>
  </dsp:spTree>
</dsp:drawing>
</file>

<file path=ppt/diagrams/drawing1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00BB1A8-A75B-46B4-A88C-52BAAA4EA6C2}">
      <dsp:nvSpPr>
        <dsp:cNvPr id="0" name=""/>
        <dsp:cNvSpPr/>
      </dsp:nvSpPr>
      <dsp:spPr>
        <a:xfrm>
          <a:off x="20593" y="0"/>
          <a:ext cx="3551311" cy="416256"/>
        </a:xfrm>
        <a:prstGeom prst="homePlate">
          <a:avLst/>
        </a:prstGeom>
        <a:solidFill>
          <a:schemeClr val="bg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6012" tIns="48006" rIns="24003" bIns="48006" numCol="1" spcCol="1270" anchor="ctr" anchorCtr="0">
          <a:noAutofit/>
        </a:bodyPr>
        <a:lstStyle/>
        <a:p>
          <a:pPr marL="0" lvl="0" indent="0" algn="ctr" defTabSz="800100">
            <a:lnSpc>
              <a:spcPct val="90000"/>
            </a:lnSpc>
            <a:spcBef>
              <a:spcPct val="0"/>
            </a:spcBef>
            <a:spcAft>
              <a:spcPct val="35000"/>
            </a:spcAft>
            <a:buNone/>
          </a:pPr>
          <a:r>
            <a:rPr lang="en-US" sz="1800" kern="1200" dirty="0"/>
            <a:t>Continuous Integration</a:t>
          </a:r>
        </a:p>
      </dsp:txBody>
      <dsp:txXfrm>
        <a:off x="20593" y="0"/>
        <a:ext cx="3447247" cy="416256"/>
      </dsp:txXfrm>
    </dsp:sp>
    <dsp:sp modelId="{C41A44A8-F315-467A-BC7A-DF5D204D36AC}">
      <dsp:nvSpPr>
        <dsp:cNvPr id="0" name=""/>
        <dsp:cNvSpPr/>
      </dsp:nvSpPr>
      <dsp:spPr>
        <a:xfrm>
          <a:off x="3287641" y="0"/>
          <a:ext cx="2753848" cy="416256"/>
        </a:xfrm>
        <a:prstGeom prst="chevron">
          <a:avLst/>
        </a:prstGeom>
        <a:solidFill>
          <a:schemeClr val="bg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48006" rIns="24003" bIns="48006" numCol="1" spcCol="1270" anchor="ctr" anchorCtr="0">
          <a:noAutofit/>
        </a:bodyPr>
        <a:lstStyle/>
        <a:p>
          <a:pPr marL="0" lvl="0" indent="0" algn="ctr" defTabSz="800100">
            <a:lnSpc>
              <a:spcPct val="90000"/>
            </a:lnSpc>
            <a:spcBef>
              <a:spcPct val="0"/>
            </a:spcBef>
            <a:spcAft>
              <a:spcPct val="35000"/>
            </a:spcAft>
            <a:buNone/>
          </a:pPr>
          <a:r>
            <a:rPr lang="en-US" sz="1800" kern="1200" dirty="0"/>
            <a:t>Continuous Delivery</a:t>
          </a:r>
        </a:p>
      </dsp:txBody>
      <dsp:txXfrm>
        <a:off x="3495769" y="0"/>
        <a:ext cx="2337592" cy="416256"/>
      </dsp:txXfrm>
    </dsp:sp>
  </dsp:spTree>
</dsp:drawing>
</file>

<file path=ppt/diagrams/drawing1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758B83E-CFEC-43EC-AF0D-E790A3C16319}">
      <dsp:nvSpPr>
        <dsp:cNvPr id="0" name=""/>
        <dsp:cNvSpPr/>
      </dsp:nvSpPr>
      <dsp:spPr>
        <a:xfrm>
          <a:off x="105" y="185295"/>
          <a:ext cx="1058372" cy="423348"/>
        </a:xfrm>
        <a:prstGeom prst="homePlate">
          <a:avLst/>
        </a:prstGeom>
        <a:solidFill>
          <a:schemeClr val="bg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2672" tIns="21336" rIns="10668" bIns="21336" numCol="1" spcCol="1270" anchor="ctr" anchorCtr="0">
          <a:noAutofit/>
        </a:bodyPr>
        <a:lstStyle/>
        <a:p>
          <a:pPr marL="0" lvl="0" indent="0" algn="ctr" defTabSz="355600">
            <a:lnSpc>
              <a:spcPct val="90000"/>
            </a:lnSpc>
            <a:spcBef>
              <a:spcPct val="0"/>
            </a:spcBef>
            <a:spcAft>
              <a:spcPct val="35000"/>
            </a:spcAft>
            <a:buNone/>
          </a:pPr>
          <a:r>
            <a:rPr lang="en-US" sz="800" kern="1200" dirty="0"/>
            <a:t>Plan</a:t>
          </a:r>
        </a:p>
      </dsp:txBody>
      <dsp:txXfrm>
        <a:off x="105" y="185295"/>
        <a:ext cx="952535" cy="423348"/>
      </dsp:txXfrm>
    </dsp:sp>
    <dsp:sp modelId="{57F52E1E-2C2F-47A9-A6D9-CB7537BF727C}">
      <dsp:nvSpPr>
        <dsp:cNvPr id="0" name=""/>
        <dsp:cNvSpPr/>
      </dsp:nvSpPr>
      <dsp:spPr>
        <a:xfrm>
          <a:off x="846803" y="185295"/>
          <a:ext cx="1058372" cy="423348"/>
        </a:xfrm>
        <a:prstGeom prst="chevron">
          <a:avLst/>
        </a:prstGeom>
        <a:solidFill>
          <a:schemeClr val="bg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21336" rIns="10668" bIns="21336" numCol="1" spcCol="1270" anchor="ctr" anchorCtr="0">
          <a:noAutofit/>
        </a:bodyPr>
        <a:lstStyle/>
        <a:p>
          <a:pPr marL="0" lvl="0" indent="0" algn="ctr" defTabSz="355600">
            <a:lnSpc>
              <a:spcPct val="90000"/>
            </a:lnSpc>
            <a:spcBef>
              <a:spcPct val="0"/>
            </a:spcBef>
            <a:spcAft>
              <a:spcPct val="35000"/>
            </a:spcAft>
            <a:buNone/>
          </a:pPr>
          <a:r>
            <a:rPr lang="en-US" sz="800" kern="1200" dirty="0"/>
            <a:t>Code</a:t>
          </a:r>
        </a:p>
      </dsp:txBody>
      <dsp:txXfrm>
        <a:off x="1058477" y="185295"/>
        <a:ext cx="635024" cy="423348"/>
      </dsp:txXfrm>
    </dsp:sp>
    <dsp:sp modelId="{0D14839E-F7AA-41F1-8F21-377D4525EA32}">
      <dsp:nvSpPr>
        <dsp:cNvPr id="0" name=""/>
        <dsp:cNvSpPr/>
      </dsp:nvSpPr>
      <dsp:spPr>
        <a:xfrm>
          <a:off x="1693501" y="185295"/>
          <a:ext cx="1058372" cy="423348"/>
        </a:xfrm>
        <a:prstGeom prst="chevron">
          <a:avLst/>
        </a:prstGeom>
        <a:solidFill>
          <a:schemeClr val="bg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21336" rIns="10668" bIns="21336" numCol="1" spcCol="1270" anchor="ctr" anchorCtr="0">
          <a:noAutofit/>
        </a:bodyPr>
        <a:lstStyle/>
        <a:p>
          <a:pPr marL="0" lvl="0" indent="0" algn="ctr" defTabSz="355600">
            <a:lnSpc>
              <a:spcPct val="90000"/>
            </a:lnSpc>
            <a:spcBef>
              <a:spcPct val="0"/>
            </a:spcBef>
            <a:spcAft>
              <a:spcPct val="35000"/>
            </a:spcAft>
            <a:buNone/>
          </a:pPr>
          <a:r>
            <a:rPr lang="en-US" sz="800" kern="1200" dirty="0"/>
            <a:t>Build</a:t>
          </a:r>
        </a:p>
      </dsp:txBody>
      <dsp:txXfrm>
        <a:off x="1905175" y="185295"/>
        <a:ext cx="635024" cy="423348"/>
      </dsp:txXfrm>
    </dsp:sp>
    <dsp:sp modelId="{AC1BF143-926D-45ED-A5A3-43D05A5B5E05}">
      <dsp:nvSpPr>
        <dsp:cNvPr id="0" name=""/>
        <dsp:cNvSpPr/>
      </dsp:nvSpPr>
      <dsp:spPr>
        <a:xfrm>
          <a:off x="2540198" y="185295"/>
          <a:ext cx="1058372" cy="423348"/>
        </a:xfrm>
        <a:prstGeom prst="chevron">
          <a:avLst/>
        </a:prstGeom>
        <a:solidFill>
          <a:schemeClr val="bg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21336" rIns="10668" bIns="21336" numCol="1" spcCol="1270" anchor="ctr" anchorCtr="0">
          <a:noAutofit/>
        </a:bodyPr>
        <a:lstStyle/>
        <a:p>
          <a:pPr marL="0" lvl="0" indent="0" algn="ctr" defTabSz="355600">
            <a:lnSpc>
              <a:spcPct val="90000"/>
            </a:lnSpc>
            <a:spcBef>
              <a:spcPct val="0"/>
            </a:spcBef>
            <a:spcAft>
              <a:spcPct val="35000"/>
            </a:spcAft>
            <a:buNone/>
          </a:pPr>
          <a:r>
            <a:rPr lang="en-US" sz="800" kern="1200" dirty="0"/>
            <a:t>Unit Tests</a:t>
          </a:r>
        </a:p>
      </dsp:txBody>
      <dsp:txXfrm>
        <a:off x="2751872" y="185295"/>
        <a:ext cx="635024" cy="423348"/>
      </dsp:txXfrm>
    </dsp:sp>
    <dsp:sp modelId="{FAC99AAC-4206-4C8D-B75A-31CCAA24369E}">
      <dsp:nvSpPr>
        <dsp:cNvPr id="0" name=""/>
        <dsp:cNvSpPr/>
      </dsp:nvSpPr>
      <dsp:spPr>
        <a:xfrm>
          <a:off x="3386896" y="185295"/>
          <a:ext cx="1058372" cy="423348"/>
        </a:xfrm>
        <a:prstGeom prst="chevron">
          <a:avLst/>
        </a:prstGeom>
        <a:solidFill>
          <a:schemeClr val="bg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21336" rIns="10668" bIns="21336" numCol="1" spcCol="1270" anchor="ctr" anchorCtr="0">
          <a:noAutofit/>
        </a:bodyPr>
        <a:lstStyle/>
        <a:p>
          <a:pPr marL="0" lvl="0" indent="0" algn="ctr" defTabSz="355600">
            <a:lnSpc>
              <a:spcPct val="90000"/>
            </a:lnSpc>
            <a:spcBef>
              <a:spcPct val="0"/>
            </a:spcBef>
            <a:spcAft>
              <a:spcPct val="35000"/>
            </a:spcAft>
            <a:buNone/>
          </a:pPr>
          <a:r>
            <a:rPr lang="en-US" sz="800" kern="1200" dirty="0"/>
            <a:t>Code Coverage and </a:t>
          </a:r>
          <a:r>
            <a:rPr lang="en-US" sz="800" kern="1200" dirty="0" err="1"/>
            <a:t>Vulerabilities</a:t>
          </a:r>
          <a:endParaRPr lang="en-US" sz="800" kern="1200" dirty="0"/>
        </a:p>
      </dsp:txBody>
      <dsp:txXfrm>
        <a:off x="3598570" y="185295"/>
        <a:ext cx="635024" cy="423348"/>
      </dsp:txXfrm>
    </dsp:sp>
    <dsp:sp modelId="{EECB13DF-38FD-4199-93B9-448461C16185}">
      <dsp:nvSpPr>
        <dsp:cNvPr id="0" name=""/>
        <dsp:cNvSpPr/>
      </dsp:nvSpPr>
      <dsp:spPr>
        <a:xfrm>
          <a:off x="4233594" y="185295"/>
          <a:ext cx="1058372" cy="423348"/>
        </a:xfrm>
        <a:prstGeom prst="chevron">
          <a:avLst/>
        </a:prstGeom>
        <a:solidFill>
          <a:schemeClr val="bg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21336" rIns="10668" bIns="21336" numCol="1" spcCol="1270" anchor="ctr" anchorCtr="0">
          <a:noAutofit/>
        </a:bodyPr>
        <a:lstStyle/>
        <a:p>
          <a:pPr marL="0" lvl="0" indent="0" algn="ctr" defTabSz="355600">
            <a:lnSpc>
              <a:spcPct val="90000"/>
            </a:lnSpc>
            <a:spcBef>
              <a:spcPct val="0"/>
            </a:spcBef>
            <a:spcAft>
              <a:spcPct val="35000"/>
            </a:spcAft>
            <a:buNone/>
          </a:pPr>
          <a:r>
            <a:rPr lang="en-US" sz="800" kern="1200" dirty="0"/>
            <a:t>Artifact publish</a:t>
          </a:r>
        </a:p>
      </dsp:txBody>
      <dsp:txXfrm>
        <a:off x="4445268" y="185295"/>
        <a:ext cx="635024" cy="423348"/>
      </dsp:txXfrm>
    </dsp:sp>
    <dsp:sp modelId="{1C920BC9-2570-439E-8481-8C6F1CB98E73}">
      <dsp:nvSpPr>
        <dsp:cNvPr id="0" name=""/>
        <dsp:cNvSpPr/>
      </dsp:nvSpPr>
      <dsp:spPr>
        <a:xfrm>
          <a:off x="5080291" y="185295"/>
          <a:ext cx="1058372" cy="423348"/>
        </a:xfrm>
        <a:prstGeom prst="chevron">
          <a:avLst/>
        </a:prstGeom>
        <a:solidFill>
          <a:schemeClr val="bg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21336" rIns="10668" bIns="21336" numCol="1" spcCol="1270" anchor="ctr" anchorCtr="0">
          <a:noAutofit/>
        </a:bodyPr>
        <a:lstStyle/>
        <a:p>
          <a:pPr marL="0" lvl="0" indent="0" algn="ctr" defTabSz="355600">
            <a:lnSpc>
              <a:spcPct val="90000"/>
            </a:lnSpc>
            <a:spcBef>
              <a:spcPct val="0"/>
            </a:spcBef>
            <a:spcAft>
              <a:spcPct val="35000"/>
            </a:spcAft>
            <a:buNone/>
          </a:pPr>
          <a:r>
            <a:rPr lang="en-US" sz="800" kern="1200" dirty="0"/>
            <a:t>Deploy</a:t>
          </a:r>
        </a:p>
      </dsp:txBody>
      <dsp:txXfrm>
        <a:off x="5291965" y="185295"/>
        <a:ext cx="635024" cy="423348"/>
      </dsp:txXfrm>
    </dsp:sp>
    <dsp:sp modelId="{E8BBFEEE-B21B-4C1D-846B-B89F01B73A44}">
      <dsp:nvSpPr>
        <dsp:cNvPr id="0" name=""/>
        <dsp:cNvSpPr/>
      </dsp:nvSpPr>
      <dsp:spPr>
        <a:xfrm>
          <a:off x="5926989" y="185295"/>
          <a:ext cx="1058372" cy="423348"/>
        </a:xfrm>
        <a:prstGeom prst="chevron">
          <a:avLst/>
        </a:prstGeom>
        <a:solidFill>
          <a:schemeClr val="bg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21336" rIns="10668" bIns="21336" numCol="1" spcCol="1270" anchor="ctr" anchorCtr="0">
          <a:noAutofit/>
        </a:bodyPr>
        <a:lstStyle/>
        <a:p>
          <a:pPr marL="0" lvl="0" indent="0" algn="ctr" defTabSz="355600">
            <a:lnSpc>
              <a:spcPct val="90000"/>
            </a:lnSpc>
            <a:spcBef>
              <a:spcPct val="0"/>
            </a:spcBef>
            <a:spcAft>
              <a:spcPct val="35000"/>
            </a:spcAft>
            <a:buNone/>
          </a:pPr>
          <a:r>
            <a:rPr lang="en-US" sz="800" kern="1200" dirty="0"/>
            <a:t>Integration Tests</a:t>
          </a:r>
        </a:p>
      </dsp:txBody>
      <dsp:txXfrm>
        <a:off x="6138663" y="185295"/>
        <a:ext cx="635024" cy="423348"/>
      </dsp:txXfrm>
    </dsp:sp>
    <dsp:sp modelId="{2297D37F-06A9-4D3B-9E7D-1BFE806033E6}">
      <dsp:nvSpPr>
        <dsp:cNvPr id="0" name=""/>
        <dsp:cNvSpPr/>
      </dsp:nvSpPr>
      <dsp:spPr>
        <a:xfrm>
          <a:off x="6773687" y="185295"/>
          <a:ext cx="1058372" cy="423348"/>
        </a:xfrm>
        <a:prstGeom prst="chevron">
          <a:avLst/>
        </a:prstGeom>
        <a:solidFill>
          <a:schemeClr val="bg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21336" rIns="10668" bIns="21336" numCol="1" spcCol="1270" anchor="ctr" anchorCtr="0">
          <a:noAutofit/>
        </a:bodyPr>
        <a:lstStyle/>
        <a:p>
          <a:pPr marL="0" lvl="0" indent="0" algn="ctr" defTabSz="355600">
            <a:lnSpc>
              <a:spcPct val="90000"/>
            </a:lnSpc>
            <a:spcBef>
              <a:spcPct val="0"/>
            </a:spcBef>
            <a:spcAft>
              <a:spcPct val="35000"/>
            </a:spcAft>
            <a:buNone/>
          </a:pPr>
          <a:r>
            <a:rPr lang="en-US" sz="800" kern="1200" dirty="0"/>
            <a:t>E2E Tests</a:t>
          </a:r>
        </a:p>
      </dsp:txBody>
      <dsp:txXfrm>
        <a:off x="6985361" y="185295"/>
        <a:ext cx="635024" cy="423348"/>
      </dsp:txXfrm>
    </dsp:sp>
    <dsp:sp modelId="{8BF2E94A-9EDA-4D1B-B447-B22DF4954F6F}">
      <dsp:nvSpPr>
        <dsp:cNvPr id="0" name=""/>
        <dsp:cNvSpPr/>
      </dsp:nvSpPr>
      <dsp:spPr>
        <a:xfrm>
          <a:off x="7620384" y="185295"/>
          <a:ext cx="1058372" cy="423348"/>
        </a:xfrm>
        <a:prstGeom prst="chevron">
          <a:avLst/>
        </a:prstGeom>
        <a:solidFill>
          <a:srgbClr val="00AFD0">
            <a:hueOff val="0"/>
            <a:satOff val="0"/>
            <a:lumOff val="0"/>
            <a:alphaOff val="0"/>
          </a:srgbClr>
        </a:solidFill>
        <a:ln w="25400" cap="flat" cmpd="sng" algn="ctr">
          <a:solidFill>
            <a:prstClr val="white">
              <a:hueOff val="0"/>
              <a:satOff val="0"/>
              <a:lumOff val="0"/>
              <a:alphaOff val="0"/>
            </a:prst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21336" rIns="10668" bIns="21336" numCol="1" spcCol="1270" anchor="ctr" anchorCtr="0">
          <a:noAutofit/>
        </a:bodyPr>
        <a:lstStyle/>
        <a:p>
          <a:pPr marL="0" lvl="0" indent="0" algn="ctr" defTabSz="355600">
            <a:lnSpc>
              <a:spcPct val="90000"/>
            </a:lnSpc>
            <a:spcBef>
              <a:spcPct val="0"/>
            </a:spcBef>
            <a:spcAft>
              <a:spcPct val="35000"/>
            </a:spcAft>
            <a:buNone/>
          </a:pPr>
          <a:r>
            <a:rPr lang="en-US" sz="800" kern="1200" dirty="0">
              <a:solidFill>
                <a:prstClr val="white"/>
              </a:solidFill>
              <a:latin typeface="UniCredit"/>
              <a:ea typeface="+mn-ea"/>
              <a:cs typeface="+mn-cs"/>
            </a:rPr>
            <a:t>Deploy and Release</a:t>
          </a:r>
        </a:p>
      </dsp:txBody>
      <dsp:txXfrm>
        <a:off x="7832058" y="185295"/>
        <a:ext cx="635024" cy="42334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00BB1A8-A75B-46B4-A88C-52BAAA4EA6C2}">
      <dsp:nvSpPr>
        <dsp:cNvPr id="0" name=""/>
        <dsp:cNvSpPr/>
      </dsp:nvSpPr>
      <dsp:spPr>
        <a:xfrm>
          <a:off x="20593" y="0"/>
          <a:ext cx="3551311" cy="416256"/>
        </a:xfrm>
        <a:prstGeom prst="homePlat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6012" tIns="48006" rIns="24003" bIns="48006" numCol="1" spcCol="1270" anchor="ctr" anchorCtr="0">
          <a:noAutofit/>
        </a:bodyPr>
        <a:lstStyle/>
        <a:p>
          <a:pPr marL="0" lvl="0" indent="0" algn="ctr" defTabSz="800100">
            <a:lnSpc>
              <a:spcPct val="90000"/>
            </a:lnSpc>
            <a:spcBef>
              <a:spcPct val="0"/>
            </a:spcBef>
            <a:spcAft>
              <a:spcPct val="35000"/>
            </a:spcAft>
            <a:buNone/>
          </a:pPr>
          <a:r>
            <a:rPr lang="en-US" sz="1800" kern="1200" dirty="0"/>
            <a:t>Continuous Integration</a:t>
          </a:r>
        </a:p>
      </dsp:txBody>
      <dsp:txXfrm>
        <a:off x="20593" y="0"/>
        <a:ext cx="3447247" cy="416256"/>
      </dsp:txXfrm>
    </dsp:sp>
    <dsp:sp modelId="{C41A44A8-F315-467A-BC7A-DF5D204D36AC}">
      <dsp:nvSpPr>
        <dsp:cNvPr id="0" name=""/>
        <dsp:cNvSpPr/>
      </dsp:nvSpPr>
      <dsp:spPr>
        <a:xfrm>
          <a:off x="3287641" y="0"/>
          <a:ext cx="2753848" cy="416256"/>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48006" rIns="24003" bIns="48006" numCol="1" spcCol="1270" anchor="ctr" anchorCtr="0">
          <a:noAutofit/>
        </a:bodyPr>
        <a:lstStyle/>
        <a:p>
          <a:pPr marL="0" lvl="0" indent="0" algn="ctr" defTabSz="800100">
            <a:lnSpc>
              <a:spcPct val="90000"/>
            </a:lnSpc>
            <a:spcBef>
              <a:spcPct val="0"/>
            </a:spcBef>
            <a:spcAft>
              <a:spcPct val="35000"/>
            </a:spcAft>
            <a:buNone/>
          </a:pPr>
          <a:r>
            <a:rPr lang="en-US" sz="1800" kern="1200" dirty="0"/>
            <a:t>Continuous Delivery</a:t>
          </a:r>
        </a:p>
      </dsp:txBody>
      <dsp:txXfrm>
        <a:off x="3495769" y="0"/>
        <a:ext cx="2337592" cy="416256"/>
      </dsp:txXfrm>
    </dsp:sp>
  </dsp:spTree>
</dsp:drawing>
</file>

<file path=ppt/diagrams/drawing2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00BB1A8-A75B-46B4-A88C-52BAAA4EA6C2}">
      <dsp:nvSpPr>
        <dsp:cNvPr id="0" name=""/>
        <dsp:cNvSpPr/>
      </dsp:nvSpPr>
      <dsp:spPr>
        <a:xfrm>
          <a:off x="20593" y="0"/>
          <a:ext cx="3551311" cy="416256"/>
        </a:xfrm>
        <a:prstGeom prst="homePlate">
          <a:avLst/>
        </a:prstGeom>
        <a:solidFill>
          <a:schemeClr val="bg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6012" tIns="48006" rIns="24003" bIns="48006" numCol="1" spcCol="1270" anchor="ctr" anchorCtr="0">
          <a:noAutofit/>
        </a:bodyPr>
        <a:lstStyle/>
        <a:p>
          <a:pPr marL="0" lvl="0" indent="0" algn="ctr" defTabSz="800100">
            <a:lnSpc>
              <a:spcPct val="90000"/>
            </a:lnSpc>
            <a:spcBef>
              <a:spcPct val="0"/>
            </a:spcBef>
            <a:spcAft>
              <a:spcPct val="35000"/>
            </a:spcAft>
            <a:buNone/>
          </a:pPr>
          <a:r>
            <a:rPr lang="en-US" sz="1800" kern="1200" dirty="0"/>
            <a:t>Continuous Integration</a:t>
          </a:r>
        </a:p>
      </dsp:txBody>
      <dsp:txXfrm>
        <a:off x="20593" y="0"/>
        <a:ext cx="3447247" cy="416256"/>
      </dsp:txXfrm>
    </dsp:sp>
    <dsp:sp modelId="{C41A44A8-F315-467A-BC7A-DF5D204D36AC}">
      <dsp:nvSpPr>
        <dsp:cNvPr id="0" name=""/>
        <dsp:cNvSpPr/>
      </dsp:nvSpPr>
      <dsp:spPr>
        <a:xfrm>
          <a:off x="3287641" y="0"/>
          <a:ext cx="2753848" cy="416256"/>
        </a:xfrm>
        <a:prstGeom prst="chevron">
          <a:avLst/>
        </a:prstGeom>
        <a:solidFill>
          <a:schemeClr val="bg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48006" rIns="24003" bIns="48006" numCol="1" spcCol="1270" anchor="ctr" anchorCtr="0">
          <a:noAutofit/>
        </a:bodyPr>
        <a:lstStyle/>
        <a:p>
          <a:pPr marL="0" lvl="0" indent="0" algn="ctr" defTabSz="800100">
            <a:lnSpc>
              <a:spcPct val="90000"/>
            </a:lnSpc>
            <a:spcBef>
              <a:spcPct val="0"/>
            </a:spcBef>
            <a:spcAft>
              <a:spcPct val="35000"/>
            </a:spcAft>
            <a:buNone/>
          </a:pPr>
          <a:r>
            <a:rPr lang="en-US" sz="1800" kern="1200" dirty="0"/>
            <a:t>Continuous Delivery</a:t>
          </a:r>
        </a:p>
      </dsp:txBody>
      <dsp:txXfrm>
        <a:off x="3495769" y="0"/>
        <a:ext cx="2337592" cy="41625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758B83E-CFEC-43EC-AF0D-E790A3C16319}">
      <dsp:nvSpPr>
        <dsp:cNvPr id="0" name=""/>
        <dsp:cNvSpPr/>
      </dsp:nvSpPr>
      <dsp:spPr>
        <a:xfrm>
          <a:off x="105" y="185295"/>
          <a:ext cx="1058372" cy="423348"/>
        </a:xfrm>
        <a:prstGeom prst="homePlate">
          <a:avLst/>
        </a:prstGeom>
        <a:solidFill>
          <a:schemeClr val="accent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2672" tIns="21336" rIns="10668" bIns="21336" numCol="1" spcCol="1270" anchor="ctr" anchorCtr="0">
          <a:noAutofit/>
        </a:bodyPr>
        <a:lstStyle/>
        <a:p>
          <a:pPr marL="0" lvl="0" indent="0" algn="ctr" defTabSz="355600">
            <a:lnSpc>
              <a:spcPct val="90000"/>
            </a:lnSpc>
            <a:spcBef>
              <a:spcPct val="0"/>
            </a:spcBef>
            <a:spcAft>
              <a:spcPct val="35000"/>
            </a:spcAft>
            <a:buNone/>
          </a:pPr>
          <a:r>
            <a:rPr lang="en-US" sz="800" kern="1200" dirty="0"/>
            <a:t>Plan</a:t>
          </a:r>
        </a:p>
      </dsp:txBody>
      <dsp:txXfrm>
        <a:off x="105" y="185295"/>
        <a:ext cx="952535" cy="423348"/>
      </dsp:txXfrm>
    </dsp:sp>
    <dsp:sp modelId="{57F52E1E-2C2F-47A9-A6D9-CB7537BF727C}">
      <dsp:nvSpPr>
        <dsp:cNvPr id="0" name=""/>
        <dsp:cNvSpPr/>
      </dsp:nvSpPr>
      <dsp:spPr>
        <a:xfrm>
          <a:off x="846803" y="185295"/>
          <a:ext cx="1058372" cy="423348"/>
        </a:xfrm>
        <a:prstGeom prst="chevron">
          <a:avLst/>
        </a:prstGeom>
        <a:solidFill>
          <a:schemeClr val="bg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21336" rIns="10668" bIns="21336" numCol="1" spcCol="1270" anchor="ctr" anchorCtr="0">
          <a:noAutofit/>
        </a:bodyPr>
        <a:lstStyle/>
        <a:p>
          <a:pPr marL="0" lvl="0" indent="0" algn="ctr" defTabSz="355600">
            <a:lnSpc>
              <a:spcPct val="90000"/>
            </a:lnSpc>
            <a:spcBef>
              <a:spcPct val="0"/>
            </a:spcBef>
            <a:spcAft>
              <a:spcPct val="35000"/>
            </a:spcAft>
            <a:buNone/>
          </a:pPr>
          <a:r>
            <a:rPr lang="en-US" sz="800" kern="1200" dirty="0"/>
            <a:t>Code</a:t>
          </a:r>
        </a:p>
      </dsp:txBody>
      <dsp:txXfrm>
        <a:off x="1058477" y="185295"/>
        <a:ext cx="635024" cy="423348"/>
      </dsp:txXfrm>
    </dsp:sp>
    <dsp:sp modelId="{0D14839E-F7AA-41F1-8F21-377D4525EA32}">
      <dsp:nvSpPr>
        <dsp:cNvPr id="0" name=""/>
        <dsp:cNvSpPr/>
      </dsp:nvSpPr>
      <dsp:spPr>
        <a:xfrm>
          <a:off x="1693501" y="185295"/>
          <a:ext cx="1058372" cy="423348"/>
        </a:xfrm>
        <a:prstGeom prst="chevron">
          <a:avLst/>
        </a:prstGeom>
        <a:solidFill>
          <a:schemeClr val="bg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21336" rIns="10668" bIns="21336" numCol="1" spcCol="1270" anchor="ctr" anchorCtr="0">
          <a:noAutofit/>
        </a:bodyPr>
        <a:lstStyle/>
        <a:p>
          <a:pPr marL="0" lvl="0" indent="0" algn="ctr" defTabSz="355600">
            <a:lnSpc>
              <a:spcPct val="90000"/>
            </a:lnSpc>
            <a:spcBef>
              <a:spcPct val="0"/>
            </a:spcBef>
            <a:spcAft>
              <a:spcPct val="35000"/>
            </a:spcAft>
            <a:buNone/>
          </a:pPr>
          <a:r>
            <a:rPr lang="en-US" sz="800" kern="1200" dirty="0"/>
            <a:t>Build</a:t>
          </a:r>
        </a:p>
      </dsp:txBody>
      <dsp:txXfrm>
        <a:off x="1905175" y="185295"/>
        <a:ext cx="635024" cy="423348"/>
      </dsp:txXfrm>
    </dsp:sp>
    <dsp:sp modelId="{AC1BF143-926D-45ED-A5A3-43D05A5B5E05}">
      <dsp:nvSpPr>
        <dsp:cNvPr id="0" name=""/>
        <dsp:cNvSpPr/>
      </dsp:nvSpPr>
      <dsp:spPr>
        <a:xfrm>
          <a:off x="2540198" y="185295"/>
          <a:ext cx="1058372" cy="423348"/>
        </a:xfrm>
        <a:prstGeom prst="chevron">
          <a:avLst/>
        </a:prstGeom>
        <a:solidFill>
          <a:schemeClr val="bg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21336" rIns="10668" bIns="21336" numCol="1" spcCol="1270" anchor="ctr" anchorCtr="0">
          <a:noAutofit/>
        </a:bodyPr>
        <a:lstStyle/>
        <a:p>
          <a:pPr marL="0" lvl="0" indent="0" algn="ctr" defTabSz="355600">
            <a:lnSpc>
              <a:spcPct val="90000"/>
            </a:lnSpc>
            <a:spcBef>
              <a:spcPct val="0"/>
            </a:spcBef>
            <a:spcAft>
              <a:spcPct val="35000"/>
            </a:spcAft>
            <a:buNone/>
          </a:pPr>
          <a:r>
            <a:rPr lang="en-US" sz="800" kern="1200" dirty="0"/>
            <a:t>Unit Tests</a:t>
          </a:r>
        </a:p>
      </dsp:txBody>
      <dsp:txXfrm>
        <a:off x="2751872" y="185295"/>
        <a:ext cx="635024" cy="423348"/>
      </dsp:txXfrm>
    </dsp:sp>
    <dsp:sp modelId="{FAC99AAC-4206-4C8D-B75A-31CCAA24369E}">
      <dsp:nvSpPr>
        <dsp:cNvPr id="0" name=""/>
        <dsp:cNvSpPr/>
      </dsp:nvSpPr>
      <dsp:spPr>
        <a:xfrm>
          <a:off x="3386896" y="185295"/>
          <a:ext cx="1058372" cy="423348"/>
        </a:xfrm>
        <a:prstGeom prst="chevron">
          <a:avLst/>
        </a:prstGeom>
        <a:solidFill>
          <a:schemeClr val="bg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21336" rIns="10668" bIns="21336" numCol="1" spcCol="1270" anchor="ctr" anchorCtr="0">
          <a:noAutofit/>
        </a:bodyPr>
        <a:lstStyle/>
        <a:p>
          <a:pPr marL="0" lvl="0" indent="0" algn="ctr" defTabSz="355600">
            <a:lnSpc>
              <a:spcPct val="90000"/>
            </a:lnSpc>
            <a:spcBef>
              <a:spcPct val="0"/>
            </a:spcBef>
            <a:spcAft>
              <a:spcPct val="35000"/>
            </a:spcAft>
            <a:buNone/>
          </a:pPr>
          <a:r>
            <a:rPr lang="en-US" sz="800" kern="1200" dirty="0"/>
            <a:t>Code Coverage and </a:t>
          </a:r>
          <a:r>
            <a:rPr lang="en-US" sz="800" kern="1200" dirty="0" err="1"/>
            <a:t>Vulerabilities</a:t>
          </a:r>
          <a:endParaRPr lang="en-US" sz="800" kern="1200" dirty="0"/>
        </a:p>
      </dsp:txBody>
      <dsp:txXfrm>
        <a:off x="3598570" y="185295"/>
        <a:ext cx="635024" cy="423348"/>
      </dsp:txXfrm>
    </dsp:sp>
    <dsp:sp modelId="{EECB13DF-38FD-4199-93B9-448461C16185}">
      <dsp:nvSpPr>
        <dsp:cNvPr id="0" name=""/>
        <dsp:cNvSpPr/>
      </dsp:nvSpPr>
      <dsp:spPr>
        <a:xfrm>
          <a:off x="4233594" y="185295"/>
          <a:ext cx="1058372" cy="423348"/>
        </a:xfrm>
        <a:prstGeom prst="chevron">
          <a:avLst/>
        </a:prstGeom>
        <a:solidFill>
          <a:schemeClr val="bg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21336" rIns="10668" bIns="21336" numCol="1" spcCol="1270" anchor="ctr" anchorCtr="0">
          <a:noAutofit/>
        </a:bodyPr>
        <a:lstStyle/>
        <a:p>
          <a:pPr marL="0" lvl="0" indent="0" algn="ctr" defTabSz="355600">
            <a:lnSpc>
              <a:spcPct val="90000"/>
            </a:lnSpc>
            <a:spcBef>
              <a:spcPct val="0"/>
            </a:spcBef>
            <a:spcAft>
              <a:spcPct val="35000"/>
            </a:spcAft>
            <a:buNone/>
          </a:pPr>
          <a:r>
            <a:rPr lang="en-US" sz="800" kern="1200" dirty="0"/>
            <a:t>Artifact publish</a:t>
          </a:r>
        </a:p>
      </dsp:txBody>
      <dsp:txXfrm>
        <a:off x="4445268" y="185295"/>
        <a:ext cx="635024" cy="423348"/>
      </dsp:txXfrm>
    </dsp:sp>
    <dsp:sp modelId="{1C920BC9-2570-439E-8481-8C6F1CB98E73}">
      <dsp:nvSpPr>
        <dsp:cNvPr id="0" name=""/>
        <dsp:cNvSpPr/>
      </dsp:nvSpPr>
      <dsp:spPr>
        <a:xfrm>
          <a:off x="5080291" y="185295"/>
          <a:ext cx="1058372" cy="423348"/>
        </a:xfrm>
        <a:prstGeom prst="chevron">
          <a:avLst/>
        </a:prstGeom>
        <a:solidFill>
          <a:schemeClr val="bg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21336" rIns="10668" bIns="21336" numCol="1" spcCol="1270" anchor="ctr" anchorCtr="0">
          <a:noAutofit/>
        </a:bodyPr>
        <a:lstStyle/>
        <a:p>
          <a:pPr marL="0" lvl="0" indent="0" algn="ctr" defTabSz="355600">
            <a:lnSpc>
              <a:spcPct val="90000"/>
            </a:lnSpc>
            <a:spcBef>
              <a:spcPct val="0"/>
            </a:spcBef>
            <a:spcAft>
              <a:spcPct val="35000"/>
            </a:spcAft>
            <a:buNone/>
          </a:pPr>
          <a:r>
            <a:rPr lang="en-US" sz="800" kern="1200" dirty="0"/>
            <a:t>Deploy</a:t>
          </a:r>
        </a:p>
      </dsp:txBody>
      <dsp:txXfrm>
        <a:off x="5291965" y="185295"/>
        <a:ext cx="635024" cy="423348"/>
      </dsp:txXfrm>
    </dsp:sp>
    <dsp:sp modelId="{E8BBFEEE-B21B-4C1D-846B-B89F01B73A44}">
      <dsp:nvSpPr>
        <dsp:cNvPr id="0" name=""/>
        <dsp:cNvSpPr/>
      </dsp:nvSpPr>
      <dsp:spPr>
        <a:xfrm>
          <a:off x="5926989" y="185295"/>
          <a:ext cx="1058372" cy="423348"/>
        </a:xfrm>
        <a:prstGeom prst="chevron">
          <a:avLst/>
        </a:prstGeom>
        <a:solidFill>
          <a:schemeClr val="bg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21336" rIns="10668" bIns="21336" numCol="1" spcCol="1270" anchor="ctr" anchorCtr="0">
          <a:noAutofit/>
        </a:bodyPr>
        <a:lstStyle/>
        <a:p>
          <a:pPr marL="0" lvl="0" indent="0" algn="ctr" defTabSz="355600">
            <a:lnSpc>
              <a:spcPct val="90000"/>
            </a:lnSpc>
            <a:spcBef>
              <a:spcPct val="0"/>
            </a:spcBef>
            <a:spcAft>
              <a:spcPct val="35000"/>
            </a:spcAft>
            <a:buNone/>
          </a:pPr>
          <a:r>
            <a:rPr lang="en-US" sz="800" kern="1200" dirty="0"/>
            <a:t>Integration Tests</a:t>
          </a:r>
        </a:p>
      </dsp:txBody>
      <dsp:txXfrm>
        <a:off x="6138663" y="185295"/>
        <a:ext cx="635024" cy="423348"/>
      </dsp:txXfrm>
    </dsp:sp>
    <dsp:sp modelId="{2297D37F-06A9-4D3B-9E7D-1BFE806033E6}">
      <dsp:nvSpPr>
        <dsp:cNvPr id="0" name=""/>
        <dsp:cNvSpPr/>
      </dsp:nvSpPr>
      <dsp:spPr>
        <a:xfrm>
          <a:off x="6773687" y="185295"/>
          <a:ext cx="1058372" cy="423348"/>
        </a:xfrm>
        <a:prstGeom prst="chevron">
          <a:avLst/>
        </a:prstGeom>
        <a:solidFill>
          <a:schemeClr val="bg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21336" rIns="10668" bIns="21336" numCol="1" spcCol="1270" anchor="ctr" anchorCtr="0">
          <a:noAutofit/>
        </a:bodyPr>
        <a:lstStyle/>
        <a:p>
          <a:pPr marL="0" lvl="0" indent="0" algn="ctr" defTabSz="355600">
            <a:lnSpc>
              <a:spcPct val="90000"/>
            </a:lnSpc>
            <a:spcBef>
              <a:spcPct val="0"/>
            </a:spcBef>
            <a:spcAft>
              <a:spcPct val="35000"/>
            </a:spcAft>
            <a:buNone/>
          </a:pPr>
          <a:r>
            <a:rPr lang="en-US" sz="800" kern="1200" dirty="0"/>
            <a:t>E2E Tests</a:t>
          </a:r>
        </a:p>
      </dsp:txBody>
      <dsp:txXfrm>
        <a:off x="6985361" y="185295"/>
        <a:ext cx="635024" cy="423348"/>
      </dsp:txXfrm>
    </dsp:sp>
    <dsp:sp modelId="{8BF2E94A-9EDA-4D1B-B447-B22DF4954F6F}">
      <dsp:nvSpPr>
        <dsp:cNvPr id="0" name=""/>
        <dsp:cNvSpPr/>
      </dsp:nvSpPr>
      <dsp:spPr>
        <a:xfrm>
          <a:off x="7620384" y="185295"/>
          <a:ext cx="1058372" cy="423348"/>
        </a:xfrm>
        <a:prstGeom prst="chevron">
          <a:avLst/>
        </a:prstGeom>
        <a:solidFill>
          <a:schemeClr val="bg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21336" rIns="10668" bIns="21336" numCol="1" spcCol="1270" anchor="ctr" anchorCtr="0">
          <a:noAutofit/>
        </a:bodyPr>
        <a:lstStyle/>
        <a:p>
          <a:pPr marL="0" lvl="0" indent="0" algn="ctr" defTabSz="355600">
            <a:lnSpc>
              <a:spcPct val="90000"/>
            </a:lnSpc>
            <a:spcBef>
              <a:spcPct val="0"/>
            </a:spcBef>
            <a:spcAft>
              <a:spcPct val="35000"/>
            </a:spcAft>
            <a:buNone/>
          </a:pPr>
          <a:r>
            <a:rPr lang="en-US" sz="800" kern="1200" dirty="0"/>
            <a:t>Deploy and Release</a:t>
          </a:r>
        </a:p>
      </dsp:txBody>
      <dsp:txXfrm>
        <a:off x="7832058" y="185295"/>
        <a:ext cx="635024" cy="42334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00BB1A8-A75B-46B4-A88C-52BAAA4EA6C2}">
      <dsp:nvSpPr>
        <dsp:cNvPr id="0" name=""/>
        <dsp:cNvSpPr/>
      </dsp:nvSpPr>
      <dsp:spPr>
        <a:xfrm>
          <a:off x="20593" y="0"/>
          <a:ext cx="3551311" cy="416256"/>
        </a:xfrm>
        <a:prstGeom prst="homePlate">
          <a:avLst/>
        </a:prstGeom>
        <a:solidFill>
          <a:schemeClr val="bg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6012" tIns="48006" rIns="24003" bIns="48006" numCol="1" spcCol="1270" anchor="ctr" anchorCtr="0">
          <a:noAutofit/>
        </a:bodyPr>
        <a:lstStyle/>
        <a:p>
          <a:pPr marL="0" lvl="0" indent="0" algn="ctr" defTabSz="800100">
            <a:lnSpc>
              <a:spcPct val="90000"/>
            </a:lnSpc>
            <a:spcBef>
              <a:spcPct val="0"/>
            </a:spcBef>
            <a:spcAft>
              <a:spcPct val="35000"/>
            </a:spcAft>
            <a:buNone/>
          </a:pPr>
          <a:r>
            <a:rPr lang="en-US" sz="1800" kern="1200" dirty="0"/>
            <a:t>Continuous Integration</a:t>
          </a:r>
        </a:p>
      </dsp:txBody>
      <dsp:txXfrm>
        <a:off x="20593" y="0"/>
        <a:ext cx="3447247" cy="416256"/>
      </dsp:txXfrm>
    </dsp:sp>
    <dsp:sp modelId="{C41A44A8-F315-467A-BC7A-DF5D204D36AC}">
      <dsp:nvSpPr>
        <dsp:cNvPr id="0" name=""/>
        <dsp:cNvSpPr/>
      </dsp:nvSpPr>
      <dsp:spPr>
        <a:xfrm>
          <a:off x="3287641" y="0"/>
          <a:ext cx="2753848" cy="416256"/>
        </a:xfrm>
        <a:prstGeom prst="chevron">
          <a:avLst/>
        </a:prstGeom>
        <a:solidFill>
          <a:schemeClr val="bg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48006" rIns="24003" bIns="48006" numCol="1" spcCol="1270" anchor="ctr" anchorCtr="0">
          <a:noAutofit/>
        </a:bodyPr>
        <a:lstStyle/>
        <a:p>
          <a:pPr marL="0" lvl="0" indent="0" algn="ctr" defTabSz="800100">
            <a:lnSpc>
              <a:spcPct val="90000"/>
            </a:lnSpc>
            <a:spcBef>
              <a:spcPct val="0"/>
            </a:spcBef>
            <a:spcAft>
              <a:spcPct val="35000"/>
            </a:spcAft>
            <a:buNone/>
          </a:pPr>
          <a:r>
            <a:rPr lang="en-US" sz="1800" kern="1200" dirty="0"/>
            <a:t>Continuous Delivery</a:t>
          </a:r>
        </a:p>
      </dsp:txBody>
      <dsp:txXfrm>
        <a:off x="3495769" y="0"/>
        <a:ext cx="2337592" cy="416256"/>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758B83E-CFEC-43EC-AF0D-E790A3C16319}">
      <dsp:nvSpPr>
        <dsp:cNvPr id="0" name=""/>
        <dsp:cNvSpPr/>
      </dsp:nvSpPr>
      <dsp:spPr>
        <a:xfrm>
          <a:off x="105" y="185295"/>
          <a:ext cx="1058372" cy="423348"/>
        </a:xfrm>
        <a:prstGeom prst="homePlate">
          <a:avLst/>
        </a:prstGeom>
        <a:solidFill>
          <a:schemeClr val="bg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2672" tIns="21336" rIns="10668" bIns="21336" numCol="1" spcCol="1270" anchor="ctr" anchorCtr="0">
          <a:noAutofit/>
        </a:bodyPr>
        <a:lstStyle/>
        <a:p>
          <a:pPr marL="0" lvl="0" indent="0" algn="ctr" defTabSz="355600">
            <a:lnSpc>
              <a:spcPct val="90000"/>
            </a:lnSpc>
            <a:spcBef>
              <a:spcPct val="0"/>
            </a:spcBef>
            <a:spcAft>
              <a:spcPct val="35000"/>
            </a:spcAft>
            <a:buNone/>
          </a:pPr>
          <a:r>
            <a:rPr lang="en-US" sz="800" kern="1200" dirty="0"/>
            <a:t>Plan</a:t>
          </a:r>
        </a:p>
      </dsp:txBody>
      <dsp:txXfrm>
        <a:off x="105" y="185295"/>
        <a:ext cx="952535" cy="423348"/>
      </dsp:txXfrm>
    </dsp:sp>
    <dsp:sp modelId="{57F52E1E-2C2F-47A9-A6D9-CB7537BF727C}">
      <dsp:nvSpPr>
        <dsp:cNvPr id="0" name=""/>
        <dsp:cNvSpPr/>
      </dsp:nvSpPr>
      <dsp:spPr>
        <a:xfrm>
          <a:off x="846803" y="185295"/>
          <a:ext cx="1058372" cy="423348"/>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21336" rIns="10668" bIns="21336" numCol="1" spcCol="1270" anchor="ctr" anchorCtr="0">
          <a:noAutofit/>
        </a:bodyPr>
        <a:lstStyle/>
        <a:p>
          <a:pPr marL="0" lvl="0" indent="0" algn="ctr" defTabSz="355600">
            <a:lnSpc>
              <a:spcPct val="90000"/>
            </a:lnSpc>
            <a:spcBef>
              <a:spcPct val="0"/>
            </a:spcBef>
            <a:spcAft>
              <a:spcPct val="35000"/>
            </a:spcAft>
            <a:buNone/>
          </a:pPr>
          <a:r>
            <a:rPr lang="en-US" sz="800" kern="1200" dirty="0"/>
            <a:t>Code</a:t>
          </a:r>
        </a:p>
      </dsp:txBody>
      <dsp:txXfrm>
        <a:off x="1058477" y="185295"/>
        <a:ext cx="635024" cy="423348"/>
      </dsp:txXfrm>
    </dsp:sp>
    <dsp:sp modelId="{0D14839E-F7AA-41F1-8F21-377D4525EA32}">
      <dsp:nvSpPr>
        <dsp:cNvPr id="0" name=""/>
        <dsp:cNvSpPr/>
      </dsp:nvSpPr>
      <dsp:spPr>
        <a:xfrm>
          <a:off x="1693501" y="185295"/>
          <a:ext cx="1058372" cy="423348"/>
        </a:xfrm>
        <a:prstGeom prst="chevron">
          <a:avLst/>
        </a:prstGeom>
        <a:solidFill>
          <a:schemeClr val="bg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21336" rIns="10668" bIns="21336" numCol="1" spcCol="1270" anchor="ctr" anchorCtr="0">
          <a:noAutofit/>
        </a:bodyPr>
        <a:lstStyle/>
        <a:p>
          <a:pPr marL="0" lvl="0" indent="0" algn="ctr" defTabSz="355600">
            <a:lnSpc>
              <a:spcPct val="90000"/>
            </a:lnSpc>
            <a:spcBef>
              <a:spcPct val="0"/>
            </a:spcBef>
            <a:spcAft>
              <a:spcPct val="35000"/>
            </a:spcAft>
            <a:buNone/>
          </a:pPr>
          <a:r>
            <a:rPr lang="en-US" sz="800" kern="1200" dirty="0"/>
            <a:t>Build</a:t>
          </a:r>
        </a:p>
      </dsp:txBody>
      <dsp:txXfrm>
        <a:off x="1905175" y="185295"/>
        <a:ext cx="635024" cy="423348"/>
      </dsp:txXfrm>
    </dsp:sp>
    <dsp:sp modelId="{AC1BF143-926D-45ED-A5A3-43D05A5B5E05}">
      <dsp:nvSpPr>
        <dsp:cNvPr id="0" name=""/>
        <dsp:cNvSpPr/>
      </dsp:nvSpPr>
      <dsp:spPr>
        <a:xfrm>
          <a:off x="2540198" y="185295"/>
          <a:ext cx="1058372" cy="423348"/>
        </a:xfrm>
        <a:prstGeom prst="chevron">
          <a:avLst/>
        </a:prstGeom>
        <a:solidFill>
          <a:schemeClr val="bg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21336" rIns="10668" bIns="21336" numCol="1" spcCol="1270" anchor="ctr" anchorCtr="0">
          <a:noAutofit/>
        </a:bodyPr>
        <a:lstStyle/>
        <a:p>
          <a:pPr marL="0" lvl="0" indent="0" algn="ctr" defTabSz="355600">
            <a:lnSpc>
              <a:spcPct val="90000"/>
            </a:lnSpc>
            <a:spcBef>
              <a:spcPct val="0"/>
            </a:spcBef>
            <a:spcAft>
              <a:spcPct val="35000"/>
            </a:spcAft>
            <a:buNone/>
          </a:pPr>
          <a:r>
            <a:rPr lang="en-US" sz="800" kern="1200" dirty="0"/>
            <a:t>Unit Tests</a:t>
          </a:r>
        </a:p>
      </dsp:txBody>
      <dsp:txXfrm>
        <a:off x="2751872" y="185295"/>
        <a:ext cx="635024" cy="423348"/>
      </dsp:txXfrm>
    </dsp:sp>
    <dsp:sp modelId="{FAC99AAC-4206-4C8D-B75A-31CCAA24369E}">
      <dsp:nvSpPr>
        <dsp:cNvPr id="0" name=""/>
        <dsp:cNvSpPr/>
      </dsp:nvSpPr>
      <dsp:spPr>
        <a:xfrm>
          <a:off x="3386896" y="185295"/>
          <a:ext cx="1058372" cy="423348"/>
        </a:xfrm>
        <a:prstGeom prst="chevron">
          <a:avLst/>
        </a:prstGeom>
        <a:solidFill>
          <a:schemeClr val="bg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21336" rIns="10668" bIns="21336" numCol="1" spcCol="1270" anchor="ctr" anchorCtr="0">
          <a:noAutofit/>
        </a:bodyPr>
        <a:lstStyle/>
        <a:p>
          <a:pPr marL="0" lvl="0" indent="0" algn="ctr" defTabSz="355600">
            <a:lnSpc>
              <a:spcPct val="90000"/>
            </a:lnSpc>
            <a:spcBef>
              <a:spcPct val="0"/>
            </a:spcBef>
            <a:spcAft>
              <a:spcPct val="35000"/>
            </a:spcAft>
            <a:buNone/>
          </a:pPr>
          <a:r>
            <a:rPr lang="en-US" sz="800" kern="1200" dirty="0"/>
            <a:t>Code Coverage and </a:t>
          </a:r>
          <a:r>
            <a:rPr lang="en-US" sz="800" kern="1200" dirty="0" err="1"/>
            <a:t>Vulerabilities</a:t>
          </a:r>
          <a:endParaRPr lang="en-US" sz="800" kern="1200" dirty="0"/>
        </a:p>
      </dsp:txBody>
      <dsp:txXfrm>
        <a:off x="3598570" y="185295"/>
        <a:ext cx="635024" cy="423348"/>
      </dsp:txXfrm>
    </dsp:sp>
    <dsp:sp modelId="{EECB13DF-38FD-4199-93B9-448461C16185}">
      <dsp:nvSpPr>
        <dsp:cNvPr id="0" name=""/>
        <dsp:cNvSpPr/>
      </dsp:nvSpPr>
      <dsp:spPr>
        <a:xfrm>
          <a:off x="4233594" y="185295"/>
          <a:ext cx="1058372" cy="423348"/>
        </a:xfrm>
        <a:prstGeom prst="chevron">
          <a:avLst/>
        </a:prstGeom>
        <a:solidFill>
          <a:schemeClr val="bg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21336" rIns="10668" bIns="21336" numCol="1" spcCol="1270" anchor="ctr" anchorCtr="0">
          <a:noAutofit/>
        </a:bodyPr>
        <a:lstStyle/>
        <a:p>
          <a:pPr marL="0" lvl="0" indent="0" algn="ctr" defTabSz="355600">
            <a:lnSpc>
              <a:spcPct val="90000"/>
            </a:lnSpc>
            <a:spcBef>
              <a:spcPct val="0"/>
            </a:spcBef>
            <a:spcAft>
              <a:spcPct val="35000"/>
            </a:spcAft>
            <a:buNone/>
          </a:pPr>
          <a:r>
            <a:rPr lang="en-US" sz="800" kern="1200" dirty="0"/>
            <a:t>Artifact publish</a:t>
          </a:r>
        </a:p>
      </dsp:txBody>
      <dsp:txXfrm>
        <a:off x="4445268" y="185295"/>
        <a:ext cx="635024" cy="423348"/>
      </dsp:txXfrm>
    </dsp:sp>
    <dsp:sp modelId="{1C920BC9-2570-439E-8481-8C6F1CB98E73}">
      <dsp:nvSpPr>
        <dsp:cNvPr id="0" name=""/>
        <dsp:cNvSpPr/>
      </dsp:nvSpPr>
      <dsp:spPr>
        <a:xfrm>
          <a:off x="5080291" y="185295"/>
          <a:ext cx="1058372" cy="423348"/>
        </a:xfrm>
        <a:prstGeom prst="chevron">
          <a:avLst/>
        </a:prstGeom>
        <a:solidFill>
          <a:schemeClr val="bg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21336" rIns="10668" bIns="21336" numCol="1" spcCol="1270" anchor="ctr" anchorCtr="0">
          <a:noAutofit/>
        </a:bodyPr>
        <a:lstStyle/>
        <a:p>
          <a:pPr marL="0" lvl="0" indent="0" algn="ctr" defTabSz="355600">
            <a:lnSpc>
              <a:spcPct val="90000"/>
            </a:lnSpc>
            <a:spcBef>
              <a:spcPct val="0"/>
            </a:spcBef>
            <a:spcAft>
              <a:spcPct val="35000"/>
            </a:spcAft>
            <a:buNone/>
          </a:pPr>
          <a:r>
            <a:rPr lang="en-US" sz="800" kern="1200" dirty="0"/>
            <a:t>Deploy</a:t>
          </a:r>
        </a:p>
      </dsp:txBody>
      <dsp:txXfrm>
        <a:off x="5291965" y="185295"/>
        <a:ext cx="635024" cy="423348"/>
      </dsp:txXfrm>
    </dsp:sp>
    <dsp:sp modelId="{E8BBFEEE-B21B-4C1D-846B-B89F01B73A44}">
      <dsp:nvSpPr>
        <dsp:cNvPr id="0" name=""/>
        <dsp:cNvSpPr/>
      </dsp:nvSpPr>
      <dsp:spPr>
        <a:xfrm>
          <a:off x="5926989" y="185295"/>
          <a:ext cx="1058372" cy="423348"/>
        </a:xfrm>
        <a:prstGeom prst="chevron">
          <a:avLst/>
        </a:prstGeom>
        <a:solidFill>
          <a:schemeClr val="bg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21336" rIns="10668" bIns="21336" numCol="1" spcCol="1270" anchor="ctr" anchorCtr="0">
          <a:noAutofit/>
        </a:bodyPr>
        <a:lstStyle/>
        <a:p>
          <a:pPr marL="0" lvl="0" indent="0" algn="ctr" defTabSz="355600">
            <a:lnSpc>
              <a:spcPct val="90000"/>
            </a:lnSpc>
            <a:spcBef>
              <a:spcPct val="0"/>
            </a:spcBef>
            <a:spcAft>
              <a:spcPct val="35000"/>
            </a:spcAft>
            <a:buNone/>
          </a:pPr>
          <a:r>
            <a:rPr lang="en-US" sz="800" kern="1200" dirty="0"/>
            <a:t>Integration Tests</a:t>
          </a:r>
        </a:p>
      </dsp:txBody>
      <dsp:txXfrm>
        <a:off x="6138663" y="185295"/>
        <a:ext cx="635024" cy="423348"/>
      </dsp:txXfrm>
    </dsp:sp>
    <dsp:sp modelId="{2297D37F-06A9-4D3B-9E7D-1BFE806033E6}">
      <dsp:nvSpPr>
        <dsp:cNvPr id="0" name=""/>
        <dsp:cNvSpPr/>
      </dsp:nvSpPr>
      <dsp:spPr>
        <a:xfrm>
          <a:off x="6773687" y="185295"/>
          <a:ext cx="1058372" cy="423348"/>
        </a:xfrm>
        <a:prstGeom prst="chevron">
          <a:avLst/>
        </a:prstGeom>
        <a:solidFill>
          <a:schemeClr val="bg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21336" rIns="10668" bIns="21336" numCol="1" spcCol="1270" anchor="ctr" anchorCtr="0">
          <a:noAutofit/>
        </a:bodyPr>
        <a:lstStyle/>
        <a:p>
          <a:pPr marL="0" lvl="0" indent="0" algn="ctr" defTabSz="355600">
            <a:lnSpc>
              <a:spcPct val="90000"/>
            </a:lnSpc>
            <a:spcBef>
              <a:spcPct val="0"/>
            </a:spcBef>
            <a:spcAft>
              <a:spcPct val="35000"/>
            </a:spcAft>
            <a:buNone/>
          </a:pPr>
          <a:r>
            <a:rPr lang="en-US" sz="800" kern="1200" dirty="0"/>
            <a:t>E2E Tests</a:t>
          </a:r>
        </a:p>
      </dsp:txBody>
      <dsp:txXfrm>
        <a:off x="6985361" y="185295"/>
        <a:ext cx="635024" cy="423348"/>
      </dsp:txXfrm>
    </dsp:sp>
    <dsp:sp modelId="{8BF2E94A-9EDA-4D1B-B447-B22DF4954F6F}">
      <dsp:nvSpPr>
        <dsp:cNvPr id="0" name=""/>
        <dsp:cNvSpPr/>
      </dsp:nvSpPr>
      <dsp:spPr>
        <a:xfrm>
          <a:off x="7620384" y="185295"/>
          <a:ext cx="1058372" cy="423348"/>
        </a:xfrm>
        <a:prstGeom prst="chevron">
          <a:avLst/>
        </a:prstGeom>
        <a:solidFill>
          <a:schemeClr val="bg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21336" rIns="10668" bIns="21336" numCol="1" spcCol="1270" anchor="ctr" anchorCtr="0">
          <a:noAutofit/>
        </a:bodyPr>
        <a:lstStyle/>
        <a:p>
          <a:pPr marL="0" lvl="0" indent="0" algn="ctr" defTabSz="355600">
            <a:lnSpc>
              <a:spcPct val="90000"/>
            </a:lnSpc>
            <a:spcBef>
              <a:spcPct val="0"/>
            </a:spcBef>
            <a:spcAft>
              <a:spcPct val="35000"/>
            </a:spcAft>
            <a:buNone/>
          </a:pPr>
          <a:r>
            <a:rPr lang="en-US" sz="800" kern="1200" dirty="0"/>
            <a:t>Deploy and Release</a:t>
          </a:r>
        </a:p>
      </dsp:txBody>
      <dsp:txXfrm>
        <a:off x="7832058" y="185295"/>
        <a:ext cx="635024" cy="423348"/>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00BB1A8-A75B-46B4-A88C-52BAAA4EA6C2}">
      <dsp:nvSpPr>
        <dsp:cNvPr id="0" name=""/>
        <dsp:cNvSpPr/>
      </dsp:nvSpPr>
      <dsp:spPr>
        <a:xfrm>
          <a:off x="20593" y="0"/>
          <a:ext cx="3551311" cy="416256"/>
        </a:xfrm>
        <a:prstGeom prst="homePlate">
          <a:avLst/>
        </a:prstGeom>
        <a:solidFill>
          <a:schemeClr val="bg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6012" tIns="48006" rIns="24003" bIns="48006" numCol="1" spcCol="1270" anchor="ctr" anchorCtr="0">
          <a:noAutofit/>
        </a:bodyPr>
        <a:lstStyle/>
        <a:p>
          <a:pPr marL="0" lvl="0" indent="0" algn="ctr" defTabSz="800100">
            <a:lnSpc>
              <a:spcPct val="90000"/>
            </a:lnSpc>
            <a:spcBef>
              <a:spcPct val="0"/>
            </a:spcBef>
            <a:spcAft>
              <a:spcPct val="35000"/>
            </a:spcAft>
            <a:buNone/>
          </a:pPr>
          <a:r>
            <a:rPr lang="en-US" sz="1800" kern="1200" dirty="0"/>
            <a:t>Continuous Integration</a:t>
          </a:r>
        </a:p>
      </dsp:txBody>
      <dsp:txXfrm>
        <a:off x="20593" y="0"/>
        <a:ext cx="3447247" cy="416256"/>
      </dsp:txXfrm>
    </dsp:sp>
    <dsp:sp modelId="{C41A44A8-F315-467A-BC7A-DF5D204D36AC}">
      <dsp:nvSpPr>
        <dsp:cNvPr id="0" name=""/>
        <dsp:cNvSpPr/>
      </dsp:nvSpPr>
      <dsp:spPr>
        <a:xfrm>
          <a:off x="3287641" y="0"/>
          <a:ext cx="2753848" cy="416256"/>
        </a:xfrm>
        <a:prstGeom prst="chevron">
          <a:avLst/>
        </a:prstGeom>
        <a:solidFill>
          <a:schemeClr val="bg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48006" rIns="24003" bIns="48006" numCol="1" spcCol="1270" anchor="ctr" anchorCtr="0">
          <a:noAutofit/>
        </a:bodyPr>
        <a:lstStyle/>
        <a:p>
          <a:pPr marL="0" lvl="0" indent="0" algn="ctr" defTabSz="800100">
            <a:lnSpc>
              <a:spcPct val="90000"/>
            </a:lnSpc>
            <a:spcBef>
              <a:spcPct val="0"/>
            </a:spcBef>
            <a:spcAft>
              <a:spcPct val="35000"/>
            </a:spcAft>
            <a:buNone/>
          </a:pPr>
          <a:r>
            <a:rPr lang="en-US" sz="1800" kern="1200" dirty="0"/>
            <a:t>Continuous Delivery</a:t>
          </a:r>
        </a:p>
      </dsp:txBody>
      <dsp:txXfrm>
        <a:off x="3495769" y="0"/>
        <a:ext cx="2337592" cy="416256"/>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758B83E-CFEC-43EC-AF0D-E790A3C16319}">
      <dsp:nvSpPr>
        <dsp:cNvPr id="0" name=""/>
        <dsp:cNvSpPr/>
      </dsp:nvSpPr>
      <dsp:spPr>
        <a:xfrm>
          <a:off x="105" y="185295"/>
          <a:ext cx="1058372" cy="423348"/>
        </a:xfrm>
        <a:prstGeom prst="homePlate">
          <a:avLst/>
        </a:prstGeom>
        <a:solidFill>
          <a:schemeClr val="bg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2672" tIns="21336" rIns="10668" bIns="21336" numCol="1" spcCol="1270" anchor="ctr" anchorCtr="0">
          <a:noAutofit/>
        </a:bodyPr>
        <a:lstStyle/>
        <a:p>
          <a:pPr marL="0" lvl="0" indent="0" algn="ctr" defTabSz="355600">
            <a:lnSpc>
              <a:spcPct val="90000"/>
            </a:lnSpc>
            <a:spcBef>
              <a:spcPct val="0"/>
            </a:spcBef>
            <a:spcAft>
              <a:spcPct val="35000"/>
            </a:spcAft>
            <a:buNone/>
          </a:pPr>
          <a:r>
            <a:rPr lang="en-US" sz="800" kern="1200" dirty="0"/>
            <a:t>Plan</a:t>
          </a:r>
        </a:p>
      </dsp:txBody>
      <dsp:txXfrm>
        <a:off x="105" y="185295"/>
        <a:ext cx="952535" cy="423348"/>
      </dsp:txXfrm>
    </dsp:sp>
    <dsp:sp modelId="{57F52E1E-2C2F-47A9-A6D9-CB7537BF727C}">
      <dsp:nvSpPr>
        <dsp:cNvPr id="0" name=""/>
        <dsp:cNvSpPr/>
      </dsp:nvSpPr>
      <dsp:spPr>
        <a:xfrm>
          <a:off x="846803" y="185295"/>
          <a:ext cx="1058372" cy="423348"/>
        </a:xfrm>
        <a:prstGeom prst="chevron">
          <a:avLst/>
        </a:prstGeom>
        <a:solidFill>
          <a:schemeClr val="bg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21336" rIns="10668" bIns="21336" numCol="1" spcCol="1270" anchor="ctr" anchorCtr="0">
          <a:noAutofit/>
        </a:bodyPr>
        <a:lstStyle/>
        <a:p>
          <a:pPr marL="0" lvl="0" indent="0" algn="ctr" defTabSz="355600">
            <a:lnSpc>
              <a:spcPct val="90000"/>
            </a:lnSpc>
            <a:spcBef>
              <a:spcPct val="0"/>
            </a:spcBef>
            <a:spcAft>
              <a:spcPct val="35000"/>
            </a:spcAft>
            <a:buNone/>
          </a:pPr>
          <a:r>
            <a:rPr lang="en-US" sz="800" kern="1200" dirty="0"/>
            <a:t>Code</a:t>
          </a:r>
        </a:p>
      </dsp:txBody>
      <dsp:txXfrm>
        <a:off x="1058477" y="185295"/>
        <a:ext cx="635024" cy="423348"/>
      </dsp:txXfrm>
    </dsp:sp>
    <dsp:sp modelId="{0D14839E-F7AA-41F1-8F21-377D4525EA32}">
      <dsp:nvSpPr>
        <dsp:cNvPr id="0" name=""/>
        <dsp:cNvSpPr/>
      </dsp:nvSpPr>
      <dsp:spPr>
        <a:xfrm>
          <a:off x="1693501" y="185295"/>
          <a:ext cx="1058372" cy="423348"/>
        </a:xfrm>
        <a:prstGeom prst="chevron">
          <a:avLst/>
        </a:prstGeom>
        <a:solidFill>
          <a:schemeClr val="bg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21336" rIns="10668" bIns="21336" numCol="1" spcCol="1270" anchor="ctr" anchorCtr="0">
          <a:noAutofit/>
        </a:bodyPr>
        <a:lstStyle/>
        <a:p>
          <a:pPr marL="0" lvl="0" indent="0" algn="ctr" defTabSz="355600">
            <a:lnSpc>
              <a:spcPct val="90000"/>
            </a:lnSpc>
            <a:spcBef>
              <a:spcPct val="0"/>
            </a:spcBef>
            <a:spcAft>
              <a:spcPct val="35000"/>
            </a:spcAft>
            <a:buNone/>
          </a:pPr>
          <a:r>
            <a:rPr lang="en-US" sz="800" kern="1200" dirty="0"/>
            <a:t>Build</a:t>
          </a:r>
        </a:p>
      </dsp:txBody>
      <dsp:txXfrm>
        <a:off x="1905175" y="185295"/>
        <a:ext cx="635024" cy="423348"/>
      </dsp:txXfrm>
    </dsp:sp>
    <dsp:sp modelId="{AC1BF143-926D-45ED-A5A3-43D05A5B5E05}">
      <dsp:nvSpPr>
        <dsp:cNvPr id="0" name=""/>
        <dsp:cNvSpPr/>
      </dsp:nvSpPr>
      <dsp:spPr>
        <a:xfrm>
          <a:off x="2540198" y="185295"/>
          <a:ext cx="1058372" cy="423348"/>
        </a:xfrm>
        <a:prstGeom prst="chevron">
          <a:avLst/>
        </a:prstGeom>
        <a:solidFill>
          <a:schemeClr val="bg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21336" rIns="10668" bIns="21336" numCol="1" spcCol="1270" anchor="ctr" anchorCtr="0">
          <a:noAutofit/>
        </a:bodyPr>
        <a:lstStyle/>
        <a:p>
          <a:pPr marL="0" lvl="0" indent="0" algn="ctr" defTabSz="355600">
            <a:lnSpc>
              <a:spcPct val="90000"/>
            </a:lnSpc>
            <a:spcBef>
              <a:spcPct val="0"/>
            </a:spcBef>
            <a:spcAft>
              <a:spcPct val="35000"/>
            </a:spcAft>
            <a:buNone/>
          </a:pPr>
          <a:r>
            <a:rPr lang="en-US" sz="800" kern="1200" dirty="0"/>
            <a:t>Unit Tests</a:t>
          </a:r>
        </a:p>
      </dsp:txBody>
      <dsp:txXfrm>
        <a:off x="2751872" y="185295"/>
        <a:ext cx="635024" cy="423348"/>
      </dsp:txXfrm>
    </dsp:sp>
    <dsp:sp modelId="{FAC99AAC-4206-4C8D-B75A-31CCAA24369E}">
      <dsp:nvSpPr>
        <dsp:cNvPr id="0" name=""/>
        <dsp:cNvSpPr/>
      </dsp:nvSpPr>
      <dsp:spPr>
        <a:xfrm>
          <a:off x="3386896" y="185295"/>
          <a:ext cx="1058372" cy="423348"/>
        </a:xfrm>
        <a:prstGeom prst="chevron">
          <a:avLst/>
        </a:prstGeom>
        <a:solidFill>
          <a:schemeClr val="bg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21336" rIns="10668" bIns="21336" numCol="1" spcCol="1270" anchor="ctr" anchorCtr="0">
          <a:noAutofit/>
        </a:bodyPr>
        <a:lstStyle/>
        <a:p>
          <a:pPr marL="0" lvl="0" indent="0" algn="ctr" defTabSz="355600">
            <a:lnSpc>
              <a:spcPct val="90000"/>
            </a:lnSpc>
            <a:spcBef>
              <a:spcPct val="0"/>
            </a:spcBef>
            <a:spcAft>
              <a:spcPct val="35000"/>
            </a:spcAft>
            <a:buNone/>
          </a:pPr>
          <a:r>
            <a:rPr lang="en-US" sz="800" kern="1200" dirty="0"/>
            <a:t>Code Coverage and </a:t>
          </a:r>
          <a:r>
            <a:rPr lang="en-US" sz="800" kern="1200" dirty="0" err="1"/>
            <a:t>Vulerabilities</a:t>
          </a:r>
          <a:endParaRPr lang="en-US" sz="800" kern="1200" dirty="0"/>
        </a:p>
      </dsp:txBody>
      <dsp:txXfrm>
        <a:off x="3598570" y="185295"/>
        <a:ext cx="635024" cy="423348"/>
      </dsp:txXfrm>
    </dsp:sp>
    <dsp:sp modelId="{EECB13DF-38FD-4199-93B9-448461C16185}">
      <dsp:nvSpPr>
        <dsp:cNvPr id="0" name=""/>
        <dsp:cNvSpPr/>
      </dsp:nvSpPr>
      <dsp:spPr>
        <a:xfrm>
          <a:off x="4233594" y="185295"/>
          <a:ext cx="1058372" cy="423348"/>
        </a:xfrm>
        <a:prstGeom prst="chevron">
          <a:avLst/>
        </a:prstGeom>
        <a:solidFill>
          <a:schemeClr val="bg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21336" rIns="10668" bIns="21336" numCol="1" spcCol="1270" anchor="ctr" anchorCtr="0">
          <a:noAutofit/>
        </a:bodyPr>
        <a:lstStyle/>
        <a:p>
          <a:pPr marL="0" lvl="0" indent="0" algn="ctr" defTabSz="355600">
            <a:lnSpc>
              <a:spcPct val="90000"/>
            </a:lnSpc>
            <a:spcBef>
              <a:spcPct val="0"/>
            </a:spcBef>
            <a:spcAft>
              <a:spcPct val="35000"/>
            </a:spcAft>
            <a:buNone/>
          </a:pPr>
          <a:r>
            <a:rPr lang="en-US" sz="800" kern="1200" dirty="0"/>
            <a:t>Artifact publish</a:t>
          </a:r>
        </a:p>
      </dsp:txBody>
      <dsp:txXfrm>
        <a:off x="4445268" y="185295"/>
        <a:ext cx="635024" cy="423348"/>
      </dsp:txXfrm>
    </dsp:sp>
    <dsp:sp modelId="{1C920BC9-2570-439E-8481-8C6F1CB98E73}">
      <dsp:nvSpPr>
        <dsp:cNvPr id="0" name=""/>
        <dsp:cNvSpPr/>
      </dsp:nvSpPr>
      <dsp:spPr>
        <a:xfrm>
          <a:off x="5080291" y="185295"/>
          <a:ext cx="1058372" cy="423348"/>
        </a:xfrm>
        <a:prstGeom prst="chevron">
          <a:avLst/>
        </a:prstGeom>
        <a:solidFill>
          <a:schemeClr val="bg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21336" rIns="10668" bIns="21336" numCol="1" spcCol="1270" anchor="ctr" anchorCtr="0">
          <a:noAutofit/>
        </a:bodyPr>
        <a:lstStyle/>
        <a:p>
          <a:pPr marL="0" lvl="0" indent="0" algn="ctr" defTabSz="355600">
            <a:lnSpc>
              <a:spcPct val="90000"/>
            </a:lnSpc>
            <a:spcBef>
              <a:spcPct val="0"/>
            </a:spcBef>
            <a:spcAft>
              <a:spcPct val="35000"/>
            </a:spcAft>
            <a:buNone/>
          </a:pPr>
          <a:r>
            <a:rPr lang="en-US" sz="800" kern="1200" dirty="0"/>
            <a:t>Deploy</a:t>
          </a:r>
        </a:p>
      </dsp:txBody>
      <dsp:txXfrm>
        <a:off x="5291965" y="185295"/>
        <a:ext cx="635024" cy="423348"/>
      </dsp:txXfrm>
    </dsp:sp>
    <dsp:sp modelId="{E8BBFEEE-B21B-4C1D-846B-B89F01B73A44}">
      <dsp:nvSpPr>
        <dsp:cNvPr id="0" name=""/>
        <dsp:cNvSpPr/>
      </dsp:nvSpPr>
      <dsp:spPr>
        <a:xfrm>
          <a:off x="5926989" y="185295"/>
          <a:ext cx="1058372" cy="423348"/>
        </a:xfrm>
        <a:prstGeom prst="chevron">
          <a:avLst/>
        </a:prstGeom>
        <a:solidFill>
          <a:schemeClr val="bg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21336" rIns="10668" bIns="21336" numCol="1" spcCol="1270" anchor="ctr" anchorCtr="0">
          <a:noAutofit/>
        </a:bodyPr>
        <a:lstStyle/>
        <a:p>
          <a:pPr marL="0" lvl="0" indent="0" algn="ctr" defTabSz="355600">
            <a:lnSpc>
              <a:spcPct val="90000"/>
            </a:lnSpc>
            <a:spcBef>
              <a:spcPct val="0"/>
            </a:spcBef>
            <a:spcAft>
              <a:spcPct val="35000"/>
            </a:spcAft>
            <a:buNone/>
          </a:pPr>
          <a:r>
            <a:rPr lang="en-US" sz="800" kern="1200" dirty="0"/>
            <a:t>Integration Tests</a:t>
          </a:r>
        </a:p>
      </dsp:txBody>
      <dsp:txXfrm>
        <a:off x="6138663" y="185295"/>
        <a:ext cx="635024" cy="423348"/>
      </dsp:txXfrm>
    </dsp:sp>
    <dsp:sp modelId="{2297D37F-06A9-4D3B-9E7D-1BFE806033E6}">
      <dsp:nvSpPr>
        <dsp:cNvPr id="0" name=""/>
        <dsp:cNvSpPr/>
      </dsp:nvSpPr>
      <dsp:spPr>
        <a:xfrm>
          <a:off x="6773687" y="185295"/>
          <a:ext cx="1058372" cy="423348"/>
        </a:xfrm>
        <a:prstGeom prst="chevron">
          <a:avLst/>
        </a:prstGeom>
        <a:solidFill>
          <a:schemeClr val="bg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21336" rIns="10668" bIns="21336" numCol="1" spcCol="1270" anchor="ctr" anchorCtr="0">
          <a:noAutofit/>
        </a:bodyPr>
        <a:lstStyle/>
        <a:p>
          <a:pPr marL="0" lvl="0" indent="0" algn="ctr" defTabSz="355600">
            <a:lnSpc>
              <a:spcPct val="90000"/>
            </a:lnSpc>
            <a:spcBef>
              <a:spcPct val="0"/>
            </a:spcBef>
            <a:spcAft>
              <a:spcPct val="35000"/>
            </a:spcAft>
            <a:buNone/>
          </a:pPr>
          <a:r>
            <a:rPr lang="en-US" sz="800" kern="1200" dirty="0"/>
            <a:t>E2E Tests</a:t>
          </a:r>
        </a:p>
      </dsp:txBody>
      <dsp:txXfrm>
        <a:off x="6985361" y="185295"/>
        <a:ext cx="635024" cy="423348"/>
      </dsp:txXfrm>
    </dsp:sp>
    <dsp:sp modelId="{8BF2E94A-9EDA-4D1B-B447-B22DF4954F6F}">
      <dsp:nvSpPr>
        <dsp:cNvPr id="0" name=""/>
        <dsp:cNvSpPr/>
      </dsp:nvSpPr>
      <dsp:spPr>
        <a:xfrm>
          <a:off x="7620384" y="185295"/>
          <a:ext cx="1058372" cy="423348"/>
        </a:xfrm>
        <a:prstGeom prst="chevron">
          <a:avLst/>
        </a:prstGeom>
        <a:solidFill>
          <a:schemeClr val="bg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21336" rIns="10668" bIns="21336" numCol="1" spcCol="1270" anchor="ctr" anchorCtr="0">
          <a:noAutofit/>
        </a:bodyPr>
        <a:lstStyle/>
        <a:p>
          <a:pPr marL="0" lvl="0" indent="0" algn="ctr" defTabSz="355600">
            <a:lnSpc>
              <a:spcPct val="90000"/>
            </a:lnSpc>
            <a:spcBef>
              <a:spcPct val="0"/>
            </a:spcBef>
            <a:spcAft>
              <a:spcPct val="35000"/>
            </a:spcAft>
            <a:buNone/>
          </a:pPr>
          <a:r>
            <a:rPr lang="en-US" sz="800" kern="1200" dirty="0"/>
            <a:t>Deploy and Release</a:t>
          </a:r>
        </a:p>
      </dsp:txBody>
      <dsp:txXfrm>
        <a:off x="7832058" y="185295"/>
        <a:ext cx="635024" cy="423348"/>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00BB1A8-A75B-46B4-A88C-52BAAA4EA6C2}">
      <dsp:nvSpPr>
        <dsp:cNvPr id="0" name=""/>
        <dsp:cNvSpPr/>
      </dsp:nvSpPr>
      <dsp:spPr>
        <a:xfrm>
          <a:off x="20593" y="0"/>
          <a:ext cx="3551311" cy="416256"/>
        </a:xfrm>
        <a:prstGeom prst="homePlat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6012" tIns="48006" rIns="24003" bIns="48006" numCol="1" spcCol="1270" anchor="ctr" anchorCtr="0">
          <a:noAutofit/>
        </a:bodyPr>
        <a:lstStyle/>
        <a:p>
          <a:pPr marL="0" lvl="0" indent="0" algn="ctr" defTabSz="800100">
            <a:lnSpc>
              <a:spcPct val="90000"/>
            </a:lnSpc>
            <a:spcBef>
              <a:spcPct val="0"/>
            </a:spcBef>
            <a:spcAft>
              <a:spcPct val="35000"/>
            </a:spcAft>
            <a:buNone/>
          </a:pPr>
          <a:r>
            <a:rPr lang="en-US" sz="1800" kern="1200" dirty="0"/>
            <a:t>Continuous Integration</a:t>
          </a:r>
        </a:p>
      </dsp:txBody>
      <dsp:txXfrm>
        <a:off x="20593" y="0"/>
        <a:ext cx="3447247" cy="416256"/>
      </dsp:txXfrm>
    </dsp:sp>
    <dsp:sp modelId="{C41A44A8-F315-467A-BC7A-DF5D204D36AC}">
      <dsp:nvSpPr>
        <dsp:cNvPr id="0" name=""/>
        <dsp:cNvSpPr/>
      </dsp:nvSpPr>
      <dsp:spPr>
        <a:xfrm>
          <a:off x="3287641" y="0"/>
          <a:ext cx="2753848" cy="416256"/>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48006" rIns="24003" bIns="48006" numCol="1" spcCol="1270" anchor="ctr" anchorCtr="0">
          <a:noAutofit/>
        </a:bodyPr>
        <a:lstStyle/>
        <a:p>
          <a:pPr marL="0" lvl="0" indent="0" algn="ctr" defTabSz="800100">
            <a:lnSpc>
              <a:spcPct val="90000"/>
            </a:lnSpc>
            <a:spcBef>
              <a:spcPct val="0"/>
            </a:spcBef>
            <a:spcAft>
              <a:spcPct val="35000"/>
            </a:spcAft>
            <a:buNone/>
          </a:pPr>
          <a:r>
            <a:rPr lang="en-US" sz="1800" kern="1200" dirty="0"/>
            <a:t>Continuous Delivery</a:t>
          </a:r>
        </a:p>
      </dsp:txBody>
      <dsp:txXfrm>
        <a:off x="3495769" y="0"/>
        <a:ext cx="2337592" cy="416256"/>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758B83E-CFEC-43EC-AF0D-E790A3C16319}">
      <dsp:nvSpPr>
        <dsp:cNvPr id="0" name=""/>
        <dsp:cNvSpPr/>
      </dsp:nvSpPr>
      <dsp:spPr>
        <a:xfrm>
          <a:off x="105" y="185295"/>
          <a:ext cx="1058372" cy="423348"/>
        </a:xfrm>
        <a:prstGeom prst="homePlate">
          <a:avLst/>
        </a:prstGeom>
        <a:solidFill>
          <a:schemeClr val="bg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2672" tIns="21336" rIns="10668" bIns="21336" numCol="1" spcCol="1270" anchor="ctr" anchorCtr="0">
          <a:noAutofit/>
        </a:bodyPr>
        <a:lstStyle/>
        <a:p>
          <a:pPr marL="0" lvl="0" indent="0" algn="ctr" defTabSz="355600">
            <a:lnSpc>
              <a:spcPct val="90000"/>
            </a:lnSpc>
            <a:spcBef>
              <a:spcPct val="0"/>
            </a:spcBef>
            <a:spcAft>
              <a:spcPct val="35000"/>
            </a:spcAft>
            <a:buNone/>
          </a:pPr>
          <a:r>
            <a:rPr lang="en-US" sz="800" kern="1200" dirty="0"/>
            <a:t>Plan</a:t>
          </a:r>
        </a:p>
      </dsp:txBody>
      <dsp:txXfrm>
        <a:off x="105" y="185295"/>
        <a:ext cx="952535" cy="423348"/>
      </dsp:txXfrm>
    </dsp:sp>
    <dsp:sp modelId="{57F52E1E-2C2F-47A9-A6D9-CB7537BF727C}">
      <dsp:nvSpPr>
        <dsp:cNvPr id="0" name=""/>
        <dsp:cNvSpPr/>
      </dsp:nvSpPr>
      <dsp:spPr>
        <a:xfrm>
          <a:off x="846803" y="185295"/>
          <a:ext cx="1058372" cy="423348"/>
        </a:xfrm>
        <a:prstGeom prst="chevron">
          <a:avLst/>
        </a:prstGeom>
        <a:solidFill>
          <a:schemeClr val="bg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21336" rIns="10668" bIns="21336" numCol="1" spcCol="1270" anchor="ctr" anchorCtr="0">
          <a:noAutofit/>
        </a:bodyPr>
        <a:lstStyle/>
        <a:p>
          <a:pPr marL="0" lvl="0" indent="0" algn="ctr" defTabSz="355600">
            <a:lnSpc>
              <a:spcPct val="90000"/>
            </a:lnSpc>
            <a:spcBef>
              <a:spcPct val="0"/>
            </a:spcBef>
            <a:spcAft>
              <a:spcPct val="35000"/>
            </a:spcAft>
            <a:buNone/>
          </a:pPr>
          <a:r>
            <a:rPr lang="en-US" sz="800" kern="1200" dirty="0"/>
            <a:t>Code</a:t>
          </a:r>
        </a:p>
      </dsp:txBody>
      <dsp:txXfrm>
        <a:off x="1058477" y="185295"/>
        <a:ext cx="635024" cy="423348"/>
      </dsp:txXfrm>
    </dsp:sp>
    <dsp:sp modelId="{0D14839E-F7AA-41F1-8F21-377D4525EA32}">
      <dsp:nvSpPr>
        <dsp:cNvPr id="0" name=""/>
        <dsp:cNvSpPr/>
      </dsp:nvSpPr>
      <dsp:spPr>
        <a:xfrm>
          <a:off x="1693501" y="185295"/>
          <a:ext cx="1058372" cy="423348"/>
        </a:xfrm>
        <a:prstGeom prst="chevron">
          <a:avLst/>
        </a:prstGeom>
        <a:solidFill>
          <a:schemeClr val="accent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21336" rIns="10668" bIns="21336" numCol="1" spcCol="1270" anchor="ctr" anchorCtr="0">
          <a:noAutofit/>
        </a:bodyPr>
        <a:lstStyle/>
        <a:p>
          <a:pPr marL="0" lvl="0" indent="0" algn="ctr" defTabSz="355600">
            <a:lnSpc>
              <a:spcPct val="90000"/>
            </a:lnSpc>
            <a:spcBef>
              <a:spcPct val="0"/>
            </a:spcBef>
            <a:spcAft>
              <a:spcPct val="35000"/>
            </a:spcAft>
            <a:buNone/>
          </a:pPr>
          <a:r>
            <a:rPr lang="en-US" sz="800" kern="1200" dirty="0"/>
            <a:t>Build</a:t>
          </a:r>
        </a:p>
      </dsp:txBody>
      <dsp:txXfrm>
        <a:off x="1905175" y="185295"/>
        <a:ext cx="635024" cy="423348"/>
      </dsp:txXfrm>
    </dsp:sp>
    <dsp:sp modelId="{AC1BF143-926D-45ED-A5A3-43D05A5B5E05}">
      <dsp:nvSpPr>
        <dsp:cNvPr id="0" name=""/>
        <dsp:cNvSpPr/>
      </dsp:nvSpPr>
      <dsp:spPr>
        <a:xfrm>
          <a:off x="2540198" y="185295"/>
          <a:ext cx="1058372" cy="423348"/>
        </a:xfrm>
        <a:prstGeom prst="chevron">
          <a:avLst/>
        </a:prstGeom>
        <a:solidFill>
          <a:schemeClr val="bg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21336" rIns="10668" bIns="21336" numCol="1" spcCol="1270" anchor="ctr" anchorCtr="0">
          <a:noAutofit/>
        </a:bodyPr>
        <a:lstStyle/>
        <a:p>
          <a:pPr marL="0" lvl="0" indent="0" algn="ctr" defTabSz="355600">
            <a:lnSpc>
              <a:spcPct val="90000"/>
            </a:lnSpc>
            <a:spcBef>
              <a:spcPct val="0"/>
            </a:spcBef>
            <a:spcAft>
              <a:spcPct val="35000"/>
            </a:spcAft>
            <a:buNone/>
          </a:pPr>
          <a:r>
            <a:rPr lang="en-US" sz="800" kern="1200" dirty="0"/>
            <a:t>Unit Tests</a:t>
          </a:r>
        </a:p>
      </dsp:txBody>
      <dsp:txXfrm>
        <a:off x="2751872" y="185295"/>
        <a:ext cx="635024" cy="423348"/>
      </dsp:txXfrm>
    </dsp:sp>
    <dsp:sp modelId="{FAC99AAC-4206-4C8D-B75A-31CCAA24369E}">
      <dsp:nvSpPr>
        <dsp:cNvPr id="0" name=""/>
        <dsp:cNvSpPr/>
      </dsp:nvSpPr>
      <dsp:spPr>
        <a:xfrm>
          <a:off x="3386896" y="185295"/>
          <a:ext cx="1058372" cy="423348"/>
        </a:xfrm>
        <a:prstGeom prst="chevron">
          <a:avLst/>
        </a:prstGeom>
        <a:solidFill>
          <a:schemeClr val="bg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21336" rIns="10668" bIns="21336" numCol="1" spcCol="1270" anchor="ctr" anchorCtr="0">
          <a:noAutofit/>
        </a:bodyPr>
        <a:lstStyle/>
        <a:p>
          <a:pPr marL="0" lvl="0" indent="0" algn="ctr" defTabSz="355600">
            <a:lnSpc>
              <a:spcPct val="90000"/>
            </a:lnSpc>
            <a:spcBef>
              <a:spcPct val="0"/>
            </a:spcBef>
            <a:spcAft>
              <a:spcPct val="35000"/>
            </a:spcAft>
            <a:buNone/>
          </a:pPr>
          <a:r>
            <a:rPr lang="en-US" sz="800" kern="1200" dirty="0"/>
            <a:t>Code Coverage and </a:t>
          </a:r>
          <a:r>
            <a:rPr lang="en-US" sz="800" kern="1200" dirty="0" err="1"/>
            <a:t>Vulerabilities</a:t>
          </a:r>
          <a:endParaRPr lang="en-US" sz="800" kern="1200" dirty="0"/>
        </a:p>
      </dsp:txBody>
      <dsp:txXfrm>
        <a:off x="3598570" y="185295"/>
        <a:ext cx="635024" cy="423348"/>
      </dsp:txXfrm>
    </dsp:sp>
    <dsp:sp modelId="{EECB13DF-38FD-4199-93B9-448461C16185}">
      <dsp:nvSpPr>
        <dsp:cNvPr id="0" name=""/>
        <dsp:cNvSpPr/>
      </dsp:nvSpPr>
      <dsp:spPr>
        <a:xfrm>
          <a:off x="4233594" y="185295"/>
          <a:ext cx="1058372" cy="423348"/>
        </a:xfrm>
        <a:prstGeom prst="chevron">
          <a:avLst/>
        </a:prstGeom>
        <a:solidFill>
          <a:schemeClr val="bg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21336" rIns="10668" bIns="21336" numCol="1" spcCol="1270" anchor="ctr" anchorCtr="0">
          <a:noAutofit/>
        </a:bodyPr>
        <a:lstStyle/>
        <a:p>
          <a:pPr marL="0" lvl="0" indent="0" algn="ctr" defTabSz="355600">
            <a:lnSpc>
              <a:spcPct val="90000"/>
            </a:lnSpc>
            <a:spcBef>
              <a:spcPct val="0"/>
            </a:spcBef>
            <a:spcAft>
              <a:spcPct val="35000"/>
            </a:spcAft>
            <a:buNone/>
          </a:pPr>
          <a:r>
            <a:rPr lang="en-US" sz="800" kern="1200" dirty="0"/>
            <a:t>Artifact publish</a:t>
          </a:r>
        </a:p>
      </dsp:txBody>
      <dsp:txXfrm>
        <a:off x="4445268" y="185295"/>
        <a:ext cx="635024" cy="423348"/>
      </dsp:txXfrm>
    </dsp:sp>
    <dsp:sp modelId="{1C920BC9-2570-439E-8481-8C6F1CB98E73}">
      <dsp:nvSpPr>
        <dsp:cNvPr id="0" name=""/>
        <dsp:cNvSpPr/>
      </dsp:nvSpPr>
      <dsp:spPr>
        <a:xfrm>
          <a:off x="5080291" y="185295"/>
          <a:ext cx="1058372" cy="423348"/>
        </a:xfrm>
        <a:prstGeom prst="chevron">
          <a:avLst/>
        </a:prstGeom>
        <a:solidFill>
          <a:schemeClr val="bg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21336" rIns="10668" bIns="21336" numCol="1" spcCol="1270" anchor="ctr" anchorCtr="0">
          <a:noAutofit/>
        </a:bodyPr>
        <a:lstStyle/>
        <a:p>
          <a:pPr marL="0" lvl="0" indent="0" algn="ctr" defTabSz="355600">
            <a:lnSpc>
              <a:spcPct val="90000"/>
            </a:lnSpc>
            <a:spcBef>
              <a:spcPct val="0"/>
            </a:spcBef>
            <a:spcAft>
              <a:spcPct val="35000"/>
            </a:spcAft>
            <a:buNone/>
          </a:pPr>
          <a:r>
            <a:rPr lang="en-US" sz="800" kern="1200" dirty="0"/>
            <a:t>Deploy</a:t>
          </a:r>
        </a:p>
      </dsp:txBody>
      <dsp:txXfrm>
        <a:off x="5291965" y="185295"/>
        <a:ext cx="635024" cy="423348"/>
      </dsp:txXfrm>
    </dsp:sp>
    <dsp:sp modelId="{E8BBFEEE-B21B-4C1D-846B-B89F01B73A44}">
      <dsp:nvSpPr>
        <dsp:cNvPr id="0" name=""/>
        <dsp:cNvSpPr/>
      </dsp:nvSpPr>
      <dsp:spPr>
        <a:xfrm>
          <a:off x="5926989" y="185295"/>
          <a:ext cx="1058372" cy="423348"/>
        </a:xfrm>
        <a:prstGeom prst="chevron">
          <a:avLst/>
        </a:prstGeom>
        <a:solidFill>
          <a:schemeClr val="bg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21336" rIns="10668" bIns="21336" numCol="1" spcCol="1270" anchor="ctr" anchorCtr="0">
          <a:noAutofit/>
        </a:bodyPr>
        <a:lstStyle/>
        <a:p>
          <a:pPr marL="0" lvl="0" indent="0" algn="ctr" defTabSz="355600">
            <a:lnSpc>
              <a:spcPct val="90000"/>
            </a:lnSpc>
            <a:spcBef>
              <a:spcPct val="0"/>
            </a:spcBef>
            <a:spcAft>
              <a:spcPct val="35000"/>
            </a:spcAft>
            <a:buNone/>
          </a:pPr>
          <a:r>
            <a:rPr lang="en-US" sz="800" kern="1200" dirty="0"/>
            <a:t>Integration Tests</a:t>
          </a:r>
        </a:p>
      </dsp:txBody>
      <dsp:txXfrm>
        <a:off x="6138663" y="185295"/>
        <a:ext cx="635024" cy="423348"/>
      </dsp:txXfrm>
    </dsp:sp>
    <dsp:sp modelId="{2297D37F-06A9-4D3B-9E7D-1BFE806033E6}">
      <dsp:nvSpPr>
        <dsp:cNvPr id="0" name=""/>
        <dsp:cNvSpPr/>
      </dsp:nvSpPr>
      <dsp:spPr>
        <a:xfrm>
          <a:off x="6773687" y="185295"/>
          <a:ext cx="1058372" cy="423348"/>
        </a:xfrm>
        <a:prstGeom prst="chevron">
          <a:avLst/>
        </a:prstGeom>
        <a:solidFill>
          <a:schemeClr val="bg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21336" rIns="10668" bIns="21336" numCol="1" spcCol="1270" anchor="ctr" anchorCtr="0">
          <a:noAutofit/>
        </a:bodyPr>
        <a:lstStyle/>
        <a:p>
          <a:pPr marL="0" lvl="0" indent="0" algn="ctr" defTabSz="355600">
            <a:lnSpc>
              <a:spcPct val="90000"/>
            </a:lnSpc>
            <a:spcBef>
              <a:spcPct val="0"/>
            </a:spcBef>
            <a:spcAft>
              <a:spcPct val="35000"/>
            </a:spcAft>
            <a:buNone/>
          </a:pPr>
          <a:r>
            <a:rPr lang="en-US" sz="800" kern="1200" dirty="0"/>
            <a:t>E2E Tests</a:t>
          </a:r>
        </a:p>
      </dsp:txBody>
      <dsp:txXfrm>
        <a:off x="6985361" y="185295"/>
        <a:ext cx="635024" cy="423348"/>
      </dsp:txXfrm>
    </dsp:sp>
    <dsp:sp modelId="{8BF2E94A-9EDA-4D1B-B447-B22DF4954F6F}">
      <dsp:nvSpPr>
        <dsp:cNvPr id="0" name=""/>
        <dsp:cNvSpPr/>
      </dsp:nvSpPr>
      <dsp:spPr>
        <a:xfrm>
          <a:off x="7620384" y="185295"/>
          <a:ext cx="1058372" cy="423348"/>
        </a:xfrm>
        <a:prstGeom prst="chevron">
          <a:avLst/>
        </a:prstGeom>
        <a:solidFill>
          <a:schemeClr val="bg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21336" rIns="10668" bIns="21336" numCol="1" spcCol="1270" anchor="ctr" anchorCtr="0">
          <a:noAutofit/>
        </a:bodyPr>
        <a:lstStyle/>
        <a:p>
          <a:pPr marL="0" lvl="0" indent="0" algn="ctr" defTabSz="355600">
            <a:lnSpc>
              <a:spcPct val="90000"/>
            </a:lnSpc>
            <a:spcBef>
              <a:spcPct val="0"/>
            </a:spcBef>
            <a:spcAft>
              <a:spcPct val="35000"/>
            </a:spcAft>
            <a:buNone/>
          </a:pPr>
          <a:r>
            <a:rPr lang="en-US" sz="800" kern="1200" dirty="0"/>
            <a:t>Deploy and Release</a:t>
          </a:r>
        </a:p>
      </dsp:txBody>
      <dsp:txXfrm>
        <a:off x="7832058" y="185295"/>
        <a:ext cx="635024" cy="423348"/>
      </dsp:txXfrm>
    </dsp:sp>
  </dsp:spTree>
</dsp:drawing>
</file>

<file path=ppt/diagrams/layout1.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10.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11.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12.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13.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14.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15.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16.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17.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18.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19.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20.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4.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5.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6.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7.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8.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9.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0.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98056"/>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98056"/>
          </a:xfrm>
          <a:prstGeom prst="rect">
            <a:avLst/>
          </a:prstGeom>
        </p:spPr>
        <p:txBody>
          <a:bodyPr vert="horz" lIns="91440" tIns="45720" rIns="91440" bIns="45720" rtlCol="0"/>
          <a:lstStyle>
            <a:lvl1pPr algn="r">
              <a:defRPr sz="1200"/>
            </a:lvl1pPr>
          </a:lstStyle>
          <a:p>
            <a:fld id="{103FA311-E61B-46A1-AF3F-2A8AEBCEC0FD}" type="datetimeFigureOut">
              <a:rPr lang="en-GB" smtClean="0"/>
              <a:t>02/10/2020</a:t>
            </a:fld>
            <a:endParaRPr lang="en-GB"/>
          </a:p>
        </p:txBody>
      </p:sp>
      <p:sp>
        <p:nvSpPr>
          <p:cNvPr id="4" name="Slide Image Placeholder 3"/>
          <p:cNvSpPr>
            <a:spLocks noGrp="1" noRot="1" noChangeAspect="1"/>
          </p:cNvSpPr>
          <p:nvPr>
            <p:ph type="sldImg" idx="2"/>
          </p:nvPr>
        </p:nvSpPr>
        <p:spPr>
          <a:xfrm>
            <a:off x="452438" y="1241425"/>
            <a:ext cx="5953125" cy="3349625"/>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777194"/>
            <a:ext cx="5486400" cy="3908614"/>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428584"/>
            <a:ext cx="2971800" cy="498055"/>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9428584"/>
            <a:ext cx="2971800" cy="498055"/>
          </a:xfrm>
          <a:prstGeom prst="rect">
            <a:avLst/>
          </a:prstGeom>
        </p:spPr>
        <p:txBody>
          <a:bodyPr vert="horz" lIns="91440" tIns="45720" rIns="91440" bIns="45720" rtlCol="0" anchor="b"/>
          <a:lstStyle>
            <a:lvl1pPr algn="r">
              <a:defRPr sz="1200"/>
            </a:lvl1pPr>
          </a:lstStyle>
          <a:p>
            <a:fld id="{B8491173-C243-4EE3-9ED0-6C691BEB7EC8}" type="slidenum">
              <a:rPr lang="en-GB" smtClean="0"/>
              <a:t>‹#›</a:t>
            </a:fld>
            <a:endParaRPr lang="en-GB"/>
          </a:p>
        </p:txBody>
      </p:sp>
    </p:spTree>
    <p:extLst>
      <p:ext uri="{BB962C8B-B14F-4D97-AF65-F5344CB8AC3E}">
        <p14:creationId xmlns:p14="http://schemas.microsoft.com/office/powerpoint/2010/main" val="378659478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8491173-C243-4EE3-9ED0-6C691BEB7EC8}" type="slidenum">
              <a:rPr lang="en-US" smtClean="0"/>
              <a:t>7</a:t>
            </a:fld>
            <a:endParaRPr lang="en-US" dirty="0"/>
          </a:p>
        </p:txBody>
      </p:sp>
    </p:spTree>
    <p:extLst>
      <p:ext uri="{BB962C8B-B14F-4D97-AF65-F5344CB8AC3E}">
        <p14:creationId xmlns:p14="http://schemas.microsoft.com/office/powerpoint/2010/main" val="1069543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5"/>
          </p:nvPr>
        </p:nvSpPr>
        <p:spPr/>
        <p:txBody>
          <a:bodyPr/>
          <a:lstStyle/>
          <a:p>
            <a:fld id="{B8491173-C243-4EE3-9ED0-6C691BEB7EC8}" type="slidenum">
              <a:rPr lang="en-GB" smtClean="0"/>
              <a:t>15</a:t>
            </a:fld>
            <a:endParaRPr lang="en-GB"/>
          </a:p>
        </p:txBody>
      </p:sp>
    </p:spTree>
    <p:extLst>
      <p:ext uri="{BB962C8B-B14F-4D97-AF65-F5344CB8AC3E}">
        <p14:creationId xmlns:p14="http://schemas.microsoft.com/office/powerpoint/2010/main" val="6136821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B8491173-C243-4EE3-9ED0-6C691BEB7EC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168002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B8491173-C243-4EE3-9ED0-6C691BEB7EC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1343873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8491173-C243-4EE3-9ED0-6C691BEB7EC8}" type="slidenum">
              <a:rPr lang="en-US" smtClean="0"/>
              <a:t>39</a:t>
            </a:fld>
            <a:endParaRPr lang="en-US" dirty="0"/>
          </a:p>
        </p:txBody>
      </p:sp>
    </p:spTree>
    <p:extLst>
      <p:ext uri="{BB962C8B-B14F-4D97-AF65-F5344CB8AC3E}">
        <p14:creationId xmlns:p14="http://schemas.microsoft.com/office/powerpoint/2010/main" val="251298461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6.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7.emf"/><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2.xml"/><Relationship Id="rId4" Type="http://schemas.openxmlformats.org/officeDocument/2006/relationships/tags" Target="../tags/tag1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age - Text - Standard">
    <p:spTree>
      <p:nvGrpSpPr>
        <p:cNvPr id="1" name=""/>
        <p:cNvGrpSpPr/>
        <p:nvPr/>
      </p:nvGrpSpPr>
      <p:grpSpPr>
        <a:xfrm>
          <a:off x="0" y="0"/>
          <a:ext cx="0" cy="0"/>
          <a:chOff x="0" y="0"/>
          <a:chExt cx="0" cy="0"/>
        </a:xfrm>
      </p:grpSpPr>
      <p:sp>
        <p:nvSpPr>
          <p:cNvPr id="5" name="BlueGradient"/>
          <p:cNvSpPr/>
          <p:nvPr/>
        </p:nvSpPr>
        <p:spPr bwMode="gray">
          <a:xfrm>
            <a:off x="0" y="2876400"/>
            <a:ext cx="9144000" cy="2268000"/>
          </a:xfrm>
          <a:prstGeom prst="rect">
            <a:avLst/>
          </a:prstGeom>
          <a:gradFill flip="none" rotWithShape="1">
            <a:gsLst>
              <a:gs pos="11000">
                <a:schemeClr val="bg1">
                  <a:alpha val="78000"/>
                </a:schemeClr>
              </a:gs>
              <a:gs pos="100000">
                <a:srgbClr val="2EAEDA">
                  <a:alpha val="78000"/>
                </a:srgbClr>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 noProof="1">
              <a:noFill/>
              <a:latin typeface="UniCredit" panose="02000506040000020004" pitchFamily="2" charset="0"/>
              <a:cs typeface="Arial" panose="020B0604020202020204" pitchFamily="34" charset="0"/>
            </a:endParaRPr>
          </a:p>
        </p:txBody>
      </p:sp>
      <p:sp>
        <p:nvSpPr>
          <p:cNvPr id="4" name="LegalEntity"/>
          <p:cNvSpPr>
            <a:spLocks noGrp="1"/>
          </p:cNvSpPr>
          <p:nvPr>
            <p:ph type="body" sz="quarter" idx="13" hasCustomPrompt="1"/>
          </p:nvPr>
        </p:nvSpPr>
        <p:spPr>
          <a:xfrm>
            <a:off x="5943600" y="3128400"/>
            <a:ext cx="2880000" cy="208800"/>
          </a:xfrm>
          <a:prstGeom prst="rect">
            <a:avLst/>
          </a:prstGeom>
        </p:spPr>
        <p:txBody>
          <a:bodyPr lIns="0" tIns="0" rIns="0" bIns="0">
            <a:noAutofit/>
          </a:bodyPr>
          <a:lstStyle>
            <a:lvl1pPr marL="0" indent="0" algn="r">
              <a:buFontTx/>
              <a:buNone/>
              <a:defRPr sz="1200"/>
            </a:lvl1pPr>
            <a:lvl2pPr marL="356373" indent="0" algn="r">
              <a:buFontTx/>
              <a:buNone/>
              <a:defRPr sz="900"/>
            </a:lvl2pPr>
            <a:lvl3pPr algn="r">
              <a:buFontTx/>
              <a:buNone/>
              <a:defRPr sz="900"/>
            </a:lvl3pPr>
            <a:lvl4pPr marL="1069119" indent="0" algn="r">
              <a:buFontTx/>
              <a:buNone/>
              <a:defRPr sz="900"/>
            </a:lvl4pPr>
            <a:lvl5pPr marL="1501088" indent="0" algn="r">
              <a:buFontTx/>
              <a:buNone/>
              <a:defRPr sz="900"/>
            </a:lvl5pPr>
          </a:lstStyle>
          <a:p>
            <a:pPr lvl="0"/>
            <a:r>
              <a:rPr lang="en-GB" noProof="0" dirty="0"/>
              <a:t>[Insert legal entity - classification level]</a:t>
            </a:r>
          </a:p>
        </p:txBody>
      </p:sp>
      <p:sp>
        <p:nvSpPr>
          <p:cNvPr id="10" name="CityDate"/>
          <p:cNvSpPr>
            <a:spLocks noGrp="1"/>
          </p:cNvSpPr>
          <p:nvPr>
            <p:ph type="body" sz="quarter" idx="18" hasCustomPrompt="1"/>
          </p:nvPr>
        </p:nvSpPr>
        <p:spPr>
          <a:xfrm>
            <a:off x="540000" y="3398400"/>
            <a:ext cx="5040000" cy="208800"/>
          </a:xfrm>
        </p:spPr>
        <p:txBody>
          <a:bodyPr anchor="b">
            <a:normAutofit/>
          </a:bodyPr>
          <a:lstStyle>
            <a:lvl1pPr marL="0" indent="0" fontAlgn="auto">
              <a:spcBef>
                <a:spcPts val="0"/>
              </a:spcBef>
              <a:spcAft>
                <a:spcPts val="0"/>
              </a:spcAft>
              <a:buNone/>
              <a:defRPr sz="1200" b="1">
                <a:latin typeface="+mn-lt"/>
              </a:defRPr>
            </a:lvl1pPr>
          </a:lstStyle>
          <a:p>
            <a:pPr fontAlgn="auto">
              <a:spcBef>
                <a:spcPts val="0"/>
              </a:spcBef>
              <a:spcAft>
                <a:spcPts val="0"/>
              </a:spcAft>
            </a:pPr>
            <a:r>
              <a:rPr lang="en-GB" noProof="0" dirty="0"/>
              <a:t>Insert city and date</a:t>
            </a:r>
          </a:p>
        </p:txBody>
      </p:sp>
      <p:sp>
        <p:nvSpPr>
          <p:cNvPr id="9" name="NameFunction"/>
          <p:cNvSpPr>
            <a:spLocks noGrp="1"/>
          </p:cNvSpPr>
          <p:nvPr>
            <p:ph type="body" sz="quarter" idx="17" hasCustomPrompt="1"/>
          </p:nvPr>
        </p:nvSpPr>
        <p:spPr>
          <a:xfrm>
            <a:off x="539750" y="3103200"/>
            <a:ext cx="5040000" cy="208800"/>
          </a:xfrm>
        </p:spPr>
        <p:txBody>
          <a:bodyPr>
            <a:noAutofit/>
          </a:bodyPr>
          <a:lstStyle>
            <a:lvl1pPr marL="0" indent="0">
              <a:spcBef>
                <a:spcPts val="0"/>
              </a:spcBef>
              <a:buNone/>
              <a:defRPr sz="1400" b="1">
                <a:latin typeface="+mn-lt"/>
              </a:defRPr>
            </a:lvl1pPr>
            <a:lvl2pPr marL="457188" indent="0">
              <a:buNone/>
              <a:defRPr sz="1200" b="1">
                <a:latin typeface="UniCredit" panose="02000506040000020004" pitchFamily="2" charset="0"/>
              </a:defRPr>
            </a:lvl2pPr>
            <a:lvl3pPr marL="914377" indent="0">
              <a:buNone/>
              <a:defRPr sz="1200" b="1">
                <a:latin typeface="UniCredit" panose="02000506040000020004" pitchFamily="2" charset="0"/>
              </a:defRPr>
            </a:lvl3pPr>
            <a:lvl4pPr marL="1371566" indent="0">
              <a:buNone/>
              <a:defRPr sz="1200" b="1">
                <a:latin typeface="UniCredit" panose="02000506040000020004" pitchFamily="2" charset="0"/>
              </a:defRPr>
            </a:lvl4pPr>
            <a:lvl5pPr marL="1828755" indent="0">
              <a:buNone/>
              <a:defRPr sz="1200" b="1">
                <a:latin typeface="UniCredit" panose="02000506040000020004" pitchFamily="2" charset="0"/>
              </a:defRPr>
            </a:lvl5pPr>
          </a:lstStyle>
          <a:p>
            <a:pPr>
              <a:defRPr/>
            </a:pPr>
            <a:r>
              <a:rPr lang="en-GB" noProof="0" dirty="0"/>
              <a:t>Insert name and function</a:t>
            </a:r>
          </a:p>
        </p:txBody>
      </p:sp>
      <p:sp>
        <p:nvSpPr>
          <p:cNvPr id="24" name="Subtitle"/>
          <p:cNvSpPr>
            <a:spLocks noGrp="1"/>
          </p:cNvSpPr>
          <p:nvPr>
            <p:ph type="body" sz="quarter" idx="12" hasCustomPrompt="1"/>
          </p:nvPr>
        </p:nvSpPr>
        <p:spPr>
          <a:xfrm>
            <a:off x="539749" y="2116800"/>
            <a:ext cx="8287200" cy="626400"/>
          </a:xfrm>
          <a:prstGeom prst="rect">
            <a:avLst/>
          </a:prstGeom>
        </p:spPr>
        <p:txBody>
          <a:bodyPr lIns="0" tIns="0" rIns="0" bIns="0" anchor="b" anchorCtr="0">
            <a:normAutofit/>
          </a:bodyPr>
          <a:lstStyle>
            <a:lvl1pPr marL="0" indent="0">
              <a:lnSpc>
                <a:spcPts val="2600"/>
              </a:lnSpc>
              <a:spcBef>
                <a:spcPts val="0"/>
              </a:spcBef>
              <a:buNone/>
              <a:defRPr sz="2600"/>
            </a:lvl1pPr>
          </a:lstStyle>
          <a:p>
            <a:pPr lvl="0"/>
            <a:r>
              <a:rPr lang="en-GB" noProof="0" dirty="0"/>
              <a:t>Insert subtitle</a:t>
            </a:r>
          </a:p>
        </p:txBody>
      </p:sp>
      <p:sp>
        <p:nvSpPr>
          <p:cNvPr id="21" name="Title"/>
          <p:cNvSpPr>
            <a:spLocks noGrp="1"/>
          </p:cNvSpPr>
          <p:nvPr>
            <p:ph type="title" hasCustomPrompt="1"/>
          </p:nvPr>
        </p:nvSpPr>
        <p:spPr>
          <a:xfrm>
            <a:off x="540000" y="669600"/>
            <a:ext cx="6663600" cy="13680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nSpc>
                <a:spcPts val="3400"/>
              </a:lnSpc>
              <a:defRPr lang="en-GB" sz="3600" noProof="0" dirty="0">
                <a:latin typeface="+mj-lt"/>
                <a:cs typeface="Arial" panose="020B0604020202020204" pitchFamily="34" charset="0"/>
              </a:defRPr>
            </a:lvl1pPr>
          </a:lstStyle>
          <a:p>
            <a:pPr lvl="0" defTabSz="725037"/>
            <a:r>
              <a:rPr lang="en-GB" noProof="0" dirty="0"/>
              <a:t>Insert title</a:t>
            </a:r>
          </a:p>
        </p:txBody>
      </p:sp>
      <p:pic>
        <p:nvPicPr>
          <p:cNvPr id="3" name="Logo">
            <a:extLst>
              <a:ext uri="{FF2B5EF4-FFF2-40B4-BE49-F238E27FC236}">
                <a16:creationId xmlns:a16="http://schemas.microsoft.com/office/drawing/2014/main" id="{B9A250AB-298B-498A-AF38-6200D8DC933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490974" y="4414901"/>
            <a:ext cx="4383033" cy="402337"/>
          </a:xfrm>
          <a:prstGeom prst="rect">
            <a:avLst/>
          </a:prstGeom>
        </p:spPr>
      </p:pic>
    </p:spTree>
    <p:extLst>
      <p:ext uri="{BB962C8B-B14F-4D97-AF65-F5344CB8AC3E}">
        <p14:creationId xmlns:p14="http://schemas.microsoft.com/office/powerpoint/2010/main" val="37635052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le page - Picture - One Bank White">
    <p:spTree>
      <p:nvGrpSpPr>
        <p:cNvPr id="1" name=""/>
        <p:cNvGrpSpPr/>
        <p:nvPr/>
      </p:nvGrpSpPr>
      <p:grpSpPr>
        <a:xfrm>
          <a:off x="0" y="0"/>
          <a:ext cx="0" cy="0"/>
          <a:chOff x="0" y="0"/>
          <a:chExt cx="0" cy="0"/>
        </a:xfrm>
      </p:grpSpPr>
      <p:sp>
        <p:nvSpPr>
          <p:cNvPr id="16" name="BlueGradient"/>
          <p:cNvSpPr/>
          <p:nvPr/>
        </p:nvSpPr>
        <p:spPr bwMode="gray">
          <a:xfrm>
            <a:off x="0" y="2876400"/>
            <a:ext cx="9144000" cy="2268000"/>
          </a:xfrm>
          <a:prstGeom prst="rect">
            <a:avLst/>
          </a:prstGeom>
          <a:gradFill flip="none" rotWithShape="1">
            <a:gsLst>
              <a:gs pos="11000">
                <a:schemeClr val="bg1">
                  <a:alpha val="78000"/>
                </a:schemeClr>
              </a:gs>
              <a:gs pos="100000">
                <a:srgbClr val="2EAEDA">
                  <a:alpha val="78000"/>
                </a:srgbClr>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 noProof="1">
              <a:noFill/>
              <a:latin typeface="UniCredit" panose="02000506040000020004" pitchFamily="2" charset="0"/>
              <a:cs typeface="Arial" panose="020B0604020202020204" pitchFamily="34" charset="0"/>
            </a:endParaRPr>
          </a:p>
        </p:txBody>
      </p:sp>
      <p:sp>
        <p:nvSpPr>
          <p:cNvPr id="8" name="TitlePicture"/>
          <p:cNvSpPr>
            <a:spLocks noGrp="1"/>
          </p:cNvSpPr>
          <p:nvPr>
            <p:ph type="pic" sz="quarter" idx="13" hasCustomPrompt="1"/>
          </p:nvPr>
        </p:nvSpPr>
        <p:spPr>
          <a:xfrm>
            <a:off x="0" y="0"/>
            <a:ext cx="9144000" cy="2876400"/>
          </a:xfrm>
          <a:prstGeom prst="rect">
            <a:avLst/>
          </a:prstGeom>
        </p:spPr>
        <p:txBody>
          <a:bodyPr lIns="0" tIns="0" rIns="0" bIns="0" anchor="ctr" anchorCtr="1">
            <a:normAutofit/>
          </a:bodyPr>
          <a:lstStyle>
            <a:lvl1pPr marL="0" indent="0">
              <a:buNone/>
              <a:defRPr sz="100">
                <a:noFill/>
                <a:latin typeface="UniCredit" panose="02000506040000020004" pitchFamily="2" charset="0"/>
              </a:defRPr>
            </a:lvl1pPr>
          </a:lstStyle>
          <a:p>
            <a:r>
              <a:rPr lang="en-GB" noProof="1"/>
              <a:t>Insert picture</a:t>
            </a:r>
          </a:p>
        </p:txBody>
      </p:sp>
      <p:sp>
        <p:nvSpPr>
          <p:cNvPr id="13" name="LegalEntity"/>
          <p:cNvSpPr>
            <a:spLocks noGrp="1"/>
          </p:cNvSpPr>
          <p:nvPr>
            <p:ph type="body" sz="quarter" idx="14" hasCustomPrompt="1"/>
          </p:nvPr>
        </p:nvSpPr>
        <p:spPr>
          <a:xfrm>
            <a:off x="5943600" y="3128400"/>
            <a:ext cx="2880000" cy="208800"/>
          </a:xfrm>
          <a:prstGeom prst="rect">
            <a:avLst/>
          </a:prstGeom>
        </p:spPr>
        <p:txBody>
          <a:bodyPr lIns="0" tIns="0" rIns="0" bIns="0">
            <a:noAutofit/>
          </a:bodyPr>
          <a:lstStyle>
            <a:lvl1pPr marL="0" indent="0" algn="r">
              <a:buFontTx/>
              <a:buNone/>
              <a:defRPr sz="1200">
                <a:latin typeface="+mn-lt"/>
              </a:defRPr>
            </a:lvl1pPr>
            <a:lvl2pPr marL="356373" indent="0" algn="r">
              <a:buFontTx/>
              <a:buNone/>
              <a:defRPr sz="900"/>
            </a:lvl2pPr>
            <a:lvl3pPr algn="r">
              <a:buFontTx/>
              <a:buNone/>
              <a:defRPr sz="900"/>
            </a:lvl3pPr>
            <a:lvl4pPr marL="1069119" indent="0" algn="r">
              <a:buFontTx/>
              <a:buNone/>
              <a:defRPr sz="900"/>
            </a:lvl4pPr>
            <a:lvl5pPr marL="1501088" indent="0" algn="r">
              <a:buFontTx/>
              <a:buNone/>
              <a:defRPr sz="900"/>
            </a:lvl5pPr>
          </a:lstStyle>
          <a:p>
            <a:pPr lvl="0"/>
            <a:r>
              <a:rPr lang="en-GB" noProof="0" dirty="0"/>
              <a:t>[Insert legal entity - classification level]</a:t>
            </a:r>
          </a:p>
        </p:txBody>
      </p:sp>
      <p:sp>
        <p:nvSpPr>
          <p:cNvPr id="10" name="CityDate"/>
          <p:cNvSpPr>
            <a:spLocks noGrp="1"/>
          </p:cNvSpPr>
          <p:nvPr>
            <p:ph type="body" sz="quarter" idx="18" hasCustomPrompt="1"/>
          </p:nvPr>
        </p:nvSpPr>
        <p:spPr>
          <a:xfrm>
            <a:off x="540000" y="3398400"/>
            <a:ext cx="5040000" cy="208800"/>
          </a:xfrm>
        </p:spPr>
        <p:txBody>
          <a:bodyPr anchor="b">
            <a:normAutofit/>
          </a:bodyPr>
          <a:lstStyle>
            <a:lvl1pPr marL="0" indent="0" fontAlgn="auto">
              <a:spcBef>
                <a:spcPts val="0"/>
              </a:spcBef>
              <a:spcAft>
                <a:spcPts val="0"/>
              </a:spcAft>
              <a:buNone/>
              <a:defRPr sz="1200" b="1">
                <a:latin typeface="+mn-lt"/>
              </a:defRPr>
            </a:lvl1pPr>
          </a:lstStyle>
          <a:p>
            <a:pPr fontAlgn="auto">
              <a:spcBef>
                <a:spcPts val="0"/>
              </a:spcBef>
              <a:spcAft>
                <a:spcPts val="0"/>
              </a:spcAft>
            </a:pPr>
            <a:r>
              <a:rPr lang="en-GB" noProof="0" dirty="0"/>
              <a:t>Insert city and date</a:t>
            </a:r>
          </a:p>
        </p:txBody>
      </p:sp>
      <p:sp>
        <p:nvSpPr>
          <p:cNvPr id="11" name="NameFunction"/>
          <p:cNvSpPr>
            <a:spLocks noGrp="1"/>
          </p:cNvSpPr>
          <p:nvPr>
            <p:ph type="body" sz="quarter" idx="17" hasCustomPrompt="1"/>
          </p:nvPr>
        </p:nvSpPr>
        <p:spPr>
          <a:xfrm>
            <a:off x="539750" y="3103200"/>
            <a:ext cx="5040000" cy="208800"/>
          </a:xfrm>
        </p:spPr>
        <p:txBody>
          <a:bodyPr>
            <a:noAutofit/>
          </a:bodyPr>
          <a:lstStyle>
            <a:lvl1pPr marL="0" indent="0">
              <a:spcBef>
                <a:spcPts val="0"/>
              </a:spcBef>
              <a:buNone/>
              <a:defRPr sz="1400" b="1">
                <a:latin typeface="+mn-lt"/>
              </a:defRPr>
            </a:lvl1pPr>
            <a:lvl2pPr marL="457188" indent="0">
              <a:buNone/>
              <a:defRPr sz="1200" b="1">
                <a:latin typeface="UniCredit" panose="02000506040000020004" pitchFamily="2" charset="0"/>
              </a:defRPr>
            </a:lvl2pPr>
            <a:lvl3pPr marL="914377" indent="0">
              <a:buNone/>
              <a:defRPr sz="1200" b="1">
                <a:latin typeface="UniCredit" panose="02000506040000020004" pitchFamily="2" charset="0"/>
              </a:defRPr>
            </a:lvl3pPr>
            <a:lvl4pPr marL="1371566" indent="0">
              <a:buNone/>
              <a:defRPr sz="1200" b="1">
                <a:latin typeface="UniCredit" panose="02000506040000020004" pitchFamily="2" charset="0"/>
              </a:defRPr>
            </a:lvl4pPr>
            <a:lvl5pPr marL="1828755" indent="0">
              <a:buNone/>
              <a:defRPr sz="1200" b="1">
                <a:latin typeface="UniCredit" panose="02000506040000020004" pitchFamily="2" charset="0"/>
              </a:defRPr>
            </a:lvl5pPr>
          </a:lstStyle>
          <a:p>
            <a:pPr>
              <a:defRPr/>
            </a:pPr>
            <a:r>
              <a:rPr lang="en-GB" noProof="0" dirty="0"/>
              <a:t>Insert name and function</a:t>
            </a:r>
          </a:p>
        </p:txBody>
      </p:sp>
      <p:sp>
        <p:nvSpPr>
          <p:cNvPr id="12" name="Subtitle"/>
          <p:cNvSpPr>
            <a:spLocks noGrp="1"/>
          </p:cNvSpPr>
          <p:nvPr>
            <p:ph type="body" sz="quarter" idx="12" hasCustomPrompt="1"/>
          </p:nvPr>
        </p:nvSpPr>
        <p:spPr>
          <a:xfrm>
            <a:off x="539749" y="2116800"/>
            <a:ext cx="8283600" cy="626400"/>
          </a:xfrm>
          <a:prstGeom prst="rect">
            <a:avLst/>
          </a:prstGeom>
        </p:spPr>
        <p:txBody>
          <a:bodyPr lIns="0" tIns="0" rIns="0" bIns="0" anchor="b" anchorCtr="0">
            <a:normAutofit/>
          </a:bodyPr>
          <a:lstStyle>
            <a:lvl1pPr marL="0" indent="0">
              <a:lnSpc>
                <a:spcPts val="2600"/>
              </a:lnSpc>
              <a:spcBef>
                <a:spcPts val="0"/>
              </a:spcBef>
              <a:buNone/>
              <a:defRPr sz="2600"/>
            </a:lvl1pPr>
          </a:lstStyle>
          <a:p>
            <a:pPr lvl="0"/>
            <a:r>
              <a:rPr lang="en-GB" noProof="0" dirty="0"/>
              <a:t>Insert subtitle</a:t>
            </a:r>
          </a:p>
        </p:txBody>
      </p:sp>
      <p:sp>
        <p:nvSpPr>
          <p:cNvPr id="9" name="Title"/>
          <p:cNvSpPr>
            <a:spLocks noGrp="1"/>
          </p:cNvSpPr>
          <p:nvPr>
            <p:ph type="title" hasCustomPrompt="1"/>
          </p:nvPr>
        </p:nvSpPr>
        <p:spPr>
          <a:xfrm>
            <a:off x="540000" y="669600"/>
            <a:ext cx="5760000" cy="727200"/>
          </a:xfrm>
          <a:prstGeom prst="rect">
            <a:avLst/>
          </a:prstGeom>
        </p:spPr>
        <p:txBody>
          <a:bodyPr lIns="0" tIns="0" rIns="0" bIns="0" anchor="t" anchorCtr="0">
            <a:noAutofit/>
          </a:bodyPr>
          <a:lstStyle>
            <a:lvl1pPr algn="l">
              <a:lnSpc>
                <a:spcPts val="3400"/>
              </a:lnSpc>
              <a:defRPr sz="3600" b="1"/>
            </a:lvl1pPr>
          </a:lstStyle>
          <a:p>
            <a:r>
              <a:rPr lang="en-GB" noProof="0" dirty="0"/>
              <a:t>Insert title</a:t>
            </a:r>
          </a:p>
        </p:txBody>
      </p:sp>
      <p:sp>
        <p:nvSpPr>
          <p:cNvPr id="4" name="CompositeLogo"/>
          <p:cNvSpPr>
            <a:spLocks noGrp="1" noChangeAspect="1"/>
          </p:cNvSpPr>
          <p:nvPr>
            <p:ph type="body" sz="quarter" idx="16"/>
          </p:nvPr>
        </p:nvSpPr>
        <p:spPr bwMode="gray">
          <a:xfrm>
            <a:off x="6584400" y="324000"/>
            <a:ext cx="2235600" cy="1164827"/>
          </a:xfrm>
          <a:blipFill>
            <a:blip r:embed="rId2"/>
            <a:stretch>
              <a:fillRect/>
            </a:stretch>
          </a:blipFill>
        </p:spPr>
        <p:txBody>
          <a:bodyPr>
            <a:normAutofit/>
          </a:bodyPr>
          <a:lstStyle>
            <a:lvl1pPr marL="0" indent="0">
              <a:buNone/>
              <a:defRPr sz="100">
                <a:noFill/>
                <a:latin typeface="UniCredit" panose="02000506040000020004" pitchFamily="2" charset="0"/>
              </a:defRPr>
            </a:lvl1pPr>
          </a:lstStyle>
          <a:p>
            <a:pPr lvl="0"/>
            <a:r>
              <a:rPr lang="en-US" noProof="1"/>
              <a:t>Click to edit Master text styles</a:t>
            </a:r>
          </a:p>
        </p:txBody>
      </p:sp>
      <p:pic>
        <p:nvPicPr>
          <p:cNvPr id="3" name="Logo">
            <a:extLst>
              <a:ext uri="{FF2B5EF4-FFF2-40B4-BE49-F238E27FC236}">
                <a16:creationId xmlns:a16="http://schemas.microsoft.com/office/drawing/2014/main" id="{A6C0EA4B-4F64-4207-BA8D-3D470CD237A5}"/>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90974" y="4414901"/>
            <a:ext cx="4383033" cy="402337"/>
          </a:xfrm>
          <a:prstGeom prst="rect">
            <a:avLst/>
          </a:prstGeom>
        </p:spPr>
      </p:pic>
    </p:spTree>
    <p:extLst>
      <p:ext uri="{BB962C8B-B14F-4D97-AF65-F5344CB8AC3E}">
        <p14:creationId xmlns:p14="http://schemas.microsoft.com/office/powerpoint/2010/main" val="234495787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Internal Slide - Picture and Text">
    <p:spTree>
      <p:nvGrpSpPr>
        <p:cNvPr id="1" name=""/>
        <p:cNvGrpSpPr/>
        <p:nvPr/>
      </p:nvGrpSpPr>
      <p:grpSpPr>
        <a:xfrm>
          <a:off x="0" y="0"/>
          <a:ext cx="0" cy="0"/>
          <a:chOff x="0" y="0"/>
          <a:chExt cx="0" cy="0"/>
        </a:xfrm>
      </p:grpSpPr>
      <p:sp>
        <p:nvSpPr>
          <p:cNvPr id="8" name="Picture"/>
          <p:cNvSpPr>
            <a:spLocks noGrp="1"/>
          </p:cNvSpPr>
          <p:nvPr>
            <p:ph type="pic" sz="quarter" idx="15"/>
          </p:nvPr>
        </p:nvSpPr>
        <p:spPr>
          <a:xfrm>
            <a:off x="0" y="730800"/>
            <a:ext cx="5792400" cy="4424400"/>
          </a:xfrm>
        </p:spPr>
        <p:txBody>
          <a:bodyPr>
            <a:normAutofit/>
          </a:bodyPr>
          <a:lstStyle>
            <a:lvl1pPr marL="0" indent="0">
              <a:buFontTx/>
              <a:buNone/>
              <a:defRPr sz="100">
                <a:noFill/>
                <a:latin typeface="UniCredit" panose="02000506040000020004" pitchFamily="2" charset="0"/>
              </a:defRPr>
            </a:lvl1pPr>
          </a:lstStyle>
          <a:p>
            <a:r>
              <a:rPr lang="en-US" noProof="1"/>
              <a:t>Click icon to add picture</a:t>
            </a:r>
            <a:endParaRPr lang="en-GB" noProof="1"/>
          </a:p>
        </p:txBody>
      </p:sp>
      <p:sp>
        <p:nvSpPr>
          <p:cNvPr id="7" name="LegalEntity"/>
          <p:cNvSpPr>
            <a:spLocks noGrp="1"/>
          </p:cNvSpPr>
          <p:nvPr>
            <p:ph type="body" sz="quarter" idx="12" hasCustomPrompt="1"/>
          </p:nvPr>
        </p:nvSpPr>
        <p:spPr>
          <a:xfrm>
            <a:off x="3312000" y="4964400"/>
            <a:ext cx="2520000" cy="144000"/>
          </a:xfrm>
        </p:spPr>
        <p:txBody>
          <a:bodyPr>
            <a:noAutofit/>
          </a:bodyPr>
          <a:lstStyle>
            <a:lvl1pPr marL="0" marR="0" indent="0" algn="ctr" defTabSz="342875" rtl="0" eaLnBrk="1" fontAlgn="auto" latinLnBrk="0" hangingPunct="1">
              <a:lnSpc>
                <a:spcPct val="100000"/>
              </a:lnSpc>
              <a:spcBef>
                <a:spcPct val="20000"/>
              </a:spcBef>
              <a:spcAft>
                <a:spcPts val="0"/>
              </a:spcAft>
              <a:buClr>
                <a:srgbClr val="E1061C"/>
              </a:buClr>
              <a:buSzTx/>
              <a:buFontTx/>
              <a:buNone/>
              <a:tabLst/>
              <a:defRPr sz="1000">
                <a:latin typeface="+mn-lt"/>
              </a:defRPr>
            </a:lvl1pPr>
            <a:lvl2pPr marL="342875" indent="0" algn="ctr">
              <a:buFontTx/>
              <a:buNone/>
              <a:defRPr sz="675"/>
            </a:lvl2pPr>
            <a:lvl3pPr marL="685749" indent="0" algn="ctr">
              <a:buFontTx/>
              <a:buNone/>
              <a:defRPr sz="675"/>
            </a:lvl3pPr>
            <a:lvl4pPr marL="1028624" indent="0" algn="ctr">
              <a:buFontTx/>
              <a:buNone/>
              <a:defRPr sz="675"/>
            </a:lvl4pPr>
            <a:lvl5pPr marL="1371498" indent="0" algn="ctr">
              <a:buFontTx/>
              <a:buNone/>
              <a:defRPr sz="675"/>
            </a:lvl5pPr>
          </a:lstStyle>
          <a:p>
            <a:pPr marL="0" marR="0" lvl="0" indent="0" algn="ctr" defTabSz="342875" rtl="0" eaLnBrk="1" fontAlgn="auto" latinLnBrk="0" hangingPunct="1">
              <a:lnSpc>
                <a:spcPct val="100000"/>
              </a:lnSpc>
              <a:spcBef>
                <a:spcPct val="20000"/>
              </a:spcBef>
              <a:spcAft>
                <a:spcPts val="0"/>
              </a:spcAft>
              <a:buClr>
                <a:srgbClr val="E1061C"/>
              </a:buClr>
              <a:buSzTx/>
              <a:buFontTx/>
              <a:buNone/>
              <a:tabLst/>
              <a:defRPr/>
            </a:pPr>
            <a:r>
              <a:rPr lang="en-GB" noProof="0" dirty="0"/>
              <a:t>[Insert legal entity - classification level]</a:t>
            </a:r>
          </a:p>
        </p:txBody>
      </p:sp>
      <p:sp>
        <p:nvSpPr>
          <p:cNvPr id="4" name="SlideNumber"/>
          <p:cNvSpPr>
            <a:spLocks noGrp="1"/>
          </p:cNvSpPr>
          <p:nvPr>
            <p:ph type="sldNum" sz="quarter" idx="11"/>
          </p:nvPr>
        </p:nvSpPr>
        <p:spPr/>
        <p:txBody>
          <a:bodyPr/>
          <a:lstStyle/>
          <a:p>
            <a:fld id="{9E8169F0-646E-455B-AF5A-6D6C02EAEAF6}" type="slidenum">
              <a:rPr lang="en-GB" noProof="1" dirty="0" smtClean="0"/>
              <a:t>‹#›</a:t>
            </a:fld>
            <a:endParaRPr lang="en-GB" noProof="1"/>
          </a:p>
        </p:txBody>
      </p:sp>
      <p:sp>
        <p:nvSpPr>
          <p:cNvPr id="5" name="Text"/>
          <p:cNvSpPr>
            <a:spLocks noGrp="1"/>
          </p:cNvSpPr>
          <p:nvPr>
            <p:ph sz="quarter" idx="16" hasCustomPrompt="1"/>
          </p:nvPr>
        </p:nvSpPr>
        <p:spPr>
          <a:xfrm>
            <a:off x="5983200" y="946800"/>
            <a:ext cx="2970000" cy="3528000"/>
          </a:xfrm>
        </p:spPr>
        <p:txBody>
          <a:bodyPr anchor="ctr"/>
          <a:lstStyle>
            <a:lvl1pPr marL="132151" marR="0" indent="-132151" algn="l" defTabSz="342875" rtl="0" eaLnBrk="1" fontAlgn="auto" latinLnBrk="0" hangingPunct="1">
              <a:lnSpc>
                <a:spcPct val="100000"/>
              </a:lnSpc>
              <a:spcBef>
                <a:spcPct val="20000"/>
              </a:spcBef>
              <a:spcAft>
                <a:spcPts val="0"/>
              </a:spcAft>
              <a:buClr>
                <a:srgbClr val="E1061C"/>
              </a:buClr>
              <a:buSzTx/>
              <a:buFont typeface="Arial"/>
              <a:buChar char="•"/>
              <a:tabLst/>
              <a:defRPr/>
            </a:lvl1pPr>
            <a:lvl2pPr marL="470261" marR="0" indent="-127388" algn="l" defTabSz="342875" rtl="0" eaLnBrk="1" fontAlgn="auto" latinLnBrk="0" hangingPunct="1">
              <a:lnSpc>
                <a:spcPct val="100000"/>
              </a:lnSpc>
              <a:spcBef>
                <a:spcPct val="20000"/>
              </a:spcBef>
              <a:spcAft>
                <a:spcPts val="0"/>
              </a:spcAft>
              <a:buClr>
                <a:srgbClr val="E1061C"/>
              </a:buClr>
              <a:buSzTx/>
              <a:buFont typeface="Arial"/>
              <a:buChar char="•"/>
              <a:tabLst/>
              <a:defRPr/>
            </a:lvl2pPr>
            <a:lvl3pPr marL="809565" marR="0" indent="-123816" algn="l" defTabSz="342875" rtl="0" eaLnBrk="1" fontAlgn="auto" latinLnBrk="0" hangingPunct="1">
              <a:lnSpc>
                <a:spcPct val="100000"/>
              </a:lnSpc>
              <a:spcBef>
                <a:spcPct val="20000"/>
              </a:spcBef>
              <a:spcAft>
                <a:spcPts val="0"/>
              </a:spcAft>
              <a:buClr>
                <a:srgbClr val="E1061C"/>
              </a:buClr>
              <a:buSzTx/>
              <a:buFont typeface="Arial"/>
              <a:buChar char="•"/>
              <a:tabLst/>
              <a:defRPr/>
            </a:lvl3pPr>
            <a:lvl4pPr marL="1141724" marR="0" indent="-113102" algn="l" defTabSz="342875" rtl="0" eaLnBrk="1" fontAlgn="auto" latinLnBrk="0" hangingPunct="1">
              <a:lnSpc>
                <a:spcPct val="100000"/>
              </a:lnSpc>
              <a:spcBef>
                <a:spcPct val="20000"/>
              </a:spcBef>
              <a:spcAft>
                <a:spcPts val="0"/>
              </a:spcAft>
              <a:buClr>
                <a:srgbClr val="E1061C"/>
              </a:buClr>
              <a:buSzTx/>
              <a:buFont typeface="Arial"/>
              <a:buChar char="•"/>
              <a:tabLst/>
              <a:defRPr/>
            </a:lvl4pPr>
            <a:lvl5pPr marL="1479836" marR="0" indent="-108338" algn="l" defTabSz="342875" rtl="0" eaLnBrk="1" fontAlgn="auto" latinLnBrk="0" hangingPunct="1">
              <a:lnSpc>
                <a:spcPct val="100000"/>
              </a:lnSpc>
              <a:spcBef>
                <a:spcPct val="20000"/>
              </a:spcBef>
              <a:spcAft>
                <a:spcPts val="0"/>
              </a:spcAft>
              <a:buClr>
                <a:srgbClr val="E1061C"/>
              </a:buClr>
              <a:buSzTx/>
              <a:buFont typeface="Arial"/>
              <a:buChar char="•"/>
              <a:tabLst/>
              <a:defRPr/>
            </a:lvl5pPr>
          </a:lstStyle>
          <a:p>
            <a:pPr lvl="0"/>
            <a:r>
              <a:rPr lang="en-GB" noProof="0" dirty="0"/>
              <a:t>Insert text</a:t>
            </a:r>
          </a:p>
          <a:p>
            <a:pPr lvl="1"/>
            <a:r>
              <a:rPr lang="en-GB" noProof="0" dirty="0"/>
              <a:t>2° level</a:t>
            </a:r>
          </a:p>
          <a:p>
            <a:pPr lvl="2"/>
            <a:r>
              <a:rPr lang="en-GB" noProof="0" dirty="0"/>
              <a:t>3° level</a:t>
            </a:r>
          </a:p>
          <a:p>
            <a:pPr lvl="3"/>
            <a:r>
              <a:rPr lang="en-GB" noProof="0" dirty="0"/>
              <a:t>4° level</a:t>
            </a:r>
          </a:p>
          <a:p>
            <a:pPr lvl="4"/>
            <a:r>
              <a:rPr lang="en-GB" noProof="0" dirty="0"/>
              <a:t>5° level</a:t>
            </a:r>
          </a:p>
        </p:txBody>
      </p:sp>
      <p:sp>
        <p:nvSpPr>
          <p:cNvPr id="2" name="Title"/>
          <p:cNvSpPr>
            <a:spLocks noGrp="1"/>
          </p:cNvSpPr>
          <p:nvPr>
            <p:ph type="title" hasCustomPrompt="1"/>
          </p:nvPr>
        </p:nvSpPr>
        <p:spPr/>
        <p:txBody>
          <a:bodyPr vert="horz" lIns="0" tIns="0" rIns="0" bIns="0" rtlCol="0" anchor="ctr">
            <a:noAutofit/>
          </a:bodyPr>
          <a:lstStyle>
            <a:lvl1pPr>
              <a:defRPr lang="en-GB" noProof="0" dirty="0"/>
            </a:lvl1pPr>
          </a:lstStyle>
          <a:p>
            <a:pPr lvl="0">
              <a:lnSpc>
                <a:spcPts val="2400"/>
              </a:lnSpc>
            </a:pPr>
            <a:r>
              <a:rPr lang="en-GB" noProof="0" dirty="0"/>
              <a:t>Insert title</a:t>
            </a:r>
          </a:p>
        </p:txBody>
      </p:sp>
    </p:spTree>
    <p:extLst>
      <p:ext uri="{BB962C8B-B14F-4D97-AF65-F5344CB8AC3E}">
        <p14:creationId xmlns:p14="http://schemas.microsoft.com/office/powerpoint/2010/main" val="421029248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Internal Slide - Picture only 1">
    <p:spTree>
      <p:nvGrpSpPr>
        <p:cNvPr id="1" name=""/>
        <p:cNvGrpSpPr/>
        <p:nvPr/>
      </p:nvGrpSpPr>
      <p:grpSpPr>
        <a:xfrm>
          <a:off x="0" y="0"/>
          <a:ext cx="0" cy="0"/>
          <a:chOff x="0" y="0"/>
          <a:chExt cx="0" cy="0"/>
        </a:xfrm>
      </p:grpSpPr>
      <p:sp>
        <p:nvSpPr>
          <p:cNvPr id="8" name="Picture"/>
          <p:cNvSpPr>
            <a:spLocks noGrp="1"/>
          </p:cNvSpPr>
          <p:nvPr>
            <p:ph type="pic" sz="quarter" idx="13" hasCustomPrompt="1"/>
          </p:nvPr>
        </p:nvSpPr>
        <p:spPr>
          <a:xfrm>
            <a:off x="0" y="730800"/>
            <a:ext cx="9144000" cy="4424400"/>
          </a:xfrm>
          <a:prstGeom prst="rect">
            <a:avLst/>
          </a:prstGeom>
        </p:spPr>
        <p:txBody>
          <a:bodyPr lIns="0" tIns="0" rIns="0" bIns="0" anchor="ctr" anchorCtr="1">
            <a:normAutofit/>
          </a:bodyPr>
          <a:lstStyle>
            <a:lvl1pPr marL="0" indent="0">
              <a:buNone/>
              <a:defRPr sz="100">
                <a:noFill/>
                <a:latin typeface="UniCredit" panose="02000506040000020004" pitchFamily="2" charset="0"/>
              </a:defRPr>
            </a:lvl1pPr>
          </a:lstStyle>
          <a:p>
            <a:r>
              <a:rPr lang="en-GB" noProof="1"/>
              <a:t>Insert picture12,24</a:t>
            </a:r>
          </a:p>
          <a:p>
            <a:endParaRPr lang="en-GB" noProof="1"/>
          </a:p>
        </p:txBody>
      </p:sp>
      <p:sp>
        <p:nvSpPr>
          <p:cNvPr id="5" name="UCOne"/>
          <p:cNvSpPr>
            <a:spLocks noGrp="1"/>
          </p:cNvSpPr>
          <p:nvPr>
            <p:ph type="body" sz="quarter" idx="15"/>
          </p:nvPr>
        </p:nvSpPr>
        <p:spPr>
          <a:xfrm>
            <a:off x="8593200" y="4604400"/>
            <a:ext cx="360000" cy="360000"/>
          </a:xfrm>
          <a:blipFill>
            <a:blip r:embed="rId2"/>
            <a:stretch>
              <a:fillRect/>
            </a:stretch>
          </a:blipFill>
        </p:spPr>
        <p:txBody>
          <a:bodyPr>
            <a:normAutofit/>
          </a:bodyPr>
          <a:lstStyle>
            <a:lvl1pPr marL="0" indent="0">
              <a:buNone/>
              <a:defRPr sz="100">
                <a:noFill/>
                <a:latin typeface="UniCredit" panose="02000506040000020004" pitchFamily="2" charset="0"/>
              </a:defRPr>
            </a:lvl1pPr>
          </a:lstStyle>
          <a:p>
            <a:pPr lvl="0"/>
            <a:r>
              <a:rPr lang="en-US" noProof="1"/>
              <a:t>Click to edit Master text styles</a:t>
            </a:r>
          </a:p>
        </p:txBody>
      </p:sp>
      <p:sp>
        <p:nvSpPr>
          <p:cNvPr id="4" name="LegalEntity"/>
          <p:cNvSpPr>
            <a:spLocks noGrp="1"/>
          </p:cNvSpPr>
          <p:nvPr>
            <p:ph type="body" sz="quarter" idx="14" hasCustomPrompt="1"/>
          </p:nvPr>
        </p:nvSpPr>
        <p:spPr>
          <a:xfrm>
            <a:off x="3312000" y="4964400"/>
            <a:ext cx="2520000" cy="144000"/>
          </a:xfrm>
        </p:spPr>
        <p:txBody>
          <a:bodyPr>
            <a:noAutofit/>
          </a:bodyPr>
          <a:lstStyle>
            <a:lvl1pPr marL="0" marR="0" indent="0" algn="ctr" defTabSz="342875" rtl="0" eaLnBrk="1" fontAlgn="auto" latinLnBrk="0" hangingPunct="1">
              <a:lnSpc>
                <a:spcPct val="100000"/>
              </a:lnSpc>
              <a:spcBef>
                <a:spcPct val="20000"/>
              </a:spcBef>
              <a:spcAft>
                <a:spcPts val="0"/>
              </a:spcAft>
              <a:buClr>
                <a:srgbClr val="E1061C"/>
              </a:buClr>
              <a:buSzTx/>
              <a:buFontTx/>
              <a:buNone/>
              <a:tabLst/>
              <a:defRPr sz="1000">
                <a:latin typeface="+mn-lt"/>
              </a:defRPr>
            </a:lvl1pPr>
            <a:lvl2pPr marL="342875" indent="0" algn="ctr">
              <a:buFontTx/>
              <a:buNone/>
              <a:defRPr sz="675"/>
            </a:lvl2pPr>
            <a:lvl3pPr marL="685749" indent="0" algn="ctr">
              <a:buFontTx/>
              <a:buNone/>
              <a:defRPr sz="675"/>
            </a:lvl3pPr>
            <a:lvl4pPr marL="1028624" indent="0" algn="ctr">
              <a:buFontTx/>
              <a:buNone/>
              <a:defRPr sz="675"/>
            </a:lvl4pPr>
            <a:lvl5pPr marL="1371498" indent="0" algn="ctr">
              <a:buFontTx/>
              <a:buNone/>
              <a:defRPr sz="675"/>
            </a:lvl5pPr>
          </a:lstStyle>
          <a:p>
            <a:pPr marL="0" marR="0" lvl="0" indent="0" algn="ctr" defTabSz="342875" rtl="0" eaLnBrk="1" fontAlgn="auto" latinLnBrk="0" hangingPunct="1">
              <a:lnSpc>
                <a:spcPct val="100000"/>
              </a:lnSpc>
              <a:spcBef>
                <a:spcPct val="20000"/>
              </a:spcBef>
              <a:spcAft>
                <a:spcPts val="0"/>
              </a:spcAft>
              <a:buClr>
                <a:srgbClr val="E1061C"/>
              </a:buClr>
              <a:buSzTx/>
              <a:buFontTx/>
              <a:buNone/>
              <a:tabLst/>
              <a:defRPr/>
            </a:pPr>
            <a:r>
              <a:rPr lang="en-GB" noProof="0" dirty="0"/>
              <a:t>[Insert legal entity - classification level]</a:t>
            </a:r>
          </a:p>
        </p:txBody>
      </p:sp>
      <p:sp>
        <p:nvSpPr>
          <p:cNvPr id="7" name="SlideNumber"/>
          <p:cNvSpPr>
            <a:spLocks noGrp="1"/>
          </p:cNvSpPr>
          <p:nvPr>
            <p:ph type="sldNum" sz="quarter" idx="11"/>
          </p:nvPr>
        </p:nvSpPr>
        <p:spPr>
          <a:xfrm>
            <a:off x="270000" y="4604400"/>
            <a:ext cx="270000" cy="360000"/>
          </a:xfrm>
        </p:spPr>
        <p:txBody>
          <a:bodyPr/>
          <a:lstStyle/>
          <a:p>
            <a:fld id="{9E8169F0-646E-455B-AF5A-6D6C02EAEAF6}" type="slidenum">
              <a:rPr lang="en-GB" noProof="1" dirty="0" smtClean="0"/>
              <a:t>‹#›</a:t>
            </a:fld>
            <a:endParaRPr lang="en-GB" noProof="1"/>
          </a:p>
        </p:txBody>
      </p:sp>
      <p:sp>
        <p:nvSpPr>
          <p:cNvPr id="9" name="Headline"/>
          <p:cNvSpPr>
            <a:spLocks noChangeShapeType="1"/>
          </p:cNvSpPr>
          <p:nvPr/>
        </p:nvSpPr>
        <p:spPr bwMode="auto">
          <a:xfrm>
            <a:off x="0" y="720000"/>
            <a:ext cx="9144000" cy="0"/>
          </a:xfrm>
          <a:prstGeom prst="line">
            <a:avLst/>
          </a:prstGeom>
          <a:noFill/>
          <a:ln w="19050">
            <a:solidFill>
              <a:srgbClr val="00AFD0"/>
            </a:solidFill>
            <a:round/>
            <a:headEnd/>
            <a:tailEnd type="none" w="med" len="med"/>
          </a:ln>
          <a:extLst>
            <a:ext uri="{909E8E84-426E-40DD-AFC4-6F175D3DCCD1}">
              <a14:hiddenFill xmlns:a14="http://schemas.microsoft.com/office/drawing/2010/main">
                <a:noFill/>
              </a14:hiddenFill>
            </a:ext>
          </a:extLst>
        </p:spPr>
        <p:txBody>
          <a:bodyPr lIns="0" tIns="0" rIns="0" bIns="0" anchor="ctr">
            <a:spAutoFit/>
          </a:bodyPr>
          <a:lstStyle/>
          <a:p>
            <a:endParaRPr lang="en-GB" sz="100" noProof="1">
              <a:latin typeface="UniCredit" panose="02000506040000020004" pitchFamily="2" charset="0"/>
            </a:endParaRPr>
          </a:p>
        </p:txBody>
      </p:sp>
      <p:sp>
        <p:nvSpPr>
          <p:cNvPr id="2" name="Title"/>
          <p:cNvSpPr>
            <a:spLocks noGrp="1"/>
          </p:cNvSpPr>
          <p:nvPr>
            <p:ph type="title" hasCustomPrompt="1"/>
          </p:nvPr>
        </p:nvSpPr>
        <p:spPr>
          <a:xfrm>
            <a:off x="270000" y="0"/>
            <a:ext cx="8679600" cy="702000"/>
          </a:xfrm>
        </p:spPr>
        <p:txBody>
          <a:bodyPr vert="horz" lIns="0" tIns="0" rIns="0" bIns="0" rtlCol="0" anchor="ctr">
            <a:noAutofit/>
          </a:bodyPr>
          <a:lstStyle>
            <a:lvl1pPr>
              <a:defRPr lang="en-GB" noProof="0" dirty="0"/>
            </a:lvl1pPr>
          </a:lstStyle>
          <a:p>
            <a:pPr lvl="0">
              <a:lnSpc>
                <a:spcPts val="2400"/>
              </a:lnSpc>
            </a:pPr>
            <a:r>
              <a:rPr lang="en-GB" noProof="0" dirty="0"/>
              <a:t>Insert title</a:t>
            </a:r>
          </a:p>
        </p:txBody>
      </p:sp>
    </p:spTree>
    <p:extLst>
      <p:ext uri="{BB962C8B-B14F-4D97-AF65-F5344CB8AC3E}">
        <p14:creationId xmlns:p14="http://schemas.microsoft.com/office/powerpoint/2010/main" val="295553111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Internal Slide - Picture only 2">
    <p:spTree>
      <p:nvGrpSpPr>
        <p:cNvPr id="1" name=""/>
        <p:cNvGrpSpPr/>
        <p:nvPr/>
      </p:nvGrpSpPr>
      <p:grpSpPr>
        <a:xfrm>
          <a:off x="0" y="0"/>
          <a:ext cx="0" cy="0"/>
          <a:chOff x="0" y="0"/>
          <a:chExt cx="0" cy="0"/>
        </a:xfrm>
      </p:grpSpPr>
      <p:sp>
        <p:nvSpPr>
          <p:cNvPr id="6" name="Picture"/>
          <p:cNvSpPr>
            <a:spLocks noGrp="1"/>
          </p:cNvSpPr>
          <p:nvPr>
            <p:ph type="pic" sz="quarter" idx="13" hasCustomPrompt="1"/>
          </p:nvPr>
        </p:nvSpPr>
        <p:spPr>
          <a:xfrm>
            <a:off x="0" y="0"/>
            <a:ext cx="9144000" cy="5143500"/>
          </a:xfrm>
          <a:prstGeom prst="rect">
            <a:avLst/>
          </a:prstGeom>
        </p:spPr>
        <p:txBody>
          <a:bodyPr lIns="0" tIns="0" rIns="0" bIns="0" anchor="ctr" anchorCtr="1">
            <a:normAutofit/>
          </a:bodyPr>
          <a:lstStyle>
            <a:lvl1pPr marL="0" indent="0">
              <a:buNone/>
              <a:defRPr sz="100">
                <a:noFill/>
                <a:latin typeface="UniCredit" panose="02000506040000020004" pitchFamily="2" charset="0"/>
              </a:defRPr>
            </a:lvl1pPr>
          </a:lstStyle>
          <a:p>
            <a:r>
              <a:rPr lang="en-GB" noProof="1"/>
              <a:t>Insert picture</a:t>
            </a:r>
          </a:p>
        </p:txBody>
      </p:sp>
      <p:sp>
        <p:nvSpPr>
          <p:cNvPr id="5" name="UCOne"/>
          <p:cNvSpPr>
            <a:spLocks noGrp="1"/>
          </p:cNvSpPr>
          <p:nvPr>
            <p:ph type="body" sz="quarter" idx="15"/>
          </p:nvPr>
        </p:nvSpPr>
        <p:spPr>
          <a:xfrm>
            <a:off x="8593200" y="4604400"/>
            <a:ext cx="360000" cy="360000"/>
          </a:xfrm>
          <a:blipFill>
            <a:blip r:embed="rId2"/>
            <a:stretch>
              <a:fillRect/>
            </a:stretch>
          </a:blipFill>
        </p:spPr>
        <p:txBody>
          <a:bodyPr>
            <a:normAutofit/>
          </a:bodyPr>
          <a:lstStyle>
            <a:lvl1pPr marL="0" indent="0">
              <a:buNone/>
              <a:defRPr sz="100">
                <a:noFill/>
                <a:latin typeface="UniCredit" panose="02000506040000020004" pitchFamily="2" charset="0"/>
              </a:defRPr>
            </a:lvl1pPr>
          </a:lstStyle>
          <a:p>
            <a:pPr lvl="0"/>
            <a:r>
              <a:rPr lang="en-US" noProof="1"/>
              <a:t>Click to edit Master text styles</a:t>
            </a:r>
          </a:p>
        </p:txBody>
      </p:sp>
      <p:sp>
        <p:nvSpPr>
          <p:cNvPr id="4" name="LegalEntity"/>
          <p:cNvSpPr>
            <a:spLocks noGrp="1"/>
          </p:cNvSpPr>
          <p:nvPr>
            <p:ph type="body" sz="quarter" idx="14" hasCustomPrompt="1"/>
          </p:nvPr>
        </p:nvSpPr>
        <p:spPr>
          <a:xfrm>
            <a:off x="3312000" y="4964400"/>
            <a:ext cx="2520000" cy="144000"/>
          </a:xfrm>
        </p:spPr>
        <p:txBody>
          <a:bodyPr>
            <a:noAutofit/>
          </a:bodyPr>
          <a:lstStyle>
            <a:lvl1pPr marL="0" marR="0" indent="0" algn="ctr" defTabSz="342875" rtl="0" eaLnBrk="1" fontAlgn="auto" latinLnBrk="0" hangingPunct="1">
              <a:lnSpc>
                <a:spcPct val="100000"/>
              </a:lnSpc>
              <a:spcBef>
                <a:spcPct val="20000"/>
              </a:spcBef>
              <a:spcAft>
                <a:spcPts val="0"/>
              </a:spcAft>
              <a:buClr>
                <a:srgbClr val="E1061C"/>
              </a:buClr>
              <a:buSzTx/>
              <a:buFontTx/>
              <a:buNone/>
              <a:tabLst/>
              <a:defRPr sz="1000">
                <a:latin typeface="+mn-lt"/>
              </a:defRPr>
            </a:lvl1pPr>
            <a:lvl2pPr marL="342875" indent="0" algn="ctr">
              <a:buFontTx/>
              <a:buNone/>
              <a:defRPr sz="675"/>
            </a:lvl2pPr>
            <a:lvl3pPr marL="685749" indent="0" algn="ctr">
              <a:buFontTx/>
              <a:buNone/>
              <a:defRPr sz="675"/>
            </a:lvl3pPr>
            <a:lvl4pPr marL="1028624" indent="0" algn="ctr">
              <a:buFontTx/>
              <a:buNone/>
              <a:defRPr sz="675"/>
            </a:lvl4pPr>
            <a:lvl5pPr marL="1371498" indent="0" algn="ctr">
              <a:buFontTx/>
              <a:buNone/>
              <a:defRPr sz="675"/>
            </a:lvl5pPr>
          </a:lstStyle>
          <a:p>
            <a:pPr marL="0" marR="0" lvl="0" indent="0" algn="ctr" defTabSz="342875" rtl="0" eaLnBrk="1" fontAlgn="auto" latinLnBrk="0" hangingPunct="1">
              <a:lnSpc>
                <a:spcPct val="100000"/>
              </a:lnSpc>
              <a:spcBef>
                <a:spcPct val="20000"/>
              </a:spcBef>
              <a:spcAft>
                <a:spcPts val="0"/>
              </a:spcAft>
              <a:buClr>
                <a:srgbClr val="E1061C"/>
              </a:buClr>
              <a:buSzTx/>
              <a:buFontTx/>
              <a:buNone/>
              <a:tabLst/>
              <a:defRPr/>
            </a:pPr>
            <a:r>
              <a:rPr lang="en-GB" noProof="0" dirty="0"/>
              <a:t>[Insert legal entity - classification level]</a:t>
            </a:r>
          </a:p>
        </p:txBody>
      </p:sp>
      <p:sp>
        <p:nvSpPr>
          <p:cNvPr id="8" name="SlideNumber"/>
          <p:cNvSpPr>
            <a:spLocks noGrp="1"/>
          </p:cNvSpPr>
          <p:nvPr>
            <p:ph type="sldNum" sz="quarter" idx="11"/>
          </p:nvPr>
        </p:nvSpPr>
        <p:spPr>
          <a:xfrm>
            <a:off x="270000" y="4604400"/>
            <a:ext cx="270000" cy="360000"/>
          </a:xfrm>
        </p:spPr>
        <p:txBody>
          <a:bodyPr/>
          <a:lstStyle/>
          <a:p>
            <a:fld id="{9E8169F0-646E-455B-AF5A-6D6C02EAEAF6}" type="slidenum">
              <a:rPr lang="en-GB" noProof="1" dirty="0" smtClean="0"/>
              <a:t>‹#›</a:t>
            </a:fld>
            <a:endParaRPr lang="en-GB" noProof="1"/>
          </a:p>
        </p:txBody>
      </p:sp>
      <p:sp>
        <p:nvSpPr>
          <p:cNvPr id="2" name="Title"/>
          <p:cNvSpPr>
            <a:spLocks noGrp="1"/>
          </p:cNvSpPr>
          <p:nvPr>
            <p:ph type="title" hasCustomPrompt="1"/>
          </p:nvPr>
        </p:nvSpPr>
        <p:spPr>
          <a:xfrm>
            <a:off x="1080000" y="622800"/>
            <a:ext cx="3895200" cy="1101600"/>
          </a:xfrm>
        </p:spPr>
        <p:txBody>
          <a:bodyPr anchor="t" anchorCtr="0"/>
          <a:lstStyle>
            <a:lvl1pPr>
              <a:lnSpc>
                <a:spcPts val="3600"/>
              </a:lnSpc>
              <a:defRPr sz="3600"/>
            </a:lvl1pPr>
          </a:lstStyle>
          <a:p>
            <a:r>
              <a:rPr lang="en-GB" noProof="0" dirty="0"/>
              <a:t>Insert title</a:t>
            </a:r>
          </a:p>
        </p:txBody>
      </p:sp>
    </p:spTree>
    <p:extLst>
      <p:ext uri="{BB962C8B-B14F-4D97-AF65-F5344CB8AC3E}">
        <p14:creationId xmlns:p14="http://schemas.microsoft.com/office/powerpoint/2010/main" val="175470303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Internal Slide - Picture only 3">
    <p:spTree>
      <p:nvGrpSpPr>
        <p:cNvPr id="1" name=""/>
        <p:cNvGrpSpPr/>
        <p:nvPr/>
      </p:nvGrpSpPr>
      <p:grpSpPr>
        <a:xfrm>
          <a:off x="0" y="0"/>
          <a:ext cx="0" cy="0"/>
          <a:chOff x="0" y="0"/>
          <a:chExt cx="0" cy="0"/>
        </a:xfrm>
      </p:grpSpPr>
      <p:sp>
        <p:nvSpPr>
          <p:cNvPr id="8" name="BlueGradient"/>
          <p:cNvSpPr/>
          <p:nvPr/>
        </p:nvSpPr>
        <p:spPr>
          <a:xfrm>
            <a:off x="0" y="3891600"/>
            <a:ext cx="9144000" cy="1260000"/>
          </a:xfrm>
          <a:prstGeom prst="rect">
            <a:avLst/>
          </a:prstGeom>
          <a:gradFill flip="none" rotWithShape="1">
            <a:gsLst>
              <a:gs pos="11000">
                <a:schemeClr val="bg1">
                  <a:alpha val="78000"/>
                </a:schemeClr>
              </a:gs>
              <a:gs pos="100000">
                <a:srgbClr val="2EAEDA">
                  <a:alpha val="78000"/>
                </a:srgbClr>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 noProof="1">
              <a:noFill/>
              <a:latin typeface="UniCredit" panose="02000506040000020004" pitchFamily="2" charset="0"/>
              <a:cs typeface="Arial" panose="020B0604020202020204" pitchFamily="34" charset="0"/>
            </a:endParaRPr>
          </a:p>
        </p:txBody>
      </p:sp>
      <p:sp>
        <p:nvSpPr>
          <p:cNvPr id="7" name="Picture"/>
          <p:cNvSpPr>
            <a:spLocks noGrp="1"/>
          </p:cNvSpPr>
          <p:nvPr>
            <p:ph type="pic" sz="quarter" idx="13" hasCustomPrompt="1"/>
          </p:nvPr>
        </p:nvSpPr>
        <p:spPr>
          <a:xfrm>
            <a:off x="0" y="0"/>
            <a:ext cx="9144000" cy="3895200"/>
          </a:xfrm>
          <a:prstGeom prst="rect">
            <a:avLst/>
          </a:prstGeom>
        </p:spPr>
        <p:txBody>
          <a:bodyPr lIns="0" tIns="0" rIns="0" bIns="0" anchor="ctr" anchorCtr="1">
            <a:normAutofit/>
          </a:bodyPr>
          <a:lstStyle>
            <a:lvl1pPr marL="0" indent="0">
              <a:buNone/>
              <a:defRPr sz="100">
                <a:noFill/>
                <a:latin typeface="UniCredit" panose="02000506040000020004" pitchFamily="2" charset="0"/>
              </a:defRPr>
            </a:lvl1pPr>
          </a:lstStyle>
          <a:p>
            <a:r>
              <a:rPr lang="en-GB" noProof="1"/>
              <a:t>Insert picture</a:t>
            </a:r>
          </a:p>
        </p:txBody>
      </p:sp>
      <p:sp>
        <p:nvSpPr>
          <p:cNvPr id="4" name="LegalEntity"/>
          <p:cNvSpPr>
            <a:spLocks noGrp="1"/>
          </p:cNvSpPr>
          <p:nvPr>
            <p:ph type="body" sz="quarter" idx="14" hasCustomPrompt="1"/>
          </p:nvPr>
        </p:nvSpPr>
        <p:spPr>
          <a:xfrm>
            <a:off x="3312000" y="4964400"/>
            <a:ext cx="2519362" cy="144000"/>
          </a:xfrm>
        </p:spPr>
        <p:txBody>
          <a:bodyPr>
            <a:noAutofit/>
          </a:bodyPr>
          <a:lstStyle>
            <a:lvl1pPr marL="0" marR="0" indent="0" algn="ctr" defTabSz="342875" rtl="0" eaLnBrk="1" fontAlgn="auto" latinLnBrk="0" hangingPunct="1">
              <a:lnSpc>
                <a:spcPct val="100000"/>
              </a:lnSpc>
              <a:spcBef>
                <a:spcPct val="20000"/>
              </a:spcBef>
              <a:spcAft>
                <a:spcPts val="0"/>
              </a:spcAft>
              <a:buClr>
                <a:srgbClr val="E1061C"/>
              </a:buClr>
              <a:buSzTx/>
              <a:buFontTx/>
              <a:buNone/>
              <a:tabLst/>
              <a:defRPr sz="1000">
                <a:latin typeface="+mn-lt"/>
              </a:defRPr>
            </a:lvl1pPr>
            <a:lvl2pPr marL="342875" indent="0" algn="ctr">
              <a:buFontTx/>
              <a:buNone/>
              <a:defRPr sz="675"/>
            </a:lvl2pPr>
            <a:lvl3pPr marL="685749" indent="0" algn="ctr">
              <a:buFontTx/>
              <a:buNone/>
              <a:defRPr sz="675"/>
            </a:lvl3pPr>
            <a:lvl4pPr marL="1028624" indent="0" algn="ctr">
              <a:buFontTx/>
              <a:buNone/>
              <a:defRPr sz="675"/>
            </a:lvl4pPr>
            <a:lvl5pPr marL="1371498" indent="0" algn="ctr">
              <a:buFontTx/>
              <a:buNone/>
              <a:defRPr sz="675"/>
            </a:lvl5pPr>
          </a:lstStyle>
          <a:p>
            <a:pPr marL="0" marR="0" lvl="0" indent="0" algn="ctr" defTabSz="342875" rtl="0" eaLnBrk="1" fontAlgn="auto" latinLnBrk="0" hangingPunct="1">
              <a:lnSpc>
                <a:spcPct val="100000"/>
              </a:lnSpc>
              <a:spcBef>
                <a:spcPct val="20000"/>
              </a:spcBef>
              <a:spcAft>
                <a:spcPts val="0"/>
              </a:spcAft>
              <a:buClr>
                <a:srgbClr val="E1061C"/>
              </a:buClr>
              <a:buSzTx/>
              <a:buFontTx/>
              <a:buNone/>
              <a:tabLst/>
              <a:defRPr/>
            </a:pPr>
            <a:r>
              <a:rPr lang="en-GB" noProof="0" dirty="0"/>
              <a:t>[Insert legal entity - classification level]</a:t>
            </a:r>
          </a:p>
        </p:txBody>
      </p:sp>
      <p:pic>
        <p:nvPicPr>
          <p:cNvPr id="10" name="UCOne" descr="sfere 2D.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93200" y="4603824"/>
            <a:ext cx="359676" cy="359676"/>
          </a:xfrm>
          <a:prstGeom prst="rect">
            <a:avLst/>
          </a:prstGeom>
        </p:spPr>
      </p:pic>
      <p:sp>
        <p:nvSpPr>
          <p:cNvPr id="2" name="Title"/>
          <p:cNvSpPr>
            <a:spLocks noGrp="1"/>
          </p:cNvSpPr>
          <p:nvPr>
            <p:ph type="title" hasCustomPrompt="1"/>
          </p:nvPr>
        </p:nvSpPr>
        <p:spPr>
          <a:xfrm>
            <a:off x="540000" y="4168800"/>
            <a:ext cx="7779600" cy="734400"/>
          </a:xfrm>
        </p:spPr>
        <p:txBody>
          <a:bodyPr/>
          <a:lstStyle>
            <a:lvl1pPr>
              <a:lnSpc>
                <a:spcPts val="3600"/>
              </a:lnSpc>
              <a:defRPr sz="3600"/>
            </a:lvl1pPr>
          </a:lstStyle>
          <a:p>
            <a:r>
              <a:rPr lang="en-GB" noProof="0" dirty="0"/>
              <a:t>Insert title</a:t>
            </a:r>
          </a:p>
        </p:txBody>
      </p:sp>
    </p:spTree>
    <p:extLst>
      <p:ext uri="{BB962C8B-B14F-4D97-AF65-F5344CB8AC3E}">
        <p14:creationId xmlns:p14="http://schemas.microsoft.com/office/powerpoint/2010/main" val="135745490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EA629B8-0522-432B-B75D-28B3EDF61B0B}"/>
              </a:ext>
            </a:extLst>
          </p:cNvPr>
          <p:cNvGraphicFramePr>
            <a:graphicFrameLocks noChangeAspect="1"/>
          </p:cNvGraphicFramePr>
          <p:nvPr>
            <p:custDataLst>
              <p:tags r:id="rId2"/>
            </p:custDataLst>
          </p:nvPr>
        </p:nvGraphicFramePr>
        <p:xfrm>
          <a:off x="1215" y="1215"/>
          <a:ext cx="1215" cy="1215"/>
        </p:xfrm>
        <a:graphic>
          <a:graphicData uri="http://schemas.openxmlformats.org/presentationml/2006/ole">
            <mc:AlternateContent xmlns:mc="http://schemas.openxmlformats.org/markup-compatibility/2006">
              <mc:Choice xmlns:v="urn:schemas-microsoft-com:vml" Requires="v">
                <p:oleObj spid="_x0000_s18516" name="think-cell Slide" r:id="rId5" imgW="526" imgH="526" progId="TCLayout.ActiveDocument.1">
                  <p:embed/>
                </p:oleObj>
              </mc:Choice>
              <mc:Fallback>
                <p:oleObj name="think-cell Slide" r:id="rId5" imgW="526" imgH="526" progId="TCLayout.ActiveDocument.1">
                  <p:embed/>
                  <p:pic>
                    <p:nvPicPr>
                      <p:cNvPr id="5" name="Object 4" hidden="1">
                        <a:extLst>
                          <a:ext uri="{FF2B5EF4-FFF2-40B4-BE49-F238E27FC236}">
                            <a16:creationId xmlns:a16="http://schemas.microsoft.com/office/drawing/2014/main" id="{CEA629B8-0522-432B-B75D-28B3EDF61B0B}"/>
                          </a:ext>
                        </a:extLst>
                      </p:cNvPr>
                      <p:cNvPicPr/>
                      <p:nvPr/>
                    </p:nvPicPr>
                    <p:blipFill>
                      <a:blip r:embed="rId6"/>
                      <a:stretch>
                        <a:fillRect/>
                      </a:stretch>
                    </p:blipFill>
                    <p:spPr>
                      <a:xfrm>
                        <a:off x="1215" y="1215"/>
                        <a:ext cx="1215" cy="1215"/>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6BCEFEC-96EB-412D-8F03-AC87192C05A1}"/>
              </a:ext>
            </a:extLst>
          </p:cNvPr>
          <p:cNvSpPr/>
          <p:nvPr>
            <p:custDataLst>
              <p:tags r:id="rId3"/>
            </p:custDataLst>
          </p:nvPr>
        </p:nvSpPr>
        <p:spPr>
          <a:xfrm>
            <a:off x="0" y="0"/>
            <a:ext cx="121483" cy="121481"/>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1530" b="1" i="0" baseline="0" dirty="0" err="1">
              <a:solidFill>
                <a:schemeClr val="tx1"/>
              </a:solidFill>
              <a:latin typeface="UniCredit" panose="02000506040000020004" pitchFamily="2" charset="0"/>
              <a:ea typeface="+mj-ea"/>
              <a:cs typeface="+mj-cs"/>
              <a:sym typeface="UniCredit" panose="02000506040000020004" pitchFamily="2" charset="0"/>
            </a:endParaRPr>
          </a:p>
        </p:txBody>
      </p:sp>
      <p:sp>
        <p:nvSpPr>
          <p:cNvPr id="2" name="Title 1">
            <a:extLst>
              <a:ext uri="{FF2B5EF4-FFF2-40B4-BE49-F238E27FC236}">
                <a16:creationId xmlns:a16="http://schemas.microsoft.com/office/drawing/2014/main" id="{13057FB2-8228-4FE2-A0F8-D7B39BF84BB0}"/>
              </a:ext>
            </a:extLst>
          </p:cNvPr>
          <p:cNvSpPr>
            <a:spLocks noGrp="1"/>
          </p:cNvSpPr>
          <p:nvPr>
            <p:ph type="title"/>
          </p:nvPr>
        </p:nvSpPr>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5F2BCB41-E6D0-4EDF-9853-A5213C20309D}"/>
              </a:ext>
            </a:extLst>
          </p:cNvPr>
          <p:cNvSpPr>
            <a:spLocks noGrp="1"/>
          </p:cNvSpPr>
          <p:nvPr>
            <p:ph idx="1"/>
          </p:nvPr>
        </p:nvSpPr>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cNvSpPr txBox="1">
            <a:spLocks/>
          </p:cNvSpPr>
          <p:nvPr userDrawn="1"/>
        </p:nvSpPr>
        <p:spPr bwMode="black">
          <a:xfrm>
            <a:off x="121490" y="4974427"/>
            <a:ext cx="105798" cy="106055"/>
          </a:xfrm>
          <a:prstGeom prst="rect">
            <a:avLst/>
          </a:prstGeom>
        </p:spPr>
        <p:txBody>
          <a:bodyPr vert="horz" wrap="none" lIns="0" tIns="0" rIns="0" bIns="0" rtlCol="0" anchor="ctr">
            <a:spAutoFit/>
          </a:bodyPr>
          <a:lstStyle>
            <a:defPPr>
              <a:defRPr lang="en-US"/>
            </a:defPPr>
            <a:lvl1pPr>
              <a:defRPr sz="1000" baseline="0">
                <a:latin typeface="+mn-lt"/>
              </a:defRPr>
            </a:lvl1pPr>
          </a:lstStyle>
          <a:p>
            <a:pPr lvl="0"/>
            <a:fld id="{42C328C1-A84F-4A39-A664-DBA00541A8C6}" type="slidenum">
              <a:rPr lang="en-US" sz="689" smtClean="0">
                <a:solidFill>
                  <a:schemeClr val="accent1"/>
                </a:solidFill>
              </a:rPr>
              <a:pPr lvl="0"/>
              <a:t>‹#›</a:t>
            </a:fld>
            <a:endParaRPr lang="en-US" sz="689" dirty="0">
              <a:solidFill>
                <a:schemeClr val="accent1"/>
              </a:solidFill>
            </a:endParaRPr>
          </a:p>
        </p:txBody>
      </p:sp>
    </p:spTree>
    <p:extLst>
      <p:ext uri="{BB962C8B-B14F-4D97-AF65-F5344CB8AC3E}">
        <p14:creationId xmlns:p14="http://schemas.microsoft.com/office/powerpoint/2010/main" val="210921457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le page - Text - Standard">
    <p:spTree>
      <p:nvGrpSpPr>
        <p:cNvPr id="1" name=""/>
        <p:cNvGrpSpPr/>
        <p:nvPr/>
      </p:nvGrpSpPr>
      <p:grpSpPr>
        <a:xfrm>
          <a:off x="0" y="0"/>
          <a:ext cx="0" cy="0"/>
          <a:chOff x="0" y="0"/>
          <a:chExt cx="0" cy="0"/>
        </a:xfrm>
      </p:grpSpPr>
      <p:sp>
        <p:nvSpPr>
          <p:cNvPr id="5" name="BlueGradient"/>
          <p:cNvSpPr/>
          <p:nvPr/>
        </p:nvSpPr>
        <p:spPr bwMode="gray">
          <a:xfrm>
            <a:off x="0" y="2876400"/>
            <a:ext cx="9144000" cy="2268000"/>
          </a:xfrm>
          <a:prstGeom prst="rect">
            <a:avLst/>
          </a:prstGeom>
          <a:gradFill flip="none" rotWithShape="1">
            <a:gsLst>
              <a:gs pos="11000">
                <a:schemeClr val="bg1">
                  <a:alpha val="78000"/>
                </a:schemeClr>
              </a:gs>
              <a:gs pos="100000">
                <a:srgbClr val="2EAEDA">
                  <a:alpha val="78000"/>
                </a:srgbClr>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 noProof="1">
              <a:noFill/>
              <a:latin typeface="UniCredit" panose="02000506040000020004" pitchFamily="2" charset="0"/>
              <a:cs typeface="Arial" panose="020B0604020202020204" pitchFamily="34" charset="0"/>
            </a:endParaRPr>
          </a:p>
        </p:txBody>
      </p:sp>
      <p:sp>
        <p:nvSpPr>
          <p:cNvPr id="4" name="LegalEntity"/>
          <p:cNvSpPr>
            <a:spLocks noGrp="1"/>
          </p:cNvSpPr>
          <p:nvPr>
            <p:ph type="body" sz="quarter" idx="13" hasCustomPrompt="1"/>
          </p:nvPr>
        </p:nvSpPr>
        <p:spPr>
          <a:xfrm>
            <a:off x="5943600" y="3128400"/>
            <a:ext cx="2880000" cy="208800"/>
          </a:xfrm>
          <a:prstGeom prst="rect">
            <a:avLst/>
          </a:prstGeom>
        </p:spPr>
        <p:txBody>
          <a:bodyPr lIns="0" tIns="0" rIns="0" bIns="0">
            <a:noAutofit/>
          </a:bodyPr>
          <a:lstStyle>
            <a:lvl1pPr marL="0" indent="0" algn="r">
              <a:buFontTx/>
              <a:buNone/>
              <a:defRPr sz="1200"/>
            </a:lvl1pPr>
            <a:lvl2pPr marL="356373" indent="0" algn="r">
              <a:buFontTx/>
              <a:buNone/>
              <a:defRPr sz="900"/>
            </a:lvl2pPr>
            <a:lvl3pPr algn="r">
              <a:buFontTx/>
              <a:buNone/>
              <a:defRPr sz="900"/>
            </a:lvl3pPr>
            <a:lvl4pPr marL="1069119" indent="0" algn="r">
              <a:buFontTx/>
              <a:buNone/>
              <a:defRPr sz="900"/>
            </a:lvl4pPr>
            <a:lvl5pPr marL="1501088" indent="0" algn="r">
              <a:buFontTx/>
              <a:buNone/>
              <a:defRPr sz="900"/>
            </a:lvl5pPr>
          </a:lstStyle>
          <a:p>
            <a:pPr lvl="0"/>
            <a:r>
              <a:rPr lang="en-GB" noProof="0" dirty="0"/>
              <a:t>[Insert legal entity - classification level]</a:t>
            </a:r>
          </a:p>
        </p:txBody>
      </p:sp>
      <p:sp>
        <p:nvSpPr>
          <p:cNvPr id="10" name="CityDate"/>
          <p:cNvSpPr>
            <a:spLocks noGrp="1"/>
          </p:cNvSpPr>
          <p:nvPr>
            <p:ph type="body" sz="quarter" idx="18" hasCustomPrompt="1"/>
          </p:nvPr>
        </p:nvSpPr>
        <p:spPr>
          <a:xfrm>
            <a:off x="540000" y="3398400"/>
            <a:ext cx="5040000" cy="208800"/>
          </a:xfrm>
        </p:spPr>
        <p:txBody>
          <a:bodyPr anchor="b">
            <a:normAutofit/>
          </a:bodyPr>
          <a:lstStyle>
            <a:lvl1pPr marL="0" indent="0" fontAlgn="auto">
              <a:spcBef>
                <a:spcPts val="0"/>
              </a:spcBef>
              <a:spcAft>
                <a:spcPts val="0"/>
              </a:spcAft>
              <a:buNone/>
              <a:defRPr sz="1200" b="1">
                <a:latin typeface="+mn-lt"/>
              </a:defRPr>
            </a:lvl1pPr>
          </a:lstStyle>
          <a:p>
            <a:pPr fontAlgn="auto">
              <a:spcBef>
                <a:spcPts val="0"/>
              </a:spcBef>
              <a:spcAft>
                <a:spcPts val="0"/>
              </a:spcAft>
            </a:pPr>
            <a:r>
              <a:rPr lang="en-GB" noProof="0" dirty="0"/>
              <a:t>Insert city and date</a:t>
            </a:r>
          </a:p>
        </p:txBody>
      </p:sp>
      <p:sp>
        <p:nvSpPr>
          <p:cNvPr id="9" name="NameFunction"/>
          <p:cNvSpPr>
            <a:spLocks noGrp="1"/>
          </p:cNvSpPr>
          <p:nvPr>
            <p:ph type="body" sz="quarter" idx="17" hasCustomPrompt="1"/>
          </p:nvPr>
        </p:nvSpPr>
        <p:spPr>
          <a:xfrm>
            <a:off x="539750" y="3103200"/>
            <a:ext cx="5040000" cy="208800"/>
          </a:xfrm>
        </p:spPr>
        <p:txBody>
          <a:bodyPr>
            <a:noAutofit/>
          </a:bodyPr>
          <a:lstStyle>
            <a:lvl1pPr marL="0" indent="0">
              <a:spcBef>
                <a:spcPts val="0"/>
              </a:spcBef>
              <a:buNone/>
              <a:defRPr sz="1400" b="1">
                <a:latin typeface="+mn-lt"/>
              </a:defRPr>
            </a:lvl1pPr>
            <a:lvl2pPr marL="457188" indent="0">
              <a:buNone/>
              <a:defRPr sz="1200" b="1">
                <a:latin typeface="UniCredit" panose="02000506040000020004" pitchFamily="2" charset="0"/>
              </a:defRPr>
            </a:lvl2pPr>
            <a:lvl3pPr marL="914377" indent="0">
              <a:buNone/>
              <a:defRPr sz="1200" b="1">
                <a:latin typeface="UniCredit" panose="02000506040000020004" pitchFamily="2" charset="0"/>
              </a:defRPr>
            </a:lvl3pPr>
            <a:lvl4pPr marL="1371566" indent="0">
              <a:buNone/>
              <a:defRPr sz="1200" b="1">
                <a:latin typeface="UniCredit" panose="02000506040000020004" pitchFamily="2" charset="0"/>
              </a:defRPr>
            </a:lvl4pPr>
            <a:lvl5pPr marL="1828755" indent="0">
              <a:buNone/>
              <a:defRPr sz="1200" b="1">
                <a:latin typeface="UniCredit" panose="02000506040000020004" pitchFamily="2" charset="0"/>
              </a:defRPr>
            </a:lvl5pPr>
          </a:lstStyle>
          <a:p>
            <a:pPr>
              <a:defRPr/>
            </a:pPr>
            <a:r>
              <a:rPr lang="en-GB" noProof="0" dirty="0"/>
              <a:t>Insert name and function</a:t>
            </a:r>
          </a:p>
        </p:txBody>
      </p:sp>
      <p:sp>
        <p:nvSpPr>
          <p:cNvPr id="24" name="Subtitle"/>
          <p:cNvSpPr>
            <a:spLocks noGrp="1"/>
          </p:cNvSpPr>
          <p:nvPr>
            <p:ph type="body" sz="quarter" idx="12" hasCustomPrompt="1"/>
          </p:nvPr>
        </p:nvSpPr>
        <p:spPr>
          <a:xfrm>
            <a:off x="539749" y="2116800"/>
            <a:ext cx="8287200" cy="626400"/>
          </a:xfrm>
          <a:prstGeom prst="rect">
            <a:avLst/>
          </a:prstGeom>
        </p:spPr>
        <p:txBody>
          <a:bodyPr lIns="0" tIns="0" rIns="0" bIns="0" anchor="b" anchorCtr="0">
            <a:normAutofit/>
          </a:bodyPr>
          <a:lstStyle>
            <a:lvl1pPr marL="0" indent="0">
              <a:lnSpc>
                <a:spcPts val="2600"/>
              </a:lnSpc>
              <a:spcBef>
                <a:spcPts val="0"/>
              </a:spcBef>
              <a:buNone/>
              <a:defRPr sz="2600"/>
            </a:lvl1pPr>
          </a:lstStyle>
          <a:p>
            <a:pPr lvl="0"/>
            <a:r>
              <a:rPr lang="en-GB" noProof="0" dirty="0"/>
              <a:t>Insert subtitle</a:t>
            </a:r>
          </a:p>
        </p:txBody>
      </p:sp>
      <p:sp>
        <p:nvSpPr>
          <p:cNvPr id="21" name="Title"/>
          <p:cNvSpPr>
            <a:spLocks noGrp="1"/>
          </p:cNvSpPr>
          <p:nvPr>
            <p:ph type="title" hasCustomPrompt="1"/>
          </p:nvPr>
        </p:nvSpPr>
        <p:spPr>
          <a:xfrm>
            <a:off x="540000" y="669600"/>
            <a:ext cx="6663600" cy="13680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nSpc>
                <a:spcPts val="3400"/>
              </a:lnSpc>
              <a:defRPr lang="en-GB" sz="3600" noProof="0" dirty="0">
                <a:latin typeface="+mj-lt"/>
                <a:cs typeface="Arial" panose="020B0604020202020204" pitchFamily="34" charset="0"/>
              </a:defRPr>
            </a:lvl1pPr>
          </a:lstStyle>
          <a:p>
            <a:pPr lvl="0" defTabSz="725037"/>
            <a:r>
              <a:rPr lang="en-GB" noProof="0" dirty="0"/>
              <a:t>Insert title</a:t>
            </a:r>
          </a:p>
        </p:txBody>
      </p:sp>
      <p:pic>
        <p:nvPicPr>
          <p:cNvPr id="3" name="Logo">
            <a:extLst>
              <a:ext uri="{FF2B5EF4-FFF2-40B4-BE49-F238E27FC236}">
                <a16:creationId xmlns:a16="http://schemas.microsoft.com/office/drawing/2014/main" id="{B9A250AB-298B-498A-AF38-6200D8DC933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490974" y="4414901"/>
            <a:ext cx="4383033" cy="402337"/>
          </a:xfrm>
          <a:prstGeom prst="rect">
            <a:avLst/>
          </a:prstGeom>
        </p:spPr>
      </p:pic>
    </p:spTree>
    <p:extLst>
      <p:ext uri="{BB962C8B-B14F-4D97-AF65-F5344CB8AC3E}">
        <p14:creationId xmlns:p14="http://schemas.microsoft.com/office/powerpoint/2010/main" val="271783993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Internal Slide - 1 Column Text">
    <p:spTree>
      <p:nvGrpSpPr>
        <p:cNvPr id="1" name=""/>
        <p:cNvGrpSpPr/>
        <p:nvPr/>
      </p:nvGrpSpPr>
      <p:grpSpPr>
        <a:xfrm>
          <a:off x="0" y="0"/>
          <a:ext cx="0" cy="0"/>
          <a:chOff x="0" y="0"/>
          <a:chExt cx="0" cy="0"/>
        </a:xfrm>
      </p:grpSpPr>
      <p:sp>
        <p:nvSpPr>
          <p:cNvPr id="7" name="LegalEntity"/>
          <p:cNvSpPr>
            <a:spLocks noGrp="1"/>
          </p:cNvSpPr>
          <p:nvPr>
            <p:ph type="body" sz="quarter" idx="12" hasCustomPrompt="1"/>
          </p:nvPr>
        </p:nvSpPr>
        <p:spPr>
          <a:xfrm>
            <a:off x="3312000" y="4964400"/>
            <a:ext cx="2520000" cy="144000"/>
          </a:xfrm>
        </p:spPr>
        <p:txBody>
          <a:bodyPr>
            <a:noAutofit/>
          </a:bodyPr>
          <a:lstStyle>
            <a:lvl1pPr marL="0" marR="0" indent="0" algn="ctr" defTabSz="342875" rtl="0" eaLnBrk="1" fontAlgn="auto" latinLnBrk="0" hangingPunct="1">
              <a:lnSpc>
                <a:spcPct val="100000"/>
              </a:lnSpc>
              <a:spcBef>
                <a:spcPct val="20000"/>
              </a:spcBef>
              <a:spcAft>
                <a:spcPts val="0"/>
              </a:spcAft>
              <a:buClr>
                <a:srgbClr val="E1061C"/>
              </a:buClr>
              <a:buSzTx/>
              <a:buFontTx/>
              <a:buNone/>
              <a:tabLst/>
              <a:defRPr sz="1000">
                <a:latin typeface="+mn-lt"/>
              </a:defRPr>
            </a:lvl1pPr>
            <a:lvl2pPr marL="342875" indent="0" algn="ctr">
              <a:buFontTx/>
              <a:buNone/>
              <a:defRPr sz="675"/>
            </a:lvl2pPr>
            <a:lvl3pPr marL="685749" indent="0" algn="ctr">
              <a:buFontTx/>
              <a:buNone/>
              <a:defRPr sz="675"/>
            </a:lvl3pPr>
            <a:lvl4pPr marL="1028624" indent="0" algn="ctr">
              <a:buFontTx/>
              <a:buNone/>
              <a:defRPr sz="675"/>
            </a:lvl4pPr>
            <a:lvl5pPr marL="1371498" indent="0" algn="ctr">
              <a:buFontTx/>
              <a:buNone/>
              <a:defRPr sz="675"/>
            </a:lvl5pPr>
          </a:lstStyle>
          <a:p>
            <a:pPr marL="0" marR="0" lvl="0" indent="0" algn="ctr" defTabSz="342875" rtl="0" eaLnBrk="1" fontAlgn="auto" latinLnBrk="0" hangingPunct="1">
              <a:lnSpc>
                <a:spcPct val="100000"/>
              </a:lnSpc>
              <a:spcBef>
                <a:spcPct val="20000"/>
              </a:spcBef>
              <a:spcAft>
                <a:spcPts val="0"/>
              </a:spcAft>
              <a:buClr>
                <a:srgbClr val="E1061C"/>
              </a:buClr>
              <a:buSzTx/>
              <a:buFontTx/>
              <a:buNone/>
              <a:tabLst/>
              <a:defRPr/>
            </a:pPr>
            <a:r>
              <a:rPr lang="en-GB" noProof="0" dirty="0"/>
              <a:t>[Insert legal entity - classification level]</a:t>
            </a:r>
          </a:p>
        </p:txBody>
      </p:sp>
      <p:sp>
        <p:nvSpPr>
          <p:cNvPr id="8" name="Baseline"/>
          <p:cNvSpPr>
            <a:spLocks noChangeShapeType="1"/>
          </p:cNvSpPr>
          <p:nvPr/>
        </p:nvSpPr>
        <p:spPr bwMode="auto">
          <a:xfrm>
            <a:off x="0" y="4428000"/>
            <a:ext cx="9144000" cy="0"/>
          </a:xfrm>
          <a:prstGeom prst="line">
            <a:avLst/>
          </a:prstGeom>
          <a:noFill/>
          <a:ln w="19050">
            <a:solidFill>
              <a:srgbClr val="00AFD0"/>
            </a:solidFill>
            <a:round/>
            <a:headEnd/>
            <a:tailEnd type="none" w="med" len="med"/>
          </a:ln>
          <a:extLst>
            <a:ext uri="{909E8E84-426E-40DD-AFC4-6F175D3DCCD1}">
              <a14:hiddenFill xmlns:a14="http://schemas.microsoft.com/office/drawing/2010/main">
                <a:noFill/>
              </a14:hiddenFill>
            </a:ext>
          </a:extLst>
        </p:spPr>
        <p:txBody>
          <a:bodyPr lIns="0" tIns="0" rIns="0" bIns="0" anchor="ctr">
            <a:spAutoFit/>
          </a:bodyPr>
          <a:lstStyle/>
          <a:p>
            <a:endParaRPr lang="en-GB" sz="100" noProof="1">
              <a:latin typeface="UniCredit" panose="02000506040000020004" pitchFamily="2" charset="0"/>
              <a:cs typeface="Arial" panose="020B0604020202020204" pitchFamily="34" charset="0"/>
            </a:endParaRPr>
          </a:p>
        </p:txBody>
      </p:sp>
      <p:sp>
        <p:nvSpPr>
          <p:cNvPr id="10" name="Footer"/>
          <p:cNvSpPr>
            <a:spLocks noGrp="1"/>
          </p:cNvSpPr>
          <p:nvPr>
            <p:ph type="body" sz="quarter" idx="16" hasCustomPrompt="1"/>
          </p:nvPr>
        </p:nvSpPr>
        <p:spPr>
          <a:xfrm>
            <a:off x="720000" y="4603750"/>
            <a:ext cx="7704000" cy="360000"/>
          </a:xfrm>
        </p:spPr>
        <p:txBody>
          <a:bodyPr>
            <a:noAutofit/>
          </a:bodyPr>
          <a:lstStyle>
            <a:lvl1pPr marL="0" indent="0">
              <a:buNone/>
              <a:defRPr sz="800">
                <a:latin typeface="+mn-lt"/>
                <a:cs typeface="Arial" panose="020B0604020202020204" pitchFamily="34" charset="0"/>
              </a:defRPr>
            </a:lvl1pPr>
            <a:lvl2pPr marL="342882" indent="0">
              <a:buNone/>
              <a:defRPr sz="700">
                <a:latin typeface="Arial" panose="020B0604020202020204" pitchFamily="34" charset="0"/>
                <a:cs typeface="Arial" panose="020B0604020202020204" pitchFamily="34" charset="0"/>
              </a:defRPr>
            </a:lvl2pPr>
            <a:lvl3pPr marL="685766" indent="0">
              <a:buNone/>
              <a:defRPr sz="700">
                <a:latin typeface="Arial" panose="020B0604020202020204" pitchFamily="34" charset="0"/>
                <a:cs typeface="Arial" panose="020B0604020202020204" pitchFamily="34" charset="0"/>
              </a:defRPr>
            </a:lvl3pPr>
            <a:lvl4pPr marL="1028648" indent="0">
              <a:buNone/>
              <a:defRPr sz="700">
                <a:latin typeface="Arial" panose="020B0604020202020204" pitchFamily="34" charset="0"/>
                <a:cs typeface="Arial" panose="020B0604020202020204" pitchFamily="34" charset="0"/>
              </a:defRPr>
            </a:lvl4pPr>
            <a:lvl5pPr marL="1371532" indent="0">
              <a:buNone/>
              <a:defRPr sz="700">
                <a:latin typeface="Arial" panose="020B0604020202020204" pitchFamily="34" charset="0"/>
                <a:cs typeface="Arial" panose="020B0604020202020204" pitchFamily="34" charset="0"/>
              </a:defRPr>
            </a:lvl5pPr>
          </a:lstStyle>
          <a:p>
            <a:pPr lvl="0"/>
            <a:r>
              <a:rPr lang="en-GB" noProof="0" dirty="0"/>
              <a:t>Insert notes</a:t>
            </a:r>
          </a:p>
        </p:txBody>
      </p:sp>
      <p:sp>
        <p:nvSpPr>
          <p:cNvPr id="4" name="SlideNumber"/>
          <p:cNvSpPr>
            <a:spLocks noGrp="1"/>
          </p:cNvSpPr>
          <p:nvPr>
            <p:ph type="sldNum" sz="quarter" idx="11"/>
          </p:nvPr>
        </p:nvSpPr>
        <p:spPr/>
        <p:txBody>
          <a:bodyPr/>
          <a:lstStyle/>
          <a:p>
            <a:fld id="{9E8169F0-646E-455B-AF5A-6D6C02EAEAF6}" type="slidenum">
              <a:rPr lang="en-GB" noProof="1" dirty="0" smtClean="0"/>
              <a:t>‹#›</a:t>
            </a:fld>
            <a:endParaRPr lang="en-GB" noProof="1"/>
          </a:p>
        </p:txBody>
      </p:sp>
      <p:sp>
        <p:nvSpPr>
          <p:cNvPr id="5" name="Text"/>
          <p:cNvSpPr>
            <a:spLocks noGrp="1"/>
          </p:cNvSpPr>
          <p:nvPr>
            <p:ph sz="quarter" idx="15" hasCustomPrompt="1"/>
          </p:nvPr>
        </p:nvSpPr>
        <p:spPr>
          <a:xfrm>
            <a:off x="269875" y="946800"/>
            <a:ext cx="8679600" cy="3312000"/>
          </a:xfrm>
        </p:spPr>
        <p:txBody>
          <a:bodyPr/>
          <a:lstStyle>
            <a:lvl1pPr marL="132151" marR="0" indent="-132151" algn="l" defTabSz="342875" rtl="0" eaLnBrk="1" fontAlgn="auto" latinLnBrk="0" hangingPunct="1">
              <a:lnSpc>
                <a:spcPct val="100000"/>
              </a:lnSpc>
              <a:spcBef>
                <a:spcPct val="20000"/>
              </a:spcBef>
              <a:spcAft>
                <a:spcPts val="0"/>
              </a:spcAft>
              <a:buClr>
                <a:srgbClr val="E1061C"/>
              </a:buClr>
              <a:buSzTx/>
              <a:buFont typeface="Arial"/>
              <a:buChar char="•"/>
              <a:tabLst/>
              <a:defRPr/>
            </a:lvl1pPr>
            <a:lvl2pPr marL="470261" marR="0" indent="-127388" algn="l" defTabSz="342875" rtl="0" eaLnBrk="1" fontAlgn="auto" latinLnBrk="0" hangingPunct="1">
              <a:lnSpc>
                <a:spcPct val="100000"/>
              </a:lnSpc>
              <a:spcBef>
                <a:spcPct val="20000"/>
              </a:spcBef>
              <a:spcAft>
                <a:spcPts val="0"/>
              </a:spcAft>
              <a:buClr>
                <a:srgbClr val="E1061C"/>
              </a:buClr>
              <a:buSzTx/>
              <a:buFont typeface="Arial"/>
              <a:buChar char="•"/>
              <a:tabLst/>
              <a:defRPr/>
            </a:lvl2pPr>
            <a:lvl3pPr marL="809565" marR="0" indent="-123816" algn="l" defTabSz="342875" rtl="0" eaLnBrk="1" fontAlgn="auto" latinLnBrk="0" hangingPunct="1">
              <a:lnSpc>
                <a:spcPct val="100000"/>
              </a:lnSpc>
              <a:spcBef>
                <a:spcPct val="20000"/>
              </a:spcBef>
              <a:spcAft>
                <a:spcPts val="0"/>
              </a:spcAft>
              <a:buClr>
                <a:srgbClr val="E1061C"/>
              </a:buClr>
              <a:buSzTx/>
              <a:buFont typeface="Arial"/>
              <a:buChar char="•"/>
              <a:tabLst/>
              <a:defRPr/>
            </a:lvl3pPr>
            <a:lvl4pPr marL="1141724" marR="0" indent="-113102" algn="l" defTabSz="342875" rtl="0" eaLnBrk="1" fontAlgn="auto" latinLnBrk="0" hangingPunct="1">
              <a:lnSpc>
                <a:spcPct val="100000"/>
              </a:lnSpc>
              <a:spcBef>
                <a:spcPct val="20000"/>
              </a:spcBef>
              <a:spcAft>
                <a:spcPts val="0"/>
              </a:spcAft>
              <a:buClr>
                <a:srgbClr val="E1061C"/>
              </a:buClr>
              <a:buSzTx/>
              <a:buFont typeface="Arial"/>
              <a:buChar char="•"/>
              <a:tabLst/>
              <a:defRPr/>
            </a:lvl4pPr>
            <a:lvl5pPr marL="1479836" marR="0" indent="-108338" algn="l" defTabSz="342875" rtl="0" eaLnBrk="1" fontAlgn="auto" latinLnBrk="0" hangingPunct="1">
              <a:lnSpc>
                <a:spcPct val="100000"/>
              </a:lnSpc>
              <a:spcBef>
                <a:spcPct val="20000"/>
              </a:spcBef>
              <a:spcAft>
                <a:spcPts val="0"/>
              </a:spcAft>
              <a:buClr>
                <a:srgbClr val="E1061C"/>
              </a:buClr>
              <a:buSzTx/>
              <a:buFont typeface="Arial"/>
              <a:buChar char="•"/>
              <a:tabLst/>
              <a:defRPr/>
            </a:lvl5pPr>
          </a:lstStyle>
          <a:p>
            <a:pPr lvl="0"/>
            <a:r>
              <a:rPr lang="en-GB" noProof="0" dirty="0"/>
              <a:t>Insert text</a:t>
            </a:r>
          </a:p>
          <a:p>
            <a:pPr lvl="1"/>
            <a:r>
              <a:rPr lang="en-GB" noProof="0" dirty="0"/>
              <a:t>2° level</a:t>
            </a:r>
          </a:p>
          <a:p>
            <a:pPr lvl="2"/>
            <a:r>
              <a:rPr lang="en-GB" noProof="0" dirty="0"/>
              <a:t>3° level</a:t>
            </a:r>
          </a:p>
          <a:p>
            <a:pPr lvl="3"/>
            <a:r>
              <a:rPr lang="en-GB" noProof="0" dirty="0"/>
              <a:t>4° level</a:t>
            </a:r>
          </a:p>
          <a:p>
            <a:pPr lvl="4"/>
            <a:r>
              <a:rPr lang="en-GB" noProof="0" dirty="0"/>
              <a:t>5° level</a:t>
            </a:r>
          </a:p>
        </p:txBody>
      </p:sp>
      <p:sp>
        <p:nvSpPr>
          <p:cNvPr id="2" name="Title"/>
          <p:cNvSpPr>
            <a:spLocks noGrp="1"/>
          </p:cNvSpPr>
          <p:nvPr>
            <p:ph type="title" hasCustomPrompt="1"/>
          </p:nvPr>
        </p:nvSpPr>
        <p:spPr/>
        <p:txBody>
          <a:bodyPr vert="horz" lIns="0" tIns="0" rIns="0" bIns="0" rtlCol="0" anchor="ctr">
            <a:noAutofit/>
          </a:bodyPr>
          <a:lstStyle>
            <a:lvl1pPr>
              <a:defRPr lang="en-GB" noProof="0" dirty="0"/>
            </a:lvl1pPr>
          </a:lstStyle>
          <a:p>
            <a:pPr lvl="0">
              <a:lnSpc>
                <a:spcPts val="2400"/>
              </a:lnSpc>
            </a:pPr>
            <a:r>
              <a:rPr lang="en-GB" noProof="0" dirty="0"/>
              <a:t>Insert title</a:t>
            </a:r>
          </a:p>
        </p:txBody>
      </p:sp>
    </p:spTree>
    <p:extLst>
      <p:ext uri="{BB962C8B-B14F-4D97-AF65-F5344CB8AC3E}">
        <p14:creationId xmlns:p14="http://schemas.microsoft.com/office/powerpoint/2010/main" val="363225177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Internal Slide - 1 Column Text without Line">
    <p:spTree>
      <p:nvGrpSpPr>
        <p:cNvPr id="1" name=""/>
        <p:cNvGrpSpPr/>
        <p:nvPr/>
      </p:nvGrpSpPr>
      <p:grpSpPr>
        <a:xfrm>
          <a:off x="0" y="0"/>
          <a:ext cx="0" cy="0"/>
          <a:chOff x="0" y="0"/>
          <a:chExt cx="0" cy="0"/>
        </a:xfrm>
      </p:grpSpPr>
      <p:sp>
        <p:nvSpPr>
          <p:cNvPr id="7" name="LegalEntity"/>
          <p:cNvSpPr>
            <a:spLocks noGrp="1"/>
          </p:cNvSpPr>
          <p:nvPr>
            <p:ph type="body" sz="quarter" idx="12" hasCustomPrompt="1"/>
          </p:nvPr>
        </p:nvSpPr>
        <p:spPr>
          <a:xfrm>
            <a:off x="3312000" y="4964400"/>
            <a:ext cx="2520000" cy="144000"/>
          </a:xfrm>
        </p:spPr>
        <p:txBody>
          <a:bodyPr>
            <a:noAutofit/>
          </a:bodyPr>
          <a:lstStyle>
            <a:lvl1pPr marL="0" marR="0" indent="0" algn="ctr" defTabSz="342875" rtl="0" eaLnBrk="1" fontAlgn="auto" latinLnBrk="0" hangingPunct="1">
              <a:lnSpc>
                <a:spcPct val="100000"/>
              </a:lnSpc>
              <a:spcBef>
                <a:spcPct val="20000"/>
              </a:spcBef>
              <a:spcAft>
                <a:spcPts val="0"/>
              </a:spcAft>
              <a:buClr>
                <a:srgbClr val="E1061C"/>
              </a:buClr>
              <a:buSzTx/>
              <a:buFontTx/>
              <a:buNone/>
              <a:tabLst/>
              <a:defRPr sz="1000">
                <a:latin typeface="+mn-lt"/>
              </a:defRPr>
            </a:lvl1pPr>
            <a:lvl2pPr marL="342875" indent="0" algn="ctr">
              <a:buFontTx/>
              <a:buNone/>
              <a:defRPr sz="675"/>
            </a:lvl2pPr>
            <a:lvl3pPr marL="685749" indent="0" algn="ctr">
              <a:buFontTx/>
              <a:buNone/>
              <a:defRPr sz="675"/>
            </a:lvl3pPr>
            <a:lvl4pPr marL="1028624" indent="0" algn="ctr">
              <a:buFontTx/>
              <a:buNone/>
              <a:defRPr sz="675"/>
            </a:lvl4pPr>
            <a:lvl5pPr marL="1371498" indent="0" algn="ctr">
              <a:buFontTx/>
              <a:buNone/>
              <a:defRPr sz="675"/>
            </a:lvl5pPr>
          </a:lstStyle>
          <a:p>
            <a:pPr marL="0" marR="0" lvl="0" indent="0" algn="ctr" defTabSz="342875" rtl="0" eaLnBrk="1" fontAlgn="auto" latinLnBrk="0" hangingPunct="1">
              <a:lnSpc>
                <a:spcPct val="100000"/>
              </a:lnSpc>
              <a:spcBef>
                <a:spcPct val="20000"/>
              </a:spcBef>
              <a:spcAft>
                <a:spcPts val="0"/>
              </a:spcAft>
              <a:buClr>
                <a:srgbClr val="E1061C"/>
              </a:buClr>
              <a:buSzTx/>
              <a:buFontTx/>
              <a:buNone/>
              <a:tabLst/>
              <a:defRPr/>
            </a:pPr>
            <a:r>
              <a:rPr lang="en-GB" noProof="0" dirty="0"/>
              <a:t>[Insert legal entity - classification level]</a:t>
            </a:r>
          </a:p>
        </p:txBody>
      </p:sp>
      <p:sp>
        <p:nvSpPr>
          <p:cNvPr id="8" name="Footer"/>
          <p:cNvSpPr>
            <a:spLocks noGrp="1"/>
          </p:cNvSpPr>
          <p:nvPr>
            <p:ph type="body" sz="quarter" idx="16" hasCustomPrompt="1"/>
          </p:nvPr>
        </p:nvSpPr>
        <p:spPr>
          <a:xfrm>
            <a:off x="720000" y="4603750"/>
            <a:ext cx="7704000" cy="360000"/>
          </a:xfrm>
        </p:spPr>
        <p:txBody>
          <a:bodyPr>
            <a:noAutofit/>
          </a:bodyPr>
          <a:lstStyle>
            <a:lvl1pPr marL="0" indent="0">
              <a:buNone/>
              <a:defRPr sz="800">
                <a:latin typeface="+mn-lt"/>
                <a:cs typeface="Arial" panose="020B0604020202020204" pitchFamily="34" charset="0"/>
              </a:defRPr>
            </a:lvl1pPr>
            <a:lvl2pPr marL="342882" indent="0">
              <a:buNone/>
              <a:defRPr sz="700">
                <a:latin typeface="Arial" panose="020B0604020202020204" pitchFamily="34" charset="0"/>
                <a:cs typeface="Arial" panose="020B0604020202020204" pitchFamily="34" charset="0"/>
              </a:defRPr>
            </a:lvl2pPr>
            <a:lvl3pPr marL="685766" indent="0">
              <a:buNone/>
              <a:defRPr sz="700">
                <a:latin typeface="Arial" panose="020B0604020202020204" pitchFamily="34" charset="0"/>
                <a:cs typeface="Arial" panose="020B0604020202020204" pitchFamily="34" charset="0"/>
              </a:defRPr>
            </a:lvl3pPr>
            <a:lvl4pPr marL="1028648" indent="0">
              <a:buNone/>
              <a:defRPr sz="700">
                <a:latin typeface="Arial" panose="020B0604020202020204" pitchFamily="34" charset="0"/>
                <a:cs typeface="Arial" panose="020B0604020202020204" pitchFamily="34" charset="0"/>
              </a:defRPr>
            </a:lvl4pPr>
            <a:lvl5pPr marL="1371532" indent="0">
              <a:buNone/>
              <a:defRPr sz="700">
                <a:latin typeface="Arial" panose="020B0604020202020204" pitchFamily="34" charset="0"/>
                <a:cs typeface="Arial" panose="020B0604020202020204" pitchFamily="34" charset="0"/>
              </a:defRPr>
            </a:lvl5pPr>
          </a:lstStyle>
          <a:p>
            <a:pPr lvl="0"/>
            <a:r>
              <a:rPr lang="en-GB" noProof="0" dirty="0"/>
              <a:t>Insert notes</a:t>
            </a:r>
          </a:p>
        </p:txBody>
      </p:sp>
      <p:sp>
        <p:nvSpPr>
          <p:cNvPr id="4" name="SlideNumber"/>
          <p:cNvSpPr>
            <a:spLocks noGrp="1"/>
          </p:cNvSpPr>
          <p:nvPr>
            <p:ph type="sldNum" sz="quarter" idx="11"/>
          </p:nvPr>
        </p:nvSpPr>
        <p:spPr/>
        <p:txBody>
          <a:bodyPr/>
          <a:lstStyle/>
          <a:p>
            <a:fld id="{9E8169F0-646E-455B-AF5A-6D6C02EAEAF6}" type="slidenum">
              <a:rPr lang="en-GB" noProof="1" dirty="0" smtClean="0"/>
              <a:t>‹#›</a:t>
            </a:fld>
            <a:endParaRPr lang="en-GB" noProof="1"/>
          </a:p>
        </p:txBody>
      </p:sp>
      <p:sp>
        <p:nvSpPr>
          <p:cNvPr id="5" name="Text"/>
          <p:cNvSpPr>
            <a:spLocks noGrp="1"/>
          </p:cNvSpPr>
          <p:nvPr>
            <p:ph sz="quarter" idx="15" hasCustomPrompt="1"/>
          </p:nvPr>
        </p:nvSpPr>
        <p:spPr>
          <a:xfrm>
            <a:off x="270000" y="946800"/>
            <a:ext cx="8679600" cy="3312000"/>
          </a:xfrm>
        </p:spPr>
        <p:txBody>
          <a:bodyPr/>
          <a:lstStyle>
            <a:lvl1pPr marL="132151" marR="0" indent="-132151" algn="l" defTabSz="342875" rtl="0" eaLnBrk="1" fontAlgn="auto" latinLnBrk="0" hangingPunct="1">
              <a:lnSpc>
                <a:spcPct val="100000"/>
              </a:lnSpc>
              <a:spcBef>
                <a:spcPct val="20000"/>
              </a:spcBef>
              <a:spcAft>
                <a:spcPts val="0"/>
              </a:spcAft>
              <a:buClr>
                <a:srgbClr val="E1061C"/>
              </a:buClr>
              <a:buSzTx/>
              <a:buFont typeface="Arial"/>
              <a:buChar char="•"/>
              <a:tabLst/>
              <a:defRPr/>
            </a:lvl1pPr>
            <a:lvl2pPr marL="470261" marR="0" indent="-127388" algn="l" defTabSz="342875" rtl="0" eaLnBrk="1" fontAlgn="auto" latinLnBrk="0" hangingPunct="1">
              <a:lnSpc>
                <a:spcPct val="100000"/>
              </a:lnSpc>
              <a:spcBef>
                <a:spcPct val="20000"/>
              </a:spcBef>
              <a:spcAft>
                <a:spcPts val="0"/>
              </a:spcAft>
              <a:buClr>
                <a:srgbClr val="E1061C"/>
              </a:buClr>
              <a:buSzTx/>
              <a:buFont typeface="Arial"/>
              <a:buChar char="•"/>
              <a:tabLst/>
              <a:defRPr/>
            </a:lvl2pPr>
            <a:lvl3pPr marL="809565" marR="0" indent="-123816" algn="l" defTabSz="342875" rtl="0" eaLnBrk="1" fontAlgn="auto" latinLnBrk="0" hangingPunct="1">
              <a:lnSpc>
                <a:spcPct val="100000"/>
              </a:lnSpc>
              <a:spcBef>
                <a:spcPct val="20000"/>
              </a:spcBef>
              <a:spcAft>
                <a:spcPts val="0"/>
              </a:spcAft>
              <a:buClr>
                <a:srgbClr val="E1061C"/>
              </a:buClr>
              <a:buSzTx/>
              <a:buFont typeface="Arial"/>
              <a:buChar char="•"/>
              <a:tabLst/>
              <a:defRPr/>
            </a:lvl3pPr>
            <a:lvl4pPr marL="1141724" marR="0" indent="-113102" algn="l" defTabSz="342875" rtl="0" eaLnBrk="1" fontAlgn="auto" latinLnBrk="0" hangingPunct="1">
              <a:lnSpc>
                <a:spcPct val="100000"/>
              </a:lnSpc>
              <a:spcBef>
                <a:spcPct val="20000"/>
              </a:spcBef>
              <a:spcAft>
                <a:spcPts val="0"/>
              </a:spcAft>
              <a:buClr>
                <a:srgbClr val="E1061C"/>
              </a:buClr>
              <a:buSzTx/>
              <a:buFont typeface="Arial"/>
              <a:buChar char="•"/>
              <a:tabLst/>
              <a:defRPr/>
            </a:lvl4pPr>
            <a:lvl5pPr marL="1479836" marR="0" indent="-108338" algn="l" defTabSz="342875" rtl="0" eaLnBrk="1" fontAlgn="auto" latinLnBrk="0" hangingPunct="1">
              <a:lnSpc>
                <a:spcPct val="100000"/>
              </a:lnSpc>
              <a:spcBef>
                <a:spcPct val="20000"/>
              </a:spcBef>
              <a:spcAft>
                <a:spcPts val="0"/>
              </a:spcAft>
              <a:buClr>
                <a:srgbClr val="E1061C"/>
              </a:buClr>
              <a:buSzTx/>
              <a:buFont typeface="Arial"/>
              <a:buChar char="•"/>
              <a:tabLst/>
              <a:defRPr/>
            </a:lvl5pPr>
          </a:lstStyle>
          <a:p>
            <a:pPr lvl="0"/>
            <a:r>
              <a:rPr lang="en-GB" noProof="0" dirty="0"/>
              <a:t>Insert text</a:t>
            </a:r>
          </a:p>
          <a:p>
            <a:pPr lvl="1"/>
            <a:r>
              <a:rPr lang="en-GB" noProof="0" dirty="0"/>
              <a:t>2° level</a:t>
            </a:r>
          </a:p>
          <a:p>
            <a:pPr lvl="2"/>
            <a:r>
              <a:rPr lang="en-GB" noProof="0" dirty="0"/>
              <a:t>3° level</a:t>
            </a:r>
          </a:p>
          <a:p>
            <a:pPr lvl="3"/>
            <a:r>
              <a:rPr lang="en-GB" noProof="0" dirty="0"/>
              <a:t>4° level</a:t>
            </a:r>
          </a:p>
          <a:p>
            <a:pPr lvl="4"/>
            <a:r>
              <a:rPr lang="en-GB" noProof="0" dirty="0"/>
              <a:t>5° level</a:t>
            </a:r>
          </a:p>
        </p:txBody>
      </p:sp>
      <p:sp>
        <p:nvSpPr>
          <p:cNvPr id="2" name="Title"/>
          <p:cNvSpPr>
            <a:spLocks noGrp="1"/>
          </p:cNvSpPr>
          <p:nvPr>
            <p:ph type="title" hasCustomPrompt="1"/>
          </p:nvPr>
        </p:nvSpPr>
        <p:spPr/>
        <p:txBody>
          <a:bodyPr vert="horz" lIns="0" tIns="0" rIns="0" bIns="0" rtlCol="0" anchor="ctr">
            <a:noAutofit/>
          </a:bodyPr>
          <a:lstStyle>
            <a:lvl1pPr>
              <a:defRPr lang="en-GB" noProof="0" dirty="0"/>
            </a:lvl1pPr>
          </a:lstStyle>
          <a:p>
            <a:pPr lvl="0">
              <a:lnSpc>
                <a:spcPts val="2400"/>
              </a:lnSpc>
            </a:pPr>
            <a:r>
              <a:rPr lang="en-GB" noProof="0" dirty="0"/>
              <a:t>Insert title</a:t>
            </a:r>
          </a:p>
        </p:txBody>
      </p:sp>
    </p:spTree>
    <p:extLst>
      <p:ext uri="{BB962C8B-B14F-4D97-AF65-F5344CB8AC3E}">
        <p14:creationId xmlns:p14="http://schemas.microsoft.com/office/powerpoint/2010/main" val="226108036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Internal Slide - 2 Columns Text">
    <p:spTree>
      <p:nvGrpSpPr>
        <p:cNvPr id="1" name=""/>
        <p:cNvGrpSpPr/>
        <p:nvPr/>
      </p:nvGrpSpPr>
      <p:grpSpPr>
        <a:xfrm>
          <a:off x="0" y="0"/>
          <a:ext cx="0" cy="0"/>
          <a:chOff x="0" y="0"/>
          <a:chExt cx="0" cy="0"/>
        </a:xfrm>
      </p:grpSpPr>
      <p:sp>
        <p:nvSpPr>
          <p:cNvPr id="7" name="LegalEntity"/>
          <p:cNvSpPr>
            <a:spLocks noGrp="1"/>
          </p:cNvSpPr>
          <p:nvPr>
            <p:ph type="body" sz="quarter" idx="12" hasCustomPrompt="1"/>
          </p:nvPr>
        </p:nvSpPr>
        <p:spPr>
          <a:xfrm>
            <a:off x="3312000" y="4964400"/>
            <a:ext cx="2520000" cy="144000"/>
          </a:xfrm>
        </p:spPr>
        <p:txBody>
          <a:bodyPr>
            <a:noAutofit/>
          </a:bodyPr>
          <a:lstStyle>
            <a:lvl1pPr marL="0" marR="0" indent="0" algn="ctr" defTabSz="342875" rtl="0" eaLnBrk="1" fontAlgn="auto" latinLnBrk="0" hangingPunct="1">
              <a:lnSpc>
                <a:spcPct val="100000"/>
              </a:lnSpc>
              <a:spcBef>
                <a:spcPct val="20000"/>
              </a:spcBef>
              <a:spcAft>
                <a:spcPts val="0"/>
              </a:spcAft>
              <a:buClr>
                <a:srgbClr val="E1061C"/>
              </a:buClr>
              <a:buSzTx/>
              <a:buFontTx/>
              <a:buNone/>
              <a:tabLst/>
              <a:defRPr sz="1000">
                <a:latin typeface="+mn-lt"/>
              </a:defRPr>
            </a:lvl1pPr>
            <a:lvl2pPr marL="342875" indent="0" algn="ctr">
              <a:buFontTx/>
              <a:buNone/>
              <a:defRPr sz="675"/>
            </a:lvl2pPr>
            <a:lvl3pPr marL="685749" indent="0" algn="ctr">
              <a:buFontTx/>
              <a:buNone/>
              <a:defRPr sz="675"/>
            </a:lvl3pPr>
            <a:lvl4pPr marL="1028624" indent="0" algn="ctr">
              <a:buFontTx/>
              <a:buNone/>
              <a:defRPr sz="675"/>
            </a:lvl4pPr>
            <a:lvl5pPr marL="1371498" indent="0" algn="ctr">
              <a:buFontTx/>
              <a:buNone/>
              <a:defRPr sz="675"/>
            </a:lvl5pPr>
          </a:lstStyle>
          <a:p>
            <a:pPr marL="0" marR="0" lvl="0" indent="0" algn="ctr" defTabSz="342875" rtl="0" eaLnBrk="1" fontAlgn="auto" latinLnBrk="0" hangingPunct="1">
              <a:lnSpc>
                <a:spcPct val="100000"/>
              </a:lnSpc>
              <a:spcBef>
                <a:spcPct val="20000"/>
              </a:spcBef>
              <a:spcAft>
                <a:spcPts val="0"/>
              </a:spcAft>
              <a:buClr>
                <a:srgbClr val="E1061C"/>
              </a:buClr>
              <a:buSzTx/>
              <a:buFontTx/>
              <a:buNone/>
              <a:tabLst/>
              <a:defRPr/>
            </a:pPr>
            <a:r>
              <a:rPr lang="en-GB" noProof="0" dirty="0"/>
              <a:t>[Insert legal entity - classification level]</a:t>
            </a:r>
          </a:p>
        </p:txBody>
      </p:sp>
      <p:sp>
        <p:nvSpPr>
          <p:cNvPr id="10" name="Baseline"/>
          <p:cNvSpPr>
            <a:spLocks noChangeShapeType="1"/>
          </p:cNvSpPr>
          <p:nvPr/>
        </p:nvSpPr>
        <p:spPr bwMode="auto">
          <a:xfrm>
            <a:off x="0" y="4428000"/>
            <a:ext cx="9144000" cy="0"/>
          </a:xfrm>
          <a:prstGeom prst="line">
            <a:avLst/>
          </a:prstGeom>
          <a:noFill/>
          <a:ln w="19050">
            <a:solidFill>
              <a:srgbClr val="00AFD0"/>
            </a:solidFill>
            <a:round/>
            <a:headEnd/>
            <a:tailEnd type="none" w="med" len="med"/>
          </a:ln>
          <a:extLst>
            <a:ext uri="{909E8E84-426E-40DD-AFC4-6F175D3DCCD1}">
              <a14:hiddenFill xmlns:a14="http://schemas.microsoft.com/office/drawing/2010/main">
                <a:noFill/>
              </a14:hiddenFill>
            </a:ext>
          </a:extLst>
        </p:spPr>
        <p:txBody>
          <a:bodyPr lIns="0" tIns="0" rIns="0" bIns="0" anchor="ctr">
            <a:spAutoFit/>
          </a:bodyPr>
          <a:lstStyle/>
          <a:p>
            <a:endParaRPr lang="en-GB" sz="100" noProof="1">
              <a:latin typeface="UniCredit" panose="02000506040000020004" pitchFamily="2" charset="0"/>
              <a:cs typeface="Arial" panose="020B0604020202020204" pitchFamily="34" charset="0"/>
            </a:endParaRPr>
          </a:p>
        </p:txBody>
      </p:sp>
      <p:sp>
        <p:nvSpPr>
          <p:cNvPr id="11" name="Footer"/>
          <p:cNvSpPr>
            <a:spLocks noGrp="1"/>
          </p:cNvSpPr>
          <p:nvPr>
            <p:ph type="body" sz="quarter" idx="17" hasCustomPrompt="1"/>
          </p:nvPr>
        </p:nvSpPr>
        <p:spPr>
          <a:xfrm>
            <a:off x="720000" y="4603750"/>
            <a:ext cx="7704000" cy="360000"/>
          </a:xfrm>
        </p:spPr>
        <p:txBody>
          <a:bodyPr>
            <a:noAutofit/>
          </a:bodyPr>
          <a:lstStyle>
            <a:lvl1pPr marL="0" indent="0">
              <a:buNone/>
              <a:defRPr sz="800">
                <a:latin typeface="+mn-lt"/>
                <a:cs typeface="Arial" panose="020B0604020202020204" pitchFamily="34" charset="0"/>
              </a:defRPr>
            </a:lvl1pPr>
            <a:lvl2pPr marL="342882" indent="0">
              <a:buNone/>
              <a:defRPr sz="700">
                <a:latin typeface="Arial" panose="020B0604020202020204" pitchFamily="34" charset="0"/>
                <a:cs typeface="Arial" panose="020B0604020202020204" pitchFamily="34" charset="0"/>
              </a:defRPr>
            </a:lvl2pPr>
            <a:lvl3pPr marL="685766" indent="0">
              <a:buNone/>
              <a:defRPr sz="700">
                <a:latin typeface="Arial" panose="020B0604020202020204" pitchFamily="34" charset="0"/>
                <a:cs typeface="Arial" panose="020B0604020202020204" pitchFamily="34" charset="0"/>
              </a:defRPr>
            </a:lvl3pPr>
            <a:lvl4pPr marL="1028648" indent="0">
              <a:buNone/>
              <a:defRPr sz="700">
                <a:latin typeface="Arial" panose="020B0604020202020204" pitchFamily="34" charset="0"/>
                <a:cs typeface="Arial" panose="020B0604020202020204" pitchFamily="34" charset="0"/>
              </a:defRPr>
            </a:lvl4pPr>
            <a:lvl5pPr marL="1371532" indent="0">
              <a:buNone/>
              <a:defRPr sz="700">
                <a:latin typeface="Arial" panose="020B0604020202020204" pitchFamily="34" charset="0"/>
                <a:cs typeface="Arial" panose="020B0604020202020204" pitchFamily="34" charset="0"/>
              </a:defRPr>
            </a:lvl5pPr>
          </a:lstStyle>
          <a:p>
            <a:pPr lvl="0"/>
            <a:r>
              <a:rPr lang="en-GB" noProof="0" dirty="0"/>
              <a:t>Insert notes</a:t>
            </a:r>
          </a:p>
        </p:txBody>
      </p:sp>
      <p:sp>
        <p:nvSpPr>
          <p:cNvPr id="4" name="SlideNumber"/>
          <p:cNvSpPr>
            <a:spLocks noGrp="1"/>
          </p:cNvSpPr>
          <p:nvPr>
            <p:ph type="sldNum" sz="quarter" idx="11"/>
          </p:nvPr>
        </p:nvSpPr>
        <p:spPr/>
        <p:txBody>
          <a:bodyPr/>
          <a:lstStyle/>
          <a:p>
            <a:fld id="{9E8169F0-646E-455B-AF5A-6D6C02EAEAF6}" type="slidenum">
              <a:rPr lang="en-GB" noProof="1" dirty="0" smtClean="0"/>
              <a:t>‹#›</a:t>
            </a:fld>
            <a:endParaRPr lang="en-GB" noProof="1"/>
          </a:p>
        </p:txBody>
      </p:sp>
      <p:sp>
        <p:nvSpPr>
          <p:cNvPr id="8" name="ContentColumn2"/>
          <p:cNvSpPr>
            <a:spLocks noGrp="1"/>
          </p:cNvSpPr>
          <p:nvPr>
            <p:ph sz="quarter" idx="16" hasCustomPrompt="1"/>
          </p:nvPr>
        </p:nvSpPr>
        <p:spPr>
          <a:xfrm>
            <a:off x="4777200" y="946800"/>
            <a:ext cx="4176000" cy="3312000"/>
          </a:xfrm>
        </p:spPr>
        <p:txBody>
          <a:bodyPr/>
          <a:lstStyle>
            <a:lvl1pPr marL="132151" marR="0" indent="-132151" algn="l" defTabSz="342875" rtl="0" eaLnBrk="1" fontAlgn="auto" latinLnBrk="0" hangingPunct="1">
              <a:lnSpc>
                <a:spcPct val="100000"/>
              </a:lnSpc>
              <a:spcBef>
                <a:spcPct val="20000"/>
              </a:spcBef>
              <a:spcAft>
                <a:spcPts val="0"/>
              </a:spcAft>
              <a:buClr>
                <a:srgbClr val="E1061C"/>
              </a:buClr>
              <a:buSzTx/>
              <a:buFont typeface="Arial"/>
              <a:buChar char="•"/>
              <a:tabLst/>
              <a:defRPr/>
            </a:lvl1pPr>
            <a:lvl2pPr marL="470261" marR="0" indent="-127388" algn="l" defTabSz="342875" rtl="0" eaLnBrk="1" fontAlgn="auto" latinLnBrk="0" hangingPunct="1">
              <a:lnSpc>
                <a:spcPct val="100000"/>
              </a:lnSpc>
              <a:spcBef>
                <a:spcPct val="20000"/>
              </a:spcBef>
              <a:spcAft>
                <a:spcPts val="0"/>
              </a:spcAft>
              <a:buClr>
                <a:srgbClr val="E1061C"/>
              </a:buClr>
              <a:buSzTx/>
              <a:buFont typeface="Arial"/>
              <a:buChar char="•"/>
              <a:tabLst/>
              <a:defRPr/>
            </a:lvl2pPr>
            <a:lvl3pPr marL="809565" marR="0" indent="-123816" algn="l" defTabSz="342875" rtl="0" eaLnBrk="1" fontAlgn="auto" latinLnBrk="0" hangingPunct="1">
              <a:lnSpc>
                <a:spcPct val="100000"/>
              </a:lnSpc>
              <a:spcBef>
                <a:spcPct val="20000"/>
              </a:spcBef>
              <a:spcAft>
                <a:spcPts val="0"/>
              </a:spcAft>
              <a:buClr>
                <a:srgbClr val="E1061C"/>
              </a:buClr>
              <a:buSzTx/>
              <a:buFont typeface="Arial"/>
              <a:buChar char="•"/>
              <a:tabLst/>
              <a:defRPr/>
            </a:lvl3pPr>
            <a:lvl4pPr marL="1141724" marR="0" indent="-113102" algn="l" defTabSz="342875" rtl="0" eaLnBrk="1" fontAlgn="auto" latinLnBrk="0" hangingPunct="1">
              <a:lnSpc>
                <a:spcPct val="100000"/>
              </a:lnSpc>
              <a:spcBef>
                <a:spcPct val="20000"/>
              </a:spcBef>
              <a:spcAft>
                <a:spcPts val="0"/>
              </a:spcAft>
              <a:buClr>
                <a:srgbClr val="E1061C"/>
              </a:buClr>
              <a:buSzTx/>
              <a:buFont typeface="Arial"/>
              <a:buChar char="•"/>
              <a:tabLst/>
              <a:defRPr/>
            </a:lvl4pPr>
            <a:lvl5pPr marL="1479836" marR="0" indent="-108338" algn="l" defTabSz="342875" rtl="0" eaLnBrk="1" fontAlgn="auto" latinLnBrk="0" hangingPunct="1">
              <a:lnSpc>
                <a:spcPct val="100000"/>
              </a:lnSpc>
              <a:spcBef>
                <a:spcPct val="20000"/>
              </a:spcBef>
              <a:spcAft>
                <a:spcPts val="0"/>
              </a:spcAft>
              <a:buClr>
                <a:srgbClr val="E1061C"/>
              </a:buClr>
              <a:buSzTx/>
              <a:buFont typeface="Arial"/>
              <a:buChar char="•"/>
              <a:tabLst/>
              <a:defRPr/>
            </a:lvl5pPr>
          </a:lstStyle>
          <a:p>
            <a:pPr lvl="0"/>
            <a:r>
              <a:rPr lang="en-GB" noProof="0" dirty="0"/>
              <a:t>Insert text</a:t>
            </a:r>
          </a:p>
          <a:p>
            <a:pPr lvl="1"/>
            <a:r>
              <a:rPr lang="en-GB" noProof="0" dirty="0"/>
              <a:t>2° level</a:t>
            </a:r>
          </a:p>
          <a:p>
            <a:pPr lvl="2"/>
            <a:r>
              <a:rPr lang="en-GB" noProof="0" dirty="0"/>
              <a:t>3° level</a:t>
            </a:r>
          </a:p>
          <a:p>
            <a:pPr lvl="3"/>
            <a:r>
              <a:rPr lang="en-GB" noProof="0" dirty="0"/>
              <a:t>4° level</a:t>
            </a:r>
          </a:p>
          <a:p>
            <a:pPr lvl="4"/>
            <a:r>
              <a:rPr lang="en-GB" noProof="0" dirty="0"/>
              <a:t>5° level</a:t>
            </a:r>
          </a:p>
        </p:txBody>
      </p:sp>
      <p:sp>
        <p:nvSpPr>
          <p:cNvPr id="5" name="ContentColumn1"/>
          <p:cNvSpPr>
            <a:spLocks noGrp="1"/>
          </p:cNvSpPr>
          <p:nvPr>
            <p:ph sz="quarter" idx="15" hasCustomPrompt="1"/>
          </p:nvPr>
        </p:nvSpPr>
        <p:spPr>
          <a:xfrm>
            <a:off x="269875" y="946800"/>
            <a:ext cx="4176000" cy="3312000"/>
          </a:xfrm>
        </p:spPr>
        <p:txBody>
          <a:bodyPr/>
          <a:lstStyle>
            <a:lvl1pPr marL="132151" marR="0" indent="-132151" algn="l" defTabSz="342875" rtl="0" eaLnBrk="1" fontAlgn="auto" latinLnBrk="0" hangingPunct="1">
              <a:lnSpc>
                <a:spcPct val="100000"/>
              </a:lnSpc>
              <a:spcBef>
                <a:spcPct val="20000"/>
              </a:spcBef>
              <a:spcAft>
                <a:spcPts val="0"/>
              </a:spcAft>
              <a:buClr>
                <a:srgbClr val="E1061C"/>
              </a:buClr>
              <a:buSzTx/>
              <a:buFont typeface="Arial"/>
              <a:buChar char="•"/>
              <a:tabLst/>
              <a:defRPr/>
            </a:lvl1pPr>
            <a:lvl2pPr marL="470261" marR="0" indent="-127388" algn="l" defTabSz="342875" rtl="0" eaLnBrk="1" fontAlgn="auto" latinLnBrk="0" hangingPunct="1">
              <a:lnSpc>
                <a:spcPct val="100000"/>
              </a:lnSpc>
              <a:spcBef>
                <a:spcPct val="20000"/>
              </a:spcBef>
              <a:spcAft>
                <a:spcPts val="0"/>
              </a:spcAft>
              <a:buClr>
                <a:srgbClr val="E1061C"/>
              </a:buClr>
              <a:buSzTx/>
              <a:buFont typeface="Arial"/>
              <a:buChar char="•"/>
              <a:tabLst/>
              <a:defRPr/>
            </a:lvl2pPr>
            <a:lvl3pPr marL="809565" marR="0" indent="-123816" algn="l" defTabSz="342875" rtl="0" eaLnBrk="1" fontAlgn="auto" latinLnBrk="0" hangingPunct="1">
              <a:lnSpc>
                <a:spcPct val="100000"/>
              </a:lnSpc>
              <a:spcBef>
                <a:spcPct val="20000"/>
              </a:spcBef>
              <a:spcAft>
                <a:spcPts val="0"/>
              </a:spcAft>
              <a:buClr>
                <a:srgbClr val="E1061C"/>
              </a:buClr>
              <a:buSzTx/>
              <a:buFont typeface="Arial"/>
              <a:buChar char="•"/>
              <a:tabLst/>
              <a:defRPr/>
            </a:lvl3pPr>
            <a:lvl4pPr marL="1141724" marR="0" indent="-113102" algn="l" defTabSz="342875" rtl="0" eaLnBrk="1" fontAlgn="auto" latinLnBrk="0" hangingPunct="1">
              <a:lnSpc>
                <a:spcPct val="100000"/>
              </a:lnSpc>
              <a:spcBef>
                <a:spcPct val="20000"/>
              </a:spcBef>
              <a:spcAft>
                <a:spcPts val="0"/>
              </a:spcAft>
              <a:buClr>
                <a:srgbClr val="E1061C"/>
              </a:buClr>
              <a:buSzTx/>
              <a:buFont typeface="Arial"/>
              <a:buChar char="•"/>
              <a:tabLst/>
              <a:defRPr/>
            </a:lvl4pPr>
            <a:lvl5pPr marL="1479836" marR="0" indent="-108338" algn="l" defTabSz="342875" rtl="0" eaLnBrk="1" fontAlgn="auto" latinLnBrk="0" hangingPunct="1">
              <a:lnSpc>
                <a:spcPct val="100000"/>
              </a:lnSpc>
              <a:spcBef>
                <a:spcPct val="20000"/>
              </a:spcBef>
              <a:spcAft>
                <a:spcPts val="0"/>
              </a:spcAft>
              <a:buClr>
                <a:srgbClr val="E1061C"/>
              </a:buClr>
              <a:buSzTx/>
              <a:buFont typeface="Arial"/>
              <a:buChar char="•"/>
              <a:tabLst/>
              <a:defRPr/>
            </a:lvl5pPr>
          </a:lstStyle>
          <a:p>
            <a:pPr lvl="0"/>
            <a:r>
              <a:rPr lang="en-GB" noProof="0" dirty="0"/>
              <a:t>Insert text</a:t>
            </a:r>
          </a:p>
          <a:p>
            <a:pPr lvl="1"/>
            <a:r>
              <a:rPr lang="en-GB" noProof="0" dirty="0"/>
              <a:t>2° level</a:t>
            </a:r>
          </a:p>
          <a:p>
            <a:pPr lvl="2"/>
            <a:r>
              <a:rPr lang="en-GB" noProof="0" dirty="0"/>
              <a:t>3° level</a:t>
            </a:r>
          </a:p>
          <a:p>
            <a:pPr lvl="3"/>
            <a:r>
              <a:rPr lang="en-GB" noProof="0" dirty="0"/>
              <a:t>4° level</a:t>
            </a:r>
          </a:p>
          <a:p>
            <a:pPr lvl="4"/>
            <a:r>
              <a:rPr lang="en-GB" noProof="0" dirty="0"/>
              <a:t>5° level</a:t>
            </a:r>
          </a:p>
        </p:txBody>
      </p:sp>
      <p:sp>
        <p:nvSpPr>
          <p:cNvPr id="2" name="Title"/>
          <p:cNvSpPr>
            <a:spLocks noGrp="1"/>
          </p:cNvSpPr>
          <p:nvPr>
            <p:ph type="title" hasCustomPrompt="1"/>
          </p:nvPr>
        </p:nvSpPr>
        <p:spPr/>
        <p:txBody>
          <a:bodyPr vert="horz" lIns="0" tIns="0" rIns="0" bIns="0" rtlCol="0" anchor="ctr">
            <a:noAutofit/>
          </a:bodyPr>
          <a:lstStyle>
            <a:lvl1pPr>
              <a:defRPr lang="en-GB" noProof="0" dirty="0"/>
            </a:lvl1pPr>
          </a:lstStyle>
          <a:p>
            <a:pPr lvl="0">
              <a:lnSpc>
                <a:spcPts val="2400"/>
              </a:lnSpc>
            </a:pPr>
            <a:r>
              <a:rPr lang="en-GB" noProof="0" dirty="0"/>
              <a:t>Insert title</a:t>
            </a:r>
          </a:p>
        </p:txBody>
      </p:sp>
    </p:spTree>
    <p:extLst>
      <p:ext uri="{BB962C8B-B14F-4D97-AF65-F5344CB8AC3E}">
        <p14:creationId xmlns:p14="http://schemas.microsoft.com/office/powerpoint/2010/main" val="153434134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nternal Slide - 1 Column Text">
    <p:spTree>
      <p:nvGrpSpPr>
        <p:cNvPr id="1" name=""/>
        <p:cNvGrpSpPr/>
        <p:nvPr/>
      </p:nvGrpSpPr>
      <p:grpSpPr>
        <a:xfrm>
          <a:off x="0" y="0"/>
          <a:ext cx="0" cy="0"/>
          <a:chOff x="0" y="0"/>
          <a:chExt cx="0" cy="0"/>
        </a:xfrm>
      </p:grpSpPr>
      <p:sp>
        <p:nvSpPr>
          <p:cNvPr id="7" name="LegalEntity"/>
          <p:cNvSpPr>
            <a:spLocks noGrp="1"/>
          </p:cNvSpPr>
          <p:nvPr>
            <p:ph type="body" sz="quarter" idx="12" hasCustomPrompt="1"/>
          </p:nvPr>
        </p:nvSpPr>
        <p:spPr>
          <a:xfrm>
            <a:off x="3312000" y="4964400"/>
            <a:ext cx="2520000" cy="144000"/>
          </a:xfrm>
        </p:spPr>
        <p:txBody>
          <a:bodyPr>
            <a:noAutofit/>
          </a:bodyPr>
          <a:lstStyle>
            <a:lvl1pPr marL="0" marR="0" indent="0" algn="ctr" defTabSz="342875" rtl="0" eaLnBrk="1" fontAlgn="auto" latinLnBrk="0" hangingPunct="1">
              <a:lnSpc>
                <a:spcPct val="100000"/>
              </a:lnSpc>
              <a:spcBef>
                <a:spcPct val="20000"/>
              </a:spcBef>
              <a:spcAft>
                <a:spcPts val="0"/>
              </a:spcAft>
              <a:buClr>
                <a:srgbClr val="E1061C"/>
              </a:buClr>
              <a:buSzTx/>
              <a:buFontTx/>
              <a:buNone/>
              <a:tabLst/>
              <a:defRPr sz="1000">
                <a:latin typeface="+mn-lt"/>
              </a:defRPr>
            </a:lvl1pPr>
            <a:lvl2pPr marL="342875" indent="0" algn="ctr">
              <a:buFontTx/>
              <a:buNone/>
              <a:defRPr sz="675"/>
            </a:lvl2pPr>
            <a:lvl3pPr marL="685749" indent="0" algn="ctr">
              <a:buFontTx/>
              <a:buNone/>
              <a:defRPr sz="675"/>
            </a:lvl3pPr>
            <a:lvl4pPr marL="1028624" indent="0" algn="ctr">
              <a:buFontTx/>
              <a:buNone/>
              <a:defRPr sz="675"/>
            </a:lvl4pPr>
            <a:lvl5pPr marL="1371498" indent="0" algn="ctr">
              <a:buFontTx/>
              <a:buNone/>
              <a:defRPr sz="675"/>
            </a:lvl5pPr>
          </a:lstStyle>
          <a:p>
            <a:pPr marL="0" marR="0" lvl="0" indent="0" algn="ctr" defTabSz="342875" rtl="0" eaLnBrk="1" fontAlgn="auto" latinLnBrk="0" hangingPunct="1">
              <a:lnSpc>
                <a:spcPct val="100000"/>
              </a:lnSpc>
              <a:spcBef>
                <a:spcPct val="20000"/>
              </a:spcBef>
              <a:spcAft>
                <a:spcPts val="0"/>
              </a:spcAft>
              <a:buClr>
                <a:srgbClr val="E1061C"/>
              </a:buClr>
              <a:buSzTx/>
              <a:buFontTx/>
              <a:buNone/>
              <a:tabLst/>
              <a:defRPr/>
            </a:pPr>
            <a:r>
              <a:rPr lang="en-GB" noProof="0" dirty="0"/>
              <a:t>[Insert legal entity - classification level]</a:t>
            </a:r>
          </a:p>
        </p:txBody>
      </p:sp>
      <p:sp>
        <p:nvSpPr>
          <p:cNvPr id="8" name="Baseline"/>
          <p:cNvSpPr>
            <a:spLocks noChangeShapeType="1"/>
          </p:cNvSpPr>
          <p:nvPr/>
        </p:nvSpPr>
        <p:spPr bwMode="auto">
          <a:xfrm>
            <a:off x="0" y="4428000"/>
            <a:ext cx="9144000" cy="0"/>
          </a:xfrm>
          <a:prstGeom prst="line">
            <a:avLst/>
          </a:prstGeom>
          <a:noFill/>
          <a:ln w="19050">
            <a:solidFill>
              <a:srgbClr val="00AFD0"/>
            </a:solidFill>
            <a:round/>
            <a:headEnd/>
            <a:tailEnd type="none" w="med" len="med"/>
          </a:ln>
          <a:extLst>
            <a:ext uri="{909E8E84-426E-40DD-AFC4-6F175D3DCCD1}">
              <a14:hiddenFill xmlns:a14="http://schemas.microsoft.com/office/drawing/2010/main">
                <a:noFill/>
              </a14:hiddenFill>
            </a:ext>
          </a:extLst>
        </p:spPr>
        <p:txBody>
          <a:bodyPr lIns="0" tIns="0" rIns="0" bIns="0" anchor="ctr">
            <a:spAutoFit/>
          </a:bodyPr>
          <a:lstStyle/>
          <a:p>
            <a:endParaRPr lang="en-GB" sz="100" noProof="1">
              <a:latin typeface="UniCredit" panose="02000506040000020004" pitchFamily="2" charset="0"/>
              <a:cs typeface="Arial" panose="020B0604020202020204" pitchFamily="34" charset="0"/>
            </a:endParaRPr>
          </a:p>
        </p:txBody>
      </p:sp>
      <p:sp>
        <p:nvSpPr>
          <p:cNvPr id="10" name="Footer"/>
          <p:cNvSpPr>
            <a:spLocks noGrp="1"/>
          </p:cNvSpPr>
          <p:nvPr>
            <p:ph type="body" sz="quarter" idx="16" hasCustomPrompt="1"/>
          </p:nvPr>
        </p:nvSpPr>
        <p:spPr>
          <a:xfrm>
            <a:off x="720000" y="4603750"/>
            <a:ext cx="7704000" cy="360000"/>
          </a:xfrm>
        </p:spPr>
        <p:txBody>
          <a:bodyPr>
            <a:noAutofit/>
          </a:bodyPr>
          <a:lstStyle>
            <a:lvl1pPr marL="0" indent="0">
              <a:buNone/>
              <a:defRPr sz="800">
                <a:latin typeface="+mn-lt"/>
                <a:cs typeface="Arial" panose="020B0604020202020204" pitchFamily="34" charset="0"/>
              </a:defRPr>
            </a:lvl1pPr>
            <a:lvl2pPr marL="342882" indent="0">
              <a:buNone/>
              <a:defRPr sz="700">
                <a:latin typeface="Arial" panose="020B0604020202020204" pitchFamily="34" charset="0"/>
                <a:cs typeface="Arial" panose="020B0604020202020204" pitchFamily="34" charset="0"/>
              </a:defRPr>
            </a:lvl2pPr>
            <a:lvl3pPr marL="685766" indent="0">
              <a:buNone/>
              <a:defRPr sz="700">
                <a:latin typeface="Arial" panose="020B0604020202020204" pitchFamily="34" charset="0"/>
                <a:cs typeface="Arial" panose="020B0604020202020204" pitchFamily="34" charset="0"/>
              </a:defRPr>
            </a:lvl3pPr>
            <a:lvl4pPr marL="1028648" indent="0">
              <a:buNone/>
              <a:defRPr sz="700">
                <a:latin typeface="Arial" panose="020B0604020202020204" pitchFamily="34" charset="0"/>
                <a:cs typeface="Arial" panose="020B0604020202020204" pitchFamily="34" charset="0"/>
              </a:defRPr>
            </a:lvl4pPr>
            <a:lvl5pPr marL="1371532" indent="0">
              <a:buNone/>
              <a:defRPr sz="700">
                <a:latin typeface="Arial" panose="020B0604020202020204" pitchFamily="34" charset="0"/>
                <a:cs typeface="Arial" panose="020B0604020202020204" pitchFamily="34" charset="0"/>
              </a:defRPr>
            </a:lvl5pPr>
          </a:lstStyle>
          <a:p>
            <a:pPr lvl="0"/>
            <a:r>
              <a:rPr lang="en-GB" noProof="0" dirty="0"/>
              <a:t>Insert notes</a:t>
            </a:r>
          </a:p>
        </p:txBody>
      </p:sp>
      <p:sp>
        <p:nvSpPr>
          <p:cNvPr id="4" name="SlideNumber"/>
          <p:cNvSpPr>
            <a:spLocks noGrp="1"/>
          </p:cNvSpPr>
          <p:nvPr>
            <p:ph type="sldNum" sz="quarter" idx="11"/>
          </p:nvPr>
        </p:nvSpPr>
        <p:spPr/>
        <p:txBody>
          <a:bodyPr/>
          <a:lstStyle/>
          <a:p>
            <a:fld id="{9E8169F0-646E-455B-AF5A-6D6C02EAEAF6}" type="slidenum">
              <a:rPr lang="en-GB" noProof="1" dirty="0" smtClean="0"/>
              <a:t>‹#›</a:t>
            </a:fld>
            <a:endParaRPr lang="en-GB" noProof="1"/>
          </a:p>
        </p:txBody>
      </p:sp>
      <p:sp>
        <p:nvSpPr>
          <p:cNvPr id="5" name="Text"/>
          <p:cNvSpPr>
            <a:spLocks noGrp="1"/>
          </p:cNvSpPr>
          <p:nvPr>
            <p:ph sz="quarter" idx="15" hasCustomPrompt="1"/>
          </p:nvPr>
        </p:nvSpPr>
        <p:spPr>
          <a:xfrm>
            <a:off x="269875" y="946800"/>
            <a:ext cx="8679600" cy="3312000"/>
          </a:xfrm>
        </p:spPr>
        <p:txBody>
          <a:bodyPr/>
          <a:lstStyle>
            <a:lvl1pPr marL="132151" marR="0" indent="-132151" algn="l" defTabSz="342875" rtl="0" eaLnBrk="1" fontAlgn="auto" latinLnBrk="0" hangingPunct="1">
              <a:lnSpc>
                <a:spcPct val="100000"/>
              </a:lnSpc>
              <a:spcBef>
                <a:spcPct val="20000"/>
              </a:spcBef>
              <a:spcAft>
                <a:spcPts val="0"/>
              </a:spcAft>
              <a:buClr>
                <a:srgbClr val="E1061C"/>
              </a:buClr>
              <a:buSzTx/>
              <a:buFont typeface="Arial"/>
              <a:buChar char="•"/>
              <a:tabLst/>
              <a:defRPr/>
            </a:lvl1pPr>
            <a:lvl2pPr marL="470261" marR="0" indent="-127388" algn="l" defTabSz="342875" rtl="0" eaLnBrk="1" fontAlgn="auto" latinLnBrk="0" hangingPunct="1">
              <a:lnSpc>
                <a:spcPct val="100000"/>
              </a:lnSpc>
              <a:spcBef>
                <a:spcPct val="20000"/>
              </a:spcBef>
              <a:spcAft>
                <a:spcPts val="0"/>
              </a:spcAft>
              <a:buClr>
                <a:srgbClr val="E1061C"/>
              </a:buClr>
              <a:buSzTx/>
              <a:buFont typeface="Arial"/>
              <a:buChar char="•"/>
              <a:tabLst/>
              <a:defRPr/>
            </a:lvl2pPr>
            <a:lvl3pPr marL="809565" marR="0" indent="-123816" algn="l" defTabSz="342875" rtl="0" eaLnBrk="1" fontAlgn="auto" latinLnBrk="0" hangingPunct="1">
              <a:lnSpc>
                <a:spcPct val="100000"/>
              </a:lnSpc>
              <a:spcBef>
                <a:spcPct val="20000"/>
              </a:spcBef>
              <a:spcAft>
                <a:spcPts val="0"/>
              </a:spcAft>
              <a:buClr>
                <a:srgbClr val="E1061C"/>
              </a:buClr>
              <a:buSzTx/>
              <a:buFont typeface="Arial"/>
              <a:buChar char="•"/>
              <a:tabLst/>
              <a:defRPr/>
            </a:lvl3pPr>
            <a:lvl4pPr marL="1141724" marR="0" indent="-113102" algn="l" defTabSz="342875" rtl="0" eaLnBrk="1" fontAlgn="auto" latinLnBrk="0" hangingPunct="1">
              <a:lnSpc>
                <a:spcPct val="100000"/>
              </a:lnSpc>
              <a:spcBef>
                <a:spcPct val="20000"/>
              </a:spcBef>
              <a:spcAft>
                <a:spcPts val="0"/>
              </a:spcAft>
              <a:buClr>
                <a:srgbClr val="E1061C"/>
              </a:buClr>
              <a:buSzTx/>
              <a:buFont typeface="Arial"/>
              <a:buChar char="•"/>
              <a:tabLst/>
              <a:defRPr/>
            </a:lvl4pPr>
            <a:lvl5pPr marL="1479836" marR="0" indent="-108338" algn="l" defTabSz="342875" rtl="0" eaLnBrk="1" fontAlgn="auto" latinLnBrk="0" hangingPunct="1">
              <a:lnSpc>
                <a:spcPct val="100000"/>
              </a:lnSpc>
              <a:spcBef>
                <a:spcPct val="20000"/>
              </a:spcBef>
              <a:spcAft>
                <a:spcPts val="0"/>
              </a:spcAft>
              <a:buClr>
                <a:srgbClr val="E1061C"/>
              </a:buClr>
              <a:buSzTx/>
              <a:buFont typeface="Arial"/>
              <a:buChar char="•"/>
              <a:tabLst/>
              <a:defRPr/>
            </a:lvl5pPr>
          </a:lstStyle>
          <a:p>
            <a:pPr lvl="0"/>
            <a:r>
              <a:rPr lang="en-GB" noProof="0" dirty="0"/>
              <a:t>Insert text</a:t>
            </a:r>
          </a:p>
          <a:p>
            <a:pPr lvl="1"/>
            <a:r>
              <a:rPr lang="en-GB" noProof="0" dirty="0"/>
              <a:t>2° level</a:t>
            </a:r>
          </a:p>
          <a:p>
            <a:pPr lvl="2"/>
            <a:r>
              <a:rPr lang="en-GB" noProof="0" dirty="0"/>
              <a:t>3° level</a:t>
            </a:r>
          </a:p>
          <a:p>
            <a:pPr lvl="3"/>
            <a:r>
              <a:rPr lang="en-GB" noProof="0" dirty="0"/>
              <a:t>4° level</a:t>
            </a:r>
          </a:p>
          <a:p>
            <a:pPr lvl="4"/>
            <a:r>
              <a:rPr lang="en-GB" noProof="0" dirty="0"/>
              <a:t>5° level</a:t>
            </a:r>
          </a:p>
        </p:txBody>
      </p:sp>
      <p:sp>
        <p:nvSpPr>
          <p:cNvPr id="2" name="Title"/>
          <p:cNvSpPr>
            <a:spLocks noGrp="1"/>
          </p:cNvSpPr>
          <p:nvPr>
            <p:ph type="title" hasCustomPrompt="1"/>
          </p:nvPr>
        </p:nvSpPr>
        <p:spPr/>
        <p:txBody>
          <a:bodyPr vert="horz" lIns="0" tIns="0" rIns="0" bIns="0" rtlCol="0" anchor="ctr">
            <a:noAutofit/>
          </a:bodyPr>
          <a:lstStyle>
            <a:lvl1pPr>
              <a:defRPr lang="en-GB" noProof="0" dirty="0"/>
            </a:lvl1pPr>
          </a:lstStyle>
          <a:p>
            <a:pPr lvl="0">
              <a:lnSpc>
                <a:spcPts val="2400"/>
              </a:lnSpc>
            </a:pPr>
            <a:r>
              <a:rPr lang="en-GB" noProof="0" dirty="0"/>
              <a:t>Insert title</a:t>
            </a:r>
          </a:p>
        </p:txBody>
      </p:sp>
    </p:spTree>
    <p:extLst>
      <p:ext uri="{BB962C8B-B14F-4D97-AF65-F5344CB8AC3E}">
        <p14:creationId xmlns:p14="http://schemas.microsoft.com/office/powerpoint/2010/main" val="147963744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Internal Slide - 2 Columns Text without Line">
    <p:spTree>
      <p:nvGrpSpPr>
        <p:cNvPr id="1" name=""/>
        <p:cNvGrpSpPr/>
        <p:nvPr/>
      </p:nvGrpSpPr>
      <p:grpSpPr>
        <a:xfrm>
          <a:off x="0" y="0"/>
          <a:ext cx="0" cy="0"/>
          <a:chOff x="0" y="0"/>
          <a:chExt cx="0" cy="0"/>
        </a:xfrm>
      </p:grpSpPr>
      <p:sp>
        <p:nvSpPr>
          <p:cNvPr id="7" name="LegalEntity"/>
          <p:cNvSpPr>
            <a:spLocks noGrp="1"/>
          </p:cNvSpPr>
          <p:nvPr>
            <p:ph type="body" sz="quarter" idx="12" hasCustomPrompt="1"/>
          </p:nvPr>
        </p:nvSpPr>
        <p:spPr>
          <a:xfrm>
            <a:off x="3312000" y="4964400"/>
            <a:ext cx="2520000" cy="144000"/>
          </a:xfrm>
        </p:spPr>
        <p:txBody>
          <a:bodyPr>
            <a:noAutofit/>
          </a:bodyPr>
          <a:lstStyle>
            <a:lvl1pPr marL="0" marR="0" indent="0" algn="ctr" defTabSz="342875" rtl="0" eaLnBrk="1" fontAlgn="auto" latinLnBrk="0" hangingPunct="1">
              <a:lnSpc>
                <a:spcPct val="100000"/>
              </a:lnSpc>
              <a:spcBef>
                <a:spcPct val="20000"/>
              </a:spcBef>
              <a:spcAft>
                <a:spcPts val="0"/>
              </a:spcAft>
              <a:buClr>
                <a:srgbClr val="E1061C"/>
              </a:buClr>
              <a:buSzTx/>
              <a:buFontTx/>
              <a:buNone/>
              <a:tabLst/>
              <a:defRPr sz="1000">
                <a:latin typeface="+mn-lt"/>
              </a:defRPr>
            </a:lvl1pPr>
            <a:lvl2pPr marL="342875" indent="0" algn="ctr">
              <a:buFontTx/>
              <a:buNone/>
              <a:defRPr sz="675"/>
            </a:lvl2pPr>
            <a:lvl3pPr marL="685749" indent="0" algn="ctr">
              <a:buFontTx/>
              <a:buNone/>
              <a:defRPr sz="675"/>
            </a:lvl3pPr>
            <a:lvl4pPr marL="1028624" indent="0" algn="ctr">
              <a:buFontTx/>
              <a:buNone/>
              <a:defRPr sz="675"/>
            </a:lvl4pPr>
            <a:lvl5pPr marL="1371498" indent="0" algn="ctr">
              <a:buFontTx/>
              <a:buNone/>
              <a:defRPr sz="675"/>
            </a:lvl5pPr>
          </a:lstStyle>
          <a:p>
            <a:pPr marL="0" marR="0" lvl="0" indent="0" algn="ctr" defTabSz="342875" rtl="0" eaLnBrk="1" fontAlgn="auto" latinLnBrk="0" hangingPunct="1">
              <a:lnSpc>
                <a:spcPct val="100000"/>
              </a:lnSpc>
              <a:spcBef>
                <a:spcPct val="20000"/>
              </a:spcBef>
              <a:spcAft>
                <a:spcPts val="0"/>
              </a:spcAft>
              <a:buClr>
                <a:srgbClr val="E1061C"/>
              </a:buClr>
              <a:buSzTx/>
              <a:buFontTx/>
              <a:buNone/>
              <a:tabLst/>
              <a:defRPr/>
            </a:pPr>
            <a:r>
              <a:rPr lang="en-GB" noProof="0" dirty="0"/>
              <a:t>[Insert legal entity - classification level]</a:t>
            </a:r>
          </a:p>
        </p:txBody>
      </p:sp>
      <p:sp>
        <p:nvSpPr>
          <p:cNvPr id="10" name="Footer"/>
          <p:cNvSpPr>
            <a:spLocks noGrp="1"/>
          </p:cNvSpPr>
          <p:nvPr>
            <p:ph type="body" sz="quarter" idx="17" hasCustomPrompt="1"/>
          </p:nvPr>
        </p:nvSpPr>
        <p:spPr>
          <a:xfrm>
            <a:off x="720000" y="4603750"/>
            <a:ext cx="7704000" cy="360000"/>
          </a:xfrm>
        </p:spPr>
        <p:txBody>
          <a:bodyPr>
            <a:noAutofit/>
          </a:bodyPr>
          <a:lstStyle>
            <a:lvl1pPr marL="0" indent="0">
              <a:buNone/>
              <a:defRPr sz="800">
                <a:latin typeface="+mn-lt"/>
                <a:cs typeface="Arial" panose="020B0604020202020204" pitchFamily="34" charset="0"/>
              </a:defRPr>
            </a:lvl1pPr>
            <a:lvl2pPr marL="342882" indent="0">
              <a:buNone/>
              <a:defRPr sz="700">
                <a:latin typeface="Arial" panose="020B0604020202020204" pitchFamily="34" charset="0"/>
                <a:cs typeface="Arial" panose="020B0604020202020204" pitchFamily="34" charset="0"/>
              </a:defRPr>
            </a:lvl2pPr>
            <a:lvl3pPr marL="685766" indent="0">
              <a:buNone/>
              <a:defRPr sz="700">
                <a:latin typeface="Arial" panose="020B0604020202020204" pitchFamily="34" charset="0"/>
                <a:cs typeface="Arial" panose="020B0604020202020204" pitchFamily="34" charset="0"/>
              </a:defRPr>
            </a:lvl3pPr>
            <a:lvl4pPr marL="1028648" indent="0">
              <a:buNone/>
              <a:defRPr sz="700">
                <a:latin typeface="Arial" panose="020B0604020202020204" pitchFamily="34" charset="0"/>
                <a:cs typeface="Arial" panose="020B0604020202020204" pitchFamily="34" charset="0"/>
              </a:defRPr>
            </a:lvl4pPr>
            <a:lvl5pPr marL="1371532" indent="0">
              <a:buNone/>
              <a:defRPr sz="700">
                <a:latin typeface="Arial" panose="020B0604020202020204" pitchFamily="34" charset="0"/>
                <a:cs typeface="Arial" panose="020B0604020202020204" pitchFamily="34" charset="0"/>
              </a:defRPr>
            </a:lvl5pPr>
          </a:lstStyle>
          <a:p>
            <a:pPr lvl="0"/>
            <a:r>
              <a:rPr lang="en-GB" noProof="0" dirty="0"/>
              <a:t>Insert notes</a:t>
            </a:r>
          </a:p>
        </p:txBody>
      </p:sp>
      <p:sp>
        <p:nvSpPr>
          <p:cNvPr id="4" name="SlideNumber"/>
          <p:cNvSpPr>
            <a:spLocks noGrp="1"/>
          </p:cNvSpPr>
          <p:nvPr>
            <p:ph type="sldNum" sz="quarter" idx="11"/>
          </p:nvPr>
        </p:nvSpPr>
        <p:spPr/>
        <p:txBody>
          <a:bodyPr/>
          <a:lstStyle/>
          <a:p>
            <a:fld id="{9E8169F0-646E-455B-AF5A-6D6C02EAEAF6}" type="slidenum">
              <a:rPr lang="en-GB" noProof="1" dirty="0" smtClean="0"/>
              <a:t>‹#›</a:t>
            </a:fld>
            <a:endParaRPr lang="en-GB" noProof="1"/>
          </a:p>
        </p:txBody>
      </p:sp>
      <p:sp>
        <p:nvSpPr>
          <p:cNvPr id="8" name="ContentColumn2"/>
          <p:cNvSpPr>
            <a:spLocks noGrp="1"/>
          </p:cNvSpPr>
          <p:nvPr>
            <p:ph sz="quarter" idx="16" hasCustomPrompt="1"/>
          </p:nvPr>
        </p:nvSpPr>
        <p:spPr>
          <a:xfrm>
            <a:off x="4777200" y="946800"/>
            <a:ext cx="4176000" cy="3312000"/>
          </a:xfrm>
        </p:spPr>
        <p:txBody>
          <a:bodyPr/>
          <a:lstStyle>
            <a:lvl1pPr marL="132151" marR="0" indent="-132151" algn="l" defTabSz="342875" rtl="0" eaLnBrk="1" fontAlgn="auto" latinLnBrk="0" hangingPunct="1">
              <a:lnSpc>
                <a:spcPct val="100000"/>
              </a:lnSpc>
              <a:spcBef>
                <a:spcPct val="20000"/>
              </a:spcBef>
              <a:spcAft>
                <a:spcPts val="0"/>
              </a:spcAft>
              <a:buClr>
                <a:srgbClr val="E1061C"/>
              </a:buClr>
              <a:buSzTx/>
              <a:buFont typeface="Arial"/>
              <a:buChar char="•"/>
              <a:tabLst/>
              <a:defRPr/>
            </a:lvl1pPr>
            <a:lvl2pPr marL="470261" marR="0" indent="-127388" algn="l" defTabSz="342875" rtl="0" eaLnBrk="1" fontAlgn="auto" latinLnBrk="0" hangingPunct="1">
              <a:lnSpc>
                <a:spcPct val="100000"/>
              </a:lnSpc>
              <a:spcBef>
                <a:spcPct val="20000"/>
              </a:spcBef>
              <a:spcAft>
                <a:spcPts val="0"/>
              </a:spcAft>
              <a:buClr>
                <a:srgbClr val="E1061C"/>
              </a:buClr>
              <a:buSzTx/>
              <a:buFont typeface="Arial"/>
              <a:buChar char="•"/>
              <a:tabLst/>
              <a:defRPr/>
            </a:lvl2pPr>
            <a:lvl3pPr marL="809565" marR="0" indent="-123816" algn="l" defTabSz="342875" rtl="0" eaLnBrk="1" fontAlgn="auto" latinLnBrk="0" hangingPunct="1">
              <a:lnSpc>
                <a:spcPct val="100000"/>
              </a:lnSpc>
              <a:spcBef>
                <a:spcPct val="20000"/>
              </a:spcBef>
              <a:spcAft>
                <a:spcPts val="0"/>
              </a:spcAft>
              <a:buClr>
                <a:srgbClr val="E1061C"/>
              </a:buClr>
              <a:buSzTx/>
              <a:buFont typeface="Arial"/>
              <a:buChar char="•"/>
              <a:tabLst/>
              <a:defRPr/>
            </a:lvl3pPr>
            <a:lvl4pPr marL="1141724" marR="0" indent="-113102" algn="l" defTabSz="342875" rtl="0" eaLnBrk="1" fontAlgn="auto" latinLnBrk="0" hangingPunct="1">
              <a:lnSpc>
                <a:spcPct val="100000"/>
              </a:lnSpc>
              <a:spcBef>
                <a:spcPct val="20000"/>
              </a:spcBef>
              <a:spcAft>
                <a:spcPts val="0"/>
              </a:spcAft>
              <a:buClr>
                <a:srgbClr val="E1061C"/>
              </a:buClr>
              <a:buSzTx/>
              <a:buFont typeface="Arial"/>
              <a:buChar char="•"/>
              <a:tabLst/>
              <a:defRPr/>
            </a:lvl4pPr>
            <a:lvl5pPr marL="1479836" marR="0" indent="-108338" algn="l" defTabSz="342875" rtl="0" eaLnBrk="1" fontAlgn="auto" latinLnBrk="0" hangingPunct="1">
              <a:lnSpc>
                <a:spcPct val="100000"/>
              </a:lnSpc>
              <a:spcBef>
                <a:spcPct val="20000"/>
              </a:spcBef>
              <a:spcAft>
                <a:spcPts val="0"/>
              </a:spcAft>
              <a:buClr>
                <a:srgbClr val="E1061C"/>
              </a:buClr>
              <a:buSzTx/>
              <a:buFont typeface="Arial"/>
              <a:buChar char="•"/>
              <a:tabLst/>
              <a:defRPr/>
            </a:lvl5pPr>
          </a:lstStyle>
          <a:p>
            <a:pPr lvl="0"/>
            <a:r>
              <a:rPr lang="en-GB" noProof="0" dirty="0"/>
              <a:t>Insert text</a:t>
            </a:r>
          </a:p>
          <a:p>
            <a:pPr lvl="1"/>
            <a:r>
              <a:rPr lang="en-GB" noProof="0" dirty="0"/>
              <a:t>2° level</a:t>
            </a:r>
          </a:p>
          <a:p>
            <a:pPr lvl="2"/>
            <a:r>
              <a:rPr lang="en-GB" noProof="0" dirty="0"/>
              <a:t>3° level</a:t>
            </a:r>
          </a:p>
          <a:p>
            <a:pPr lvl="3"/>
            <a:r>
              <a:rPr lang="en-GB" noProof="0" dirty="0"/>
              <a:t>4° level</a:t>
            </a:r>
          </a:p>
          <a:p>
            <a:pPr lvl="4"/>
            <a:r>
              <a:rPr lang="en-GB" noProof="0" dirty="0"/>
              <a:t>5° level</a:t>
            </a:r>
          </a:p>
        </p:txBody>
      </p:sp>
      <p:sp>
        <p:nvSpPr>
          <p:cNvPr id="5" name="ContentColumn1"/>
          <p:cNvSpPr>
            <a:spLocks noGrp="1"/>
          </p:cNvSpPr>
          <p:nvPr>
            <p:ph sz="quarter" idx="15" hasCustomPrompt="1"/>
          </p:nvPr>
        </p:nvSpPr>
        <p:spPr>
          <a:xfrm>
            <a:off x="269875" y="946800"/>
            <a:ext cx="4176000" cy="3312000"/>
          </a:xfrm>
        </p:spPr>
        <p:txBody>
          <a:bodyPr/>
          <a:lstStyle>
            <a:lvl1pPr marL="132151" marR="0" indent="-132151" algn="l" defTabSz="342875" rtl="0" eaLnBrk="1" fontAlgn="auto" latinLnBrk="0" hangingPunct="1">
              <a:lnSpc>
                <a:spcPct val="100000"/>
              </a:lnSpc>
              <a:spcBef>
                <a:spcPct val="20000"/>
              </a:spcBef>
              <a:spcAft>
                <a:spcPts val="0"/>
              </a:spcAft>
              <a:buClr>
                <a:srgbClr val="E1061C"/>
              </a:buClr>
              <a:buSzTx/>
              <a:buFont typeface="Arial"/>
              <a:buChar char="•"/>
              <a:tabLst/>
              <a:defRPr/>
            </a:lvl1pPr>
            <a:lvl2pPr marL="470261" marR="0" indent="-127388" algn="l" defTabSz="342875" rtl="0" eaLnBrk="1" fontAlgn="auto" latinLnBrk="0" hangingPunct="1">
              <a:lnSpc>
                <a:spcPct val="100000"/>
              </a:lnSpc>
              <a:spcBef>
                <a:spcPct val="20000"/>
              </a:spcBef>
              <a:spcAft>
                <a:spcPts val="0"/>
              </a:spcAft>
              <a:buClr>
                <a:srgbClr val="E1061C"/>
              </a:buClr>
              <a:buSzTx/>
              <a:buFont typeface="Arial"/>
              <a:buChar char="•"/>
              <a:tabLst/>
              <a:defRPr/>
            </a:lvl2pPr>
            <a:lvl3pPr marL="809565" marR="0" indent="-123816" algn="l" defTabSz="342875" rtl="0" eaLnBrk="1" fontAlgn="auto" latinLnBrk="0" hangingPunct="1">
              <a:lnSpc>
                <a:spcPct val="100000"/>
              </a:lnSpc>
              <a:spcBef>
                <a:spcPct val="20000"/>
              </a:spcBef>
              <a:spcAft>
                <a:spcPts val="0"/>
              </a:spcAft>
              <a:buClr>
                <a:srgbClr val="E1061C"/>
              </a:buClr>
              <a:buSzTx/>
              <a:buFont typeface="Arial"/>
              <a:buChar char="•"/>
              <a:tabLst/>
              <a:defRPr/>
            </a:lvl3pPr>
            <a:lvl4pPr marL="1141724" marR="0" indent="-113102" algn="l" defTabSz="342875" rtl="0" eaLnBrk="1" fontAlgn="auto" latinLnBrk="0" hangingPunct="1">
              <a:lnSpc>
                <a:spcPct val="100000"/>
              </a:lnSpc>
              <a:spcBef>
                <a:spcPct val="20000"/>
              </a:spcBef>
              <a:spcAft>
                <a:spcPts val="0"/>
              </a:spcAft>
              <a:buClr>
                <a:srgbClr val="E1061C"/>
              </a:buClr>
              <a:buSzTx/>
              <a:buFont typeface="Arial"/>
              <a:buChar char="•"/>
              <a:tabLst/>
              <a:defRPr/>
            </a:lvl4pPr>
            <a:lvl5pPr marL="1479836" marR="0" indent="-108338" algn="l" defTabSz="342875" rtl="0" eaLnBrk="1" fontAlgn="auto" latinLnBrk="0" hangingPunct="1">
              <a:lnSpc>
                <a:spcPct val="100000"/>
              </a:lnSpc>
              <a:spcBef>
                <a:spcPct val="20000"/>
              </a:spcBef>
              <a:spcAft>
                <a:spcPts val="0"/>
              </a:spcAft>
              <a:buClr>
                <a:srgbClr val="E1061C"/>
              </a:buClr>
              <a:buSzTx/>
              <a:buFont typeface="Arial"/>
              <a:buChar char="•"/>
              <a:tabLst/>
              <a:defRPr/>
            </a:lvl5pPr>
          </a:lstStyle>
          <a:p>
            <a:pPr lvl="0"/>
            <a:r>
              <a:rPr lang="en-GB" noProof="0" dirty="0"/>
              <a:t>Insert text</a:t>
            </a:r>
          </a:p>
          <a:p>
            <a:pPr lvl="1"/>
            <a:r>
              <a:rPr lang="en-GB" noProof="0" dirty="0"/>
              <a:t>2° level</a:t>
            </a:r>
          </a:p>
          <a:p>
            <a:pPr lvl="2"/>
            <a:r>
              <a:rPr lang="en-GB" noProof="0" dirty="0"/>
              <a:t>3° level</a:t>
            </a:r>
          </a:p>
          <a:p>
            <a:pPr lvl="3"/>
            <a:r>
              <a:rPr lang="en-GB" noProof="0" dirty="0"/>
              <a:t>4° level</a:t>
            </a:r>
          </a:p>
          <a:p>
            <a:pPr lvl="4"/>
            <a:r>
              <a:rPr lang="en-GB" noProof="0" dirty="0"/>
              <a:t>5° level</a:t>
            </a:r>
          </a:p>
        </p:txBody>
      </p:sp>
      <p:sp>
        <p:nvSpPr>
          <p:cNvPr id="2" name="Title"/>
          <p:cNvSpPr>
            <a:spLocks noGrp="1"/>
          </p:cNvSpPr>
          <p:nvPr>
            <p:ph type="title" hasCustomPrompt="1"/>
          </p:nvPr>
        </p:nvSpPr>
        <p:spPr/>
        <p:txBody>
          <a:bodyPr vert="horz" lIns="0" tIns="0" rIns="0" bIns="0" rtlCol="0" anchor="ctr">
            <a:noAutofit/>
          </a:bodyPr>
          <a:lstStyle>
            <a:lvl1pPr>
              <a:defRPr lang="en-GB" noProof="0" dirty="0"/>
            </a:lvl1pPr>
          </a:lstStyle>
          <a:p>
            <a:pPr lvl="0">
              <a:lnSpc>
                <a:spcPts val="2400"/>
              </a:lnSpc>
            </a:pPr>
            <a:r>
              <a:rPr lang="en-GB" noProof="0" dirty="0"/>
              <a:t>Insert title</a:t>
            </a:r>
          </a:p>
        </p:txBody>
      </p:sp>
    </p:spTree>
    <p:extLst>
      <p:ext uri="{BB962C8B-B14F-4D97-AF65-F5344CB8AC3E}">
        <p14:creationId xmlns:p14="http://schemas.microsoft.com/office/powerpoint/2010/main" val="417703247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7" name="LegalEntity"/>
          <p:cNvSpPr>
            <a:spLocks noGrp="1"/>
          </p:cNvSpPr>
          <p:nvPr>
            <p:ph type="body" sz="quarter" idx="12" hasCustomPrompt="1"/>
          </p:nvPr>
        </p:nvSpPr>
        <p:spPr>
          <a:xfrm>
            <a:off x="3312000" y="4964400"/>
            <a:ext cx="2520000" cy="144000"/>
          </a:xfrm>
        </p:spPr>
        <p:txBody>
          <a:bodyPr>
            <a:noAutofit/>
          </a:bodyPr>
          <a:lstStyle>
            <a:lvl1pPr marL="0" marR="0" indent="0" algn="ctr" defTabSz="342875" rtl="0" eaLnBrk="1" fontAlgn="auto" latinLnBrk="0" hangingPunct="1">
              <a:lnSpc>
                <a:spcPct val="100000"/>
              </a:lnSpc>
              <a:spcBef>
                <a:spcPct val="20000"/>
              </a:spcBef>
              <a:spcAft>
                <a:spcPts val="0"/>
              </a:spcAft>
              <a:buClr>
                <a:srgbClr val="E1061C"/>
              </a:buClr>
              <a:buSzTx/>
              <a:buFontTx/>
              <a:buNone/>
              <a:tabLst/>
              <a:defRPr sz="1000">
                <a:latin typeface="+mn-lt"/>
              </a:defRPr>
            </a:lvl1pPr>
            <a:lvl2pPr marL="342875" indent="0" algn="ctr">
              <a:buFontTx/>
              <a:buNone/>
              <a:defRPr sz="675"/>
            </a:lvl2pPr>
            <a:lvl3pPr marL="685749" indent="0" algn="ctr">
              <a:buFontTx/>
              <a:buNone/>
              <a:defRPr sz="675"/>
            </a:lvl3pPr>
            <a:lvl4pPr marL="1028624" indent="0" algn="ctr">
              <a:buFontTx/>
              <a:buNone/>
              <a:defRPr sz="675"/>
            </a:lvl4pPr>
            <a:lvl5pPr marL="1371498" indent="0" algn="ctr">
              <a:buFontTx/>
              <a:buNone/>
              <a:defRPr sz="675"/>
            </a:lvl5pPr>
          </a:lstStyle>
          <a:p>
            <a:pPr marL="0" marR="0" lvl="0" indent="0" algn="ctr" defTabSz="342875" rtl="0" eaLnBrk="1" fontAlgn="auto" latinLnBrk="0" hangingPunct="1">
              <a:lnSpc>
                <a:spcPct val="100000"/>
              </a:lnSpc>
              <a:spcBef>
                <a:spcPct val="20000"/>
              </a:spcBef>
              <a:spcAft>
                <a:spcPts val="0"/>
              </a:spcAft>
              <a:buClr>
                <a:srgbClr val="E1061C"/>
              </a:buClr>
              <a:buSzTx/>
              <a:buFontTx/>
              <a:buNone/>
              <a:tabLst/>
              <a:defRPr/>
            </a:pPr>
            <a:r>
              <a:rPr lang="en-GB" noProof="0" dirty="0"/>
              <a:t>[Insert legal entity - classification level]</a:t>
            </a:r>
          </a:p>
        </p:txBody>
      </p:sp>
      <p:sp>
        <p:nvSpPr>
          <p:cNvPr id="8" name="Footer"/>
          <p:cNvSpPr>
            <a:spLocks noGrp="1"/>
          </p:cNvSpPr>
          <p:nvPr>
            <p:ph type="body" sz="quarter" idx="16" hasCustomPrompt="1"/>
          </p:nvPr>
        </p:nvSpPr>
        <p:spPr>
          <a:xfrm>
            <a:off x="720000" y="4603750"/>
            <a:ext cx="7704000" cy="360000"/>
          </a:xfrm>
        </p:spPr>
        <p:txBody>
          <a:bodyPr>
            <a:noAutofit/>
          </a:bodyPr>
          <a:lstStyle>
            <a:lvl1pPr marL="0" indent="0">
              <a:buNone/>
              <a:defRPr sz="800">
                <a:latin typeface="+mn-lt"/>
                <a:cs typeface="Arial" panose="020B0604020202020204" pitchFamily="34" charset="0"/>
              </a:defRPr>
            </a:lvl1pPr>
            <a:lvl2pPr marL="342882" indent="0">
              <a:buNone/>
              <a:defRPr sz="700">
                <a:latin typeface="Arial" panose="020B0604020202020204" pitchFamily="34" charset="0"/>
                <a:cs typeface="Arial" panose="020B0604020202020204" pitchFamily="34" charset="0"/>
              </a:defRPr>
            </a:lvl2pPr>
            <a:lvl3pPr marL="685766" indent="0">
              <a:buNone/>
              <a:defRPr sz="700">
                <a:latin typeface="Arial" panose="020B0604020202020204" pitchFamily="34" charset="0"/>
                <a:cs typeface="Arial" panose="020B0604020202020204" pitchFamily="34" charset="0"/>
              </a:defRPr>
            </a:lvl3pPr>
            <a:lvl4pPr marL="1028648" indent="0">
              <a:buNone/>
              <a:defRPr sz="700">
                <a:latin typeface="Arial" panose="020B0604020202020204" pitchFamily="34" charset="0"/>
                <a:cs typeface="Arial" panose="020B0604020202020204" pitchFamily="34" charset="0"/>
              </a:defRPr>
            </a:lvl4pPr>
            <a:lvl5pPr marL="1371532" indent="0">
              <a:buNone/>
              <a:defRPr sz="700">
                <a:latin typeface="Arial" panose="020B0604020202020204" pitchFamily="34" charset="0"/>
                <a:cs typeface="Arial" panose="020B0604020202020204" pitchFamily="34" charset="0"/>
              </a:defRPr>
            </a:lvl5pPr>
          </a:lstStyle>
          <a:p>
            <a:pPr lvl="0"/>
            <a:r>
              <a:rPr lang="en-GB" noProof="0" dirty="0"/>
              <a:t>Insert notes</a:t>
            </a:r>
          </a:p>
        </p:txBody>
      </p:sp>
      <p:sp>
        <p:nvSpPr>
          <p:cNvPr id="4" name="SlideNumber"/>
          <p:cNvSpPr>
            <a:spLocks noGrp="1"/>
          </p:cNvSpPr>
          <p:nvPr>
            <p:ph type="sldNum" sz="quarter" idx="11"/>
          </p:nvPr>
        </p:nvSpPr>
        <p:spPr/>
        <p:txBody>
          <a:bodyPr/>
          <a:lstStyle/>
          <a:p>
            <a:fld id="{9E8169F0-646E-455B-AF5A-6D6C02EAEAF6}" type="slidenum">
              <a:rPr lang="en-GB" noProof="1" dirty="0" smtClean="0"/>
              <a:t>‹#›</a:t>
            </a:fld>
            <a:endParaRPr lang="en-GB" noProof="1"/>
          </a:p>
        </p:txBody>
      </p:sp>
      <p:sp>
        <p:nvSpPr>
          <p:cNvPr id="5" name="Text"/>
          <p:cNvSpPr>
            <a:spLocks noGrp="1"/>
          </p:cNvSpPr>
          <p:nvPr>
            <p:ph type="body" sz="quarter" idx="15" hasCustomPrompt="1"/>
          </p:nvPr>
        </p:nvSpPr>
        <p:spPr>
          <a:xfrm>
            <a:off x="270000" y="946800"/>
            <a:ext cx="8683200" cy="3312000"/>
          </a:xfrm>
        </p:spPr>
        <p:txBody>
          <a:bodyPr anchor="ctr">
            <a:noAutofit/>
          </a:bodyPr>
          <a:lstStyle>
            <a:lvl1pPr marL="266393" indent="-266393">
              <a:spcBef>
                <a:spcPts val="432"/>
              </a:spcBef>
              <a:defRPr sz="1800"/>
            </a:lvl1pPr>
            <a:lvl2pPr>
              <a:spcBef>
                <a:spcPts val="432"/>
              </a:spcBef>
              <a:defRPr sz="1800"/>
            </a:lvl2pPr>
            <a:lvl3pPr>
              <a:spcBef>
                <a:spcPts val="432"/>
              </a:spcBef>
              <a:defRPr sz="1800"/>
            </a:lvl3pPr>
            <a:lvl4pPr>
              <a:spcBef>
                <a:spcPts val="432"/>
              </a:spcBef>
              <a:defRPr sz="1800"/>
            </a:lvl4pPr>
            <a:lvl5pPr>
              <a:spcBef>
                <a:spcPts val="432"/>
              </a:spcBef>
              <a:defRPr sz="1800"/>
            </a:lvl5pPr>
          </a:lstStyle>
          <a:p>
            <a:pPr lvl="0"/>
            <a:r>
              <a:rPr lang="en-GB" noProof="0" dirty="0"/>
              <a:t>Insert text</a:t>
            </a:r>
          </a:p>
          <a:p>
            <a:pPr lvl="1"/>
            <a:r>
              <a:rPr lang="en-GB" noProof="0" dirty="0"/>
              <a:t>2° level</a:t>
            </a:r>
          </a:p>
          <a:p>
            <a:pPr lvl="2"/>
            <a:r>
              <a:rPr lang="en-GB" noProof="0" dirty="0"/>
              <a:t>3° level</a:t>
            </a:r>
          </a:p>
          <a:p>
            <a:pPr lvl="3"/>
            <a:r>
              <a:rPr lang="en-GB" noProof="0" dirty="0"/>
              <a:t>4° level</a:t>
            </a:r>
          </a:p>
          <a:p>
            <a:pPr lvl="4"/>
            <a:r>
              <a:rPr lang="en-GB" noProof="0" dirty="0"/>
              <a:t>5° level</a:t>
            </a:r>
          </a:p>
        </p:txBody>
      </p:sp>
      <p:sp>
        <p:nvSpPr>
          <p:cNvPr id="2" name="Title"/>
          <p:cNvSpPr>
            <a:spLocks noGrp="1"/>
          </p:cNvSpPr>
          <p:nvPr>
            <p:ph type="title" hasCustomPrompt="1"/>
          </p:nvPr>
        </p:nvSpPr>
        <p:spPr>
          <a:xfrm>
            <a:off x="270000" y="0"/>
            <a:ext cx="8679600" cy="702000"/>
          </a:xfrm>
        </p:spPr>
        <p:txBody>
          <a:bodyPr vert="horz" lIns="0" tIns="0" rIns="0" bIns="0" rtlCol="0" anchor="ctr">
            <a:noAutofit/>
          </a:bodyPr>
          <a:lstStyle>
            <a:lvl1pPr>
              <a:defRPr lang="en-GB" noProof="0" dirty="0"/>
            </a:lvl1pPr>
          </a:lstStyle>
          <a:p>
            <a:pPr lvl="0">
              <a:lnSpc>
                <a:spcPts val="2400"/>
              </a:lnSpc>
            </a:pPr>
            <a:r>
              <a:rPr lang="en-GB" noProof="0" dirty="0"/>
              <a:t>Insert agenda</a:t>
            </a:r>
          </a:p>
        </p:txBody>
      </p:sp>
    </p:spTree>
    <p:extLst>
      <p:ext uri="{BB962C8B-B14F-4D97-AF65-F5344CB8AC3E}">
        <p14:creationId xmlns:p14="http://schemas.microsoft.com/office/powerpoint/2010/main" val="290433851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le page - Text - One Bank">
    <p:spTree>
      <p:nvGrpSpPr>
        <p:cNvPr id="1" name=""/>
        <p:cNvGrpSpPr/>
        <p:nvPr/>
      </p:nvGrpSpPr>
      <p:grpSpPr>
        <a:xfrm>
          <a:off x="0" y="0"/>
          <a:ext cx="0" cy="0"/>
          <a:chOff x="0" y="0"/>
          <a:chExt cx="0" cy="0"/>
        </a:xfrm>
      </p:grpSpPr>
      <p:sp>
        <p:nvSpPr>
          <p:cNvPr id="5" name="BlueGradient"/>
          <p:cNvSpPr/>
          <p:nvPr/>
        </p:nvSpPr>
        <p:spPr bwMode="gray">
          <a:xfrm>
            <a:off x="0" y="2876400"/>
            <a:ext cx="9144000" cy="2268000"/>
          </a:xfrm>
          <a:prstGeom prst="rect">
            <a:avLst/>
          </a:prstGeom>
          <a:gradFill flip="none" rotWithShape="1">
            <a:gsLst>
              <a:gs pos="11000">
                <a:schemeClr val="bg1">
                  <a:alpha val="78000"/>
                </a:schemeClr>
              </a:gs>
              <a:gs pos="100000">
                <a:srgbClr val="2EAEDA">
                  <a:alpha val="78000"/>
                </a:srgbClr>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 noProof="1">
              <a:noFill/>
              <a:latin typeface="UniCredit" panose="02000506040000020004" pitchFamily="2" charset="0"/>
              <a:cs typeface="Arial" panose="020B0604020202020204" pitchFamily="34" charset="0"/>
            </a:endParaRPr>
          </a:p>
        </p:txBody>
      </p:sp>
      <p:sp>
        <p:nvSpPr>
          <p:cNvPr id="4" name="LegalEntity"/>
          <p:cNvSpPr>
            <a:spLocks noGrp="1"/>
          </p:cNvSpPr>
          <p:nvPr>
            <p:ph type="body" sz="quarter" idx="13" hasCustomPrompt="1"/>
          </p:nvPr>
        </p:nvSpPr>
        <p:spPr>
          <a:xfrm>
            <a:off x="5943600" y="3128400"/>
            <a:ext cx="2880000" cy="208800"/>
          </a:xfrm>
          <a:prstGeom prst="rect">
            <a:avLst/>
          </a:prstGeom>
        </p:spPr>
        <p:txBody>
          <a:bodyPr lIns="0" tIns="0" rIns="0" bIns="0">
            <a:noAutofit/>
          </a:bodyPr>
          <a:lstStyle>
            <a:lvl1pPr marL="0" indent="0" algn="r">
              <a:buFontTx/>
              <a:buNone/>
              <a:defRPr sz="1200"/>
            </a:lvl1pPr>
            <a:lvl2pPr marL="356373" indent="0" algn="r">
              <a:buFontTx/>
              <a:buNone/>
              <a:defRPr sz="900"/>
            </a:lvl2pPr>
            <a:lvl3pPr algn="r">
              <a:buFontTx/>
              <a:buNone/>
              <a:defRPr sz="900"/>
            </a:lvl3pPr>
            <a:lvl4pPr marL="1069119" indent="0" algn="r">
              <a:buFontTx/>
              <a:buNone/>
              <a:defRPr sz="900"/>
            </a:lvl4pPr>
            <a:lvl5pPr marL="1501088" indent="0" algn="r">
              <a:buFontTx/>
              <a:buNone/>
              <a:defRPr sz="900"/>
            </a:lvl5pPr>
          </a:lstStyle>
          <a:p>
            <a:pPr lvl="0"/>
            <a:r>
              <a:rPr lang="en-GB" noProof="0" dirty="0"/>
              <a:t>[Insert legal entity - classification level]</a:t>
            </a:r>
          </a:p>
        </p:txBody>
      </p:sp>
      <p:sp>
        <p:nvSpPr>
          <p:cNvPr id="10" name="CityDate"/>
          <p:cNvSpPr>
            <a:spLocks noGrp="1"/>
          </p:cNvSpPr>
          <p:nvPr>
            <p:ph type="body" sz="quarter" idx="18" hasCustomPrompt="1"/>
          </p:nvPr>
        </p:nvSpPr>
        <p:spPr>
          <a:xfrm>
            <a:off x="540000" y="3398400"/>
            <a:ext cx="5040000" cy="208800"/>
          </a:xfrm>
        </p:spPr>
        <p:txBody>
          <a:bodyPr anchor="b">
            <a:normAutofit/>
          </a:bodyPr>
          <a:lstStyle>
            <a:lvl1pPr marL="0" indent="0" fontAlgn="auto">
              <a:spcBef>
                <a:spcPts val="0"/>
              </a:spcBef>
              <a:spcAft>
                <a:spcPts val="0"/>
              </a:spcAft>
              <a:buNone/>
              <a:defRPr sz="1200" b="1">
                <a:latin typeface="+mn-lt"/>
              </a:defRPr>
            </a:lvl1pPr>
          </a:lstStyle>
          <a:p>
            <a:pPr fontAlgn="auto">
              <a:spcBef>
                <a:spcPts val="0"/>
              </a:spcBef>
              <a:spcAft>
                <a:spcPts val="0"/>
              </a:spcAft>
            </a:pPr>
            <a:r>
              <a:rPr lang="en-GB" noProof="0" dirty="0"/>
              <a:t>Insert city and date</a:t>
            </a:r>
          </a:p>
        </p:txBody>
      </p:sp>
      <p:sp>
        <p:nvSpPr>
          <p:cNvPr id="9" name="NameFunction"/>
          <p:cNvSpPr>
            <a:spLocks noGrp="1"/>
          </p:cNvSpPr>
          <p:nvPr>
            <p:ph type="body" sz="quarter" idx="17" hasCustomPrompt="1"/>
          </p:nvPr>
        </p:nvSpPr>
        <p:spPr>
          <a:xfrm>
            <a:off x="539750" y="3103200"/>
            <a:ext cx="5040000" cy="208800"/>
          </a:xfrm>
        </p:spPr>
        <p:txBody>
          <a:bodyPr>
            <a:noAutofit/>
          </a:bodyPr>
          <a:lstStyle>
            <a:lvl1pPr marL="0" indent="0">
              <a:spcBef>
                <a:spcPts val="0"/>
              </a:spcBef>
              <a:buNone/>
              <a:defRPr sz="1400" b="1">
                <a:latin typeface="+mn-lt"/>
              </a:defRPr>
            </a:lvl1pPr>
            <a:lvl2pPr marL="457188" indent="0">
              <a:buNone/>
              <a:defRPr sz="1200" b="1">
                <a:latin typeface="UniCredit" panose="02000506040000020004" pitchFamily="2" charset="0"/>
              </a:defRPr>
            </a:lvl2pPr>
            <a:lvl3pPr marL="914377" indent="0">
              <a:buNone/>
              <a:defRPr sz="1200" b="1">
                <a:latin typeface="UniCredit" panose="02000506040000020004" pitchFamily="2" charset="0"/>
              </a:defRPr>
            </a:lvl3pPr>
            <a:lvl4pPr marL="1371566" indent="0">
              <a:buNone/>
              <a:defRPr sz="1200" b="1">
                <a:latin typeface="UniCredit" panose="02000506040000020004" pitchFamily="2" charset="0"/>
              </a:defRPr>
            </a:lvl4pPr>
            <a:lvl5pPr marL="1828755" indent="0">
              <a:buNone/>
              <a:defRPr sz="1200" b="1">
                <a:latin typeface="UniCredit" panose="02000506040000020004" pitchFamily="2" charset="0"/>
              </a:defRPr>
            </a:lvl5pPr>
          </a:lstStyle>
          <a:p>
            <a:pPr>
              <a:defRPr/>
            </a:pPr>
            <a:r>
              <a:rPr lang="en-GB" noProof="0" dirty="0"/>
              <a:t>Insert name and function</a:t>
            </a:r>
          </a:p>
        </p:txBody>
      </p:sp>
      <p:sp>
        <p:nvSpPr>
          <p:cNvPr id="24" name="Subtitle"/>
          <p:cNvSpPr>
            <a:spLocks noGrp="1"/>
          </p:cNvSpPr>
          <p:nvPr>
            <p:ph type="body" sz="quarter" idx="12" hasCustomPrompt="1"/>
          </p:nvPr>
        </p:nvSpPr>
        <p:spPr>
          <a:xfrm>
            <a:off x="539749" y="2116800"/>
            <a:ext cx="8287200" cy="626400"/>
          </a:xfrm>
          <a:prstGeom prst="rect">
            <a:avLst/>
          </a:prstGeom>
        </p:spPr>
        <p:txBody>
          <a:bodyPr lIns="0" tIns="0" rIns="0" bIns="0" anchor="b" anchorCtr="0">
            <a:normAutofit/>
          </a:bodyPr>
          <a:lstStyle>
            <a:lvl1pPr marL="0" indent="0">
              <a:lnSpc>
                <a:spcPts val="2600"/>
              </a:lnSpc>
              <a:spcBef>
                <a:spcPts val="0"/>
              </a:spcBef>
              <a:buNone/>
              <a:defRPr sz="2600"/>
            </a:lvl1pPr>
          </a:lstStyle>
          <a:p>
            <a:pPr lvl="0"/>
            <a:r>
              <a:rPr lang="en-GB" noProof="0" dirty="0"/>
              <a:t>Insert subtitle</a:t>
            </a:r>
          </a:p>
        </p:txBody>
      </p:sp>
      <p:sp>
        <p:nvSpPr>
          <p:cNvPr id="21" name="Title"/>
          <p:cNvSpPr>
            <a:spLocks noGrp="1"/>
          </p:cNvSpPr>
          <p:nvPr>
            <p:ph type="title" hasCustomPrompt="1"/>
          </p:nvPr>
        </p:nvSpPr>
        <p:spPr>
          <a:xfrm>
            <a:off x="540000" y="669600"/>
            <a:ext cx="5760000" cy="13680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nSpc>
                <a:spcPts val="3400"/>
              </a:lnSpc>
              <a:defRPr lang="en-GB" sz="3600" noProof="0" dirty="0">
                <a:latin typeface="+mj-lt"/>
                <a:cs typeface="Arial" panose="020B0604020202020204" pitchFamily="34" charset="0"/>
              </a:defRPr>
            </a:lvl1pPr>
          </a:lstStyle>
          <a:p>
            <a:pPr lvl="0" defTabSz="725037"/>
            <a:r>
              <a:rPr lang="en-GB" noProof="0" dirty="0"/>
              <a:t>Insert title</a:t>
            </a:r>
          </a:p>
        </p:txBody>
      </p:sp>
      <p:sp>
        <p:nvSpPr>
          <p:cNvPr id="3" name="CompositeLogo"/>
          <p:cNvSpPr>
            <a:spLocks noGrp="1" noChangeAspect="1"/>
          </p:cNvSpPr>
          <p:nvPr>
            <p:ph type="body" sz="quarter" idx="16"/>
          </p:nvPr>
        </p:nvSpPr>
        <p:spPr bwMode="gray">
          <a:xfrm>
            <a:off x="6584400" y="324000"/>
            <a:ext cx="2235600" cy="1164827"/>
          </a:xfrm>
          <a:blipFill>
            <a:blip r:embed="rId2"/>
            <a:stretch>
              <a:fillRect/>
            </a:stretch>
          </a:blipFill>
        </p:spPr>
        <p:txBody>
          <a:bodyPr>
            <a:normAutofit/>
          </a:bodyPr>
          <a:lstStyle>
            <a:lvl1pPr marL="0" indent="0">
              <a:buNone/>
              <a:defRPr sz="100">
                <a:noFill/>
                <a:latin typeface="UniCredit" panose="02000506040000020004" pitchFamily="2" charset="0"/>
              </a:defRPr>
            </a:lvl1pPr>
          </a:lstStyle>
          <a:p>
            <a:pPr lvl="0"/>
            <a:r>
              <a:rPr lang="en-US" noProof="1"/>
              <a:t>Click to edit Master text styles</a:t>
            </a:r>
          </a:p>
        </p:txBody>
      </p:sp>
      <p:pic>
        <p:nvPicPr>
          <p:cNvPr id="6" name="Logo">
            <a:extLst>
              <a:ext uri="{FF2B5EF4-FFF2-40B4-BE49-F238E27FC236}">
                <a16:creationId xmlns:a16="http://schemas.microsoft.com/office/drawing/2014/main" id="{2D835DE5-411B-4A93-954F-19286A7EF36D}"/>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90974" y="4414901"/>
            <a:ext cx="4383033" cy="402337"/>
          </a:xfrm>
          <a:prstGeom prst="rect">
            <a:avLst/>
          </a:prstGeom>
        </p:spPr>
      </p:pic>
    </p:spTree>
    <p:extLst>
      <p:ext uri="{BB962C8B-B14F-4D97-AF65-F5344CB8AC3E}">
        <p14:creationId xmlns:p14="http://schemas.microsoft.com/office/powerpoint/2010/main" val="205284230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itle page - Picture - Standard">
    <p:spTree>
      <p:nvGrpSpPr>
        <p:cNvPr id="1" name=""/>
        <p:cNvGrpSpPr/>
        <p:nvPr/>
      </p:nvGrpSpPr>
      <p:grpSpPr>
        <a:xfrm>
          <a:off x="0" y="0"/>
          <a:ext cx="0" cy="0"/>
          <a:chOff x="0" y="0"/>
          <a:chExt cx="0" cy="0"/>
        </a:xfrm>
      </p:grpSpPr>
      <p:sp>
        <p:nvSpPr>
          <p:cNvPr id="16" name="BlueGradient"/>
          <p:cNvSpPr/>
          <p:nvPr/>
        </p:nvSpPr>
        <p:spPr bwMode="gray">
          <a:xfrm>
            <a:off x="0" y="2876400"/>
            <a:ext cx="9144000" cy="2268000"/>
          </a:xfrm>
          <a:prstGeom prst="rect">
            <a:avLst/>
          </a:prstGeom>
          <a:gradFill flip="none" rotWithShape="1">
            <a:gsLst>
              <a:gs pos="11000">
                <a:schemeClr val="bg1">
                  <a:alpha val="78000"/>
                </a:schemeClr>
              </a:gs>
              <a:gs pos="100000">
                <a:srgbClr val="2EAEDA">
                  <a:alpha val="78000"/>
                </a:srgbClr>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 noProof="1">
              <a:noFill/>
              <a:latin typeface="UniCredit" panose="02000506040000020004" pitchFamily="2" charset="0"/>
              <a:cs typeface="Arial" panose="020B0604020202020204" pitchFamily="34" charset="0"/>
            </a:endParaRPr>
          </a:p>
        </p:txBody>
      </p:sp>
      <p:sp>
        <p:nvSpPr>
          <p:cNvPr id="8" name="TitlePicture"/>
          <p:cNvSpPr>
            <a:spLocks noGrp="1"/>
          </p:cNvSpPr>
          <p:nvPr>
            <p:ph type="pic" sz="quarter" idx="13" hasCustomPrompt="1"/>
          </p:nvPr>
        </p:nvSpPr>
        <p:spPr>
          <a:xfrm>
            <a:off x="0" y="0"/>
            <a:ext cx="9144000" cy="2876400"/>
          </a:xfrm>
          <a:prstGeom prst="rect">
            <a:avLst/>
          </a:prstGeom>
        </p:spPr>
        <p:txBody>
          <a:bodyPr lIns="0" tIns="0" rIns="0" bIns="0" anchor="ctr" anchorCtr="1">
            <a:normAutofit/>
          </a:bodyPr>
          <a:lstStyle>
            <a:lvl1pPr marL="0" indent="0">
              <a:buNone/>
              <a:defRPr sz="100">
                <a:noFill/>
                <a:latin typeface="UniCredit" panose="02000506040000020004" pitchFamily="2" charset="0"/>
              </a:defRPr>
            </a:lvl1pPr>
          </a:lstStyle>
          <a:p>
            <a:r>
              <a:rPr lang="en-GB" noProof="1"/>
              <a:t>Insert picture</a:t>
            </a:r>
          </a:p>
        </p:txBody>
      </p:sp>
      <p:sp>
        <p:nvSpPr>
          <p:cNvPr id="13" name="LegalEntity"/>
          <p:cNvSpPr>
            <a:spLocks noGrp="1"/>
          </p:cNvSpPr>
          <p:nvPr>
            <p:ph type="body" sz="quarter" idx="14" hasCustomPrompt="1"/>
          </p:nvPr>
        </p:nvSpPr>
        <p:spPr>
          <a:xfrm>
            <a:off x="5943600" y="3128400"/>
            <a:ext cx="2880000" cy="208800"/>
          </a:xfrm>
          <a:prstGeom prst="rect">
            <a:avLst/>
          </a:prstGeom>
        </p:spPr>
        <p:txBody>
          <a:bodyPr lIns="0" tIns="0" rIns="0" bIns="0">
            <a:noAutofit/>
          </a:bodyPr>
          <a:lstStyle>
            <a:lvl1pPr marL="0" indent="0" algn="r">
              <a:buFontTx/>
              <a:buNone/>
              <a:defRPr sz="1200">
                <a:latin typeface="+mn-lt"/>
              </a:defRPr>
            </a:lvl1pPr>
            <a:lvl2pPr marL="356373" indent="0" algn="r">
              <a:buFontTx/>
              <a:buNone/>
              <a:defRPr sz="900"/>
            </a:lvl2pPr>
            <a:lvl3pPr algn="r">
              <a:buFontTx/>
              <a:buNone/>
              <a:defRPr sz="900"/>
            </a:lvl3pPr>
            <a:lvl4pPr marL="1069119" indent="0" algn="r">
              <a:buFontTx/>
              <a:buNone/>
              <a:defRPr sz="900"/>
            </a:lvl4pPr>
            <a:lvl5pPr marL="1501088" indent="0" algn="r">
              <a:buFontTx/>
              <a:buNone/>
              <a:defRPr sz="900"/>
            </a:lvl5pPr>
          </a:lstStyle>
          <a:p>
            <a:pPr lvl="0"/>
            <a:r>
              <a:rPr lang="en-GB" noProof="0" dirty="0"/>
              <a:t>[Insert legal entity - classification level]</a:t>
            </a:r>
          </a:p>
        </p:txBody>
      </p:sp>
      <p:sp>
        <p:nvSpPr>
          <p:cNvPr id="10" name="CityDate"/>
          <p:cNvSpPr>
            <a:spLocks noGrp="1"/>
          </p:cNvSpPr>
          <p:nvPr>
            <p:ph type="body" sz="quarter" idx="18" hasCustomPrompt="1"/>
          </p:nvPr>
        </p:nvSpPr>
        <p:spPr>
          <a:xfrm>
            <a:off x="540000" y="3398400"/>
            <a:ext cx="5040000" cy="208800"/>
          </a:xfrm>
        </p:spPr>
        <p:txBody>
          <a:bodyPr anchor="b">
            <a:normAutofit/>
          </a:bodyPr>
          <a:lstStyle>
            <a:lvl1pPr marL="0" indent="0" fontAlgn="auto">
              <a:spcBef>
                <a:spcPts val="0"/>
              </a:spcBef>
              <a:spcAft>
                <a:spcPts val="0"/>
              </a:spcAft>
              <a:buNone/>
              <a:defRPr sz="1200" b="1">
                <a:latin typeface="+mn-lt"/>
              </a:defRPr>
            </a:lvl1pPr>
          </a:lstStyle>
          <a:p>
            <a:pPr fontAlgn="auto">
              <a:spcBef>
                <a:spcPts val="0"/>
              </a:spcBef>
              <a:spcAft>
                <a:spcPts val="0"/>
              </a:spcAft>
            </a:pPr>
            <a:r>
              <a:rPr lang="en-GB" noProof="0" dirty="0"/>
              <a:t>Insert city and date</a:t>
            </a:r>
          </a:p>
        </p:txBody>
      </p:sp>
      <p:sp>
        <p:nvSpPr>
          <p:cNvPr id="11" name="NameFunction"/>
          <p:cNvSpPr>
            <a:spLocks noGrp="1"/>
          </p:cNvSpPr>
          <p:nvPr>
            <p:ph type="body" sz="quarter" idx="17" hasCustomPrompt="1"/>
          </p:nvPr>
        </p:nvSpPr>
        <p:spPr>
          <a:xfrm>
            <a:off x="539750" y="3103200"/>
            <a:ext cx="5040000" cy="208800"/>
          </a:xfrm>
        </p:spPr>
        <p:txBody>
          <a:bodyPr>
            <a:noAutofit/>
          </a:bodyPr>
          <a:lstStyle>
            <a:lvl1pPr marL="0" indent="0">
              <a:spcBef>
                <a:spcPts val="0"/>
              </a:spcBef>
              <a:buNone/>
              <a:defRPr sz="1400" b="1">
                <a:latin typeface="+mn-lt"/>
              </a:defRPr>
            </a:lvl1pPr>
            <a:lvl2pPr marL="457188" indent="0">
              <a:buNone/>
              <a:defRPr sz="1200" b="1">
                <a:latin typeface="UniCredit" panose="02000506040000020004" pitchFamily="2" charset="0"/>
              </a:defRPr>
            </a:lvl2pPr>
            <a:lvl3pPr marL="914377" indent="0">
              <a:buNone/>
              <a:defRPr sz="1200" b="1">
                <a:latin typeface="UniCredit" panose="02000506040000020004" pitchFamily="2" charset="0"/>
              </a:defRPr>
            </a:lvl3pPr>
            <a:lvl4pPr marL="1371566" indent="0">
              <a:buNone/>
              <a:defRPr sz="1200" b="1">
                <a:latin typeface="UniCredit" panose="02000506040000020004" pitchFamily="2" charset="0"/>
              </a:defRPr>
            </a:lvl4pPr>
            <a:lvl5pPr marL="1828755" indent="0">
              <a:buNone/>
              <a:defRPr sz="1200" b="1">
                <a:latin typeface="UniCredit" panose="02000506040000020004" pitchFamily="2" charset="0"/>
              </a:defRPr>
            </a:lvl5pPr>
          </a:lstStyle>
          <a:p>
            <a:pPr>
              <a:defRPr/>
            </a:pPr>
            <a:r>
              <a:rPr lang="en-GB" noProof="0" dirty="0"/>
              <a:t>Insert name and function</a:t>
            </a:r>
          </a:p>
        </p:txBody>
      </p:sp>
      <p:sp>
        <p:nvSpPr>
          <p:cNvPr id="12" name="Subtitle"/>
          <p:cNvSpPr>
            <a:spLocks noGrp="1"/>
          </p:cNvSpPr>
          <p:nvPr>
            <p:ph type="body" sz="quarter" idx="12" hasCustomPrompt="1"/>
          </p:nvPr>
        </p:nvSpPr>
        <p:spPr>
          <a:xfrm>
            <a:off x="539749" y="2116800"/>
            <a:ext cx="8283600" cy="626400"/>
          </a:xfrm>
          <a:prstGeom prst="rect">
            <a:avLst/>
          </a:prstGeom>
        </p:spPr>
        <p:txBody>
          <a:bodyPr lIns="0" tIns="0" rIns="0" bIns="0" anchor="b" anchorCtr="0">
            <a:normAutofit/>
          </a:bodyPr>
          <a:lstStyle>
            <a:lvl1pPr marL="0" indent="0">
              <a:lnSpc>
                <a:spcPts val="2600"/>
              </a:lnSpc>
              <a:spcBef>
                <a:spcPts val="0"/>
              </a:spcBef>
              <a:buNone/>
              <a:defRPr sz="2600"/>
            </a:lvl1pPr>
          </a:lstStyle>
          <a:p>
            <a:pPr lvl="0"/>
            <a:r>
              <a:rPr lang="en-GB" noProof="0" dirty="0"/>
              <a:t>Insert subtitle</a:t>
            </a:r>
          </a:p>
        </p:txBody>
      </p:sp>
      <p:sp>
        <p:nvSpPr>
          <p:cNvPr id="9" name="Title"/>
          <p:cNvSpPr>
            <a:spLocks noGrp="1"/>
          </p:cNvSpPr>
          <p:nvPr>
            <p:ph type="title" hasCustomPrompt="1"/>
          </p:nvPr>
        </p:nvSpPr>
        <p:spPr>
          <a:xfrm>
            <a:off x="540000" y="669600"/>
            <a:ext cx="6663600" cy="727200"/>
          </a:xfrm>
          <a:prstGeom prst="rect">
            <a:avLst/>
          </a:prstGeom>
        </p:spPr>
        <p:txBody>
          <a:bodyPr lIns="0" tIns="0" rIns="0" bIns="0" anchor="t" anchorCtr="0">
            <a:noAutofit/>
          </a:bodyPr>
          <a:lstStyle>
            <a:lvl1pPr algn="l">
              <a:lnSpc>
                <a:spcPts val="3400"/>
              </a:lnSpc>
              <a:defRPr sz="3600" b="1"/>
            </a:lvl1pPr>
          </a:lstStyle>
          <a:p>
            <a:r>
              <a:rPr lang="en-GB" noProof="0" dirty="0"/>
              <a:t>Insert title</a:t>
            </a:r>
          </a:p>
        </p:txBody>
      </p:sp>
      <p:pic>
        <p:nvPicPr>
          <p:cNvPr id="3" name="Logo">
            <a:extLst>
              <a:ext uri="{FF2B5EF4-FFF2-40B4-BE49-F238E27FC236}">
                <a16:creationId xmlns:a16="http://schemas.microsoft.com/office/drawing/2014/main" id="{19CEE7F5-795F-42AE-B464-9786ABDDDDE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490974" y="4414901"/>
            <a:ext cx="4383033" cy="402337"/>
          </a:xfrm>
          <a:prstGeom prst="rect">
            <a:avLst/>
          </a:prstGeom>
        </p:spPr>
      </p:pic>
    </p:spTree>
    <p:extLst>
      <p:ext uri="{BB962C8B-B14F-4D97-AF65-F5344CB8AC3E}">
        <p14:creationId xmlns:p14="http://schemas.microsoft.com/office/powerpoint/2010/main" val="89224481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itle page - Picture - One Bank Black">
    <p:spTree>
      <p:nvGrpSpPr>
        <p:cNvPr id="1" name=""/>
        <p:cNvGrpSpPr/>
        <p:nvPr/>
      </p:nvGrpSpPr>
      <p:grpSpPr>
        <a:xfrm>
          <a:off x="0" y="0"/>
          <a:ext cx="0" cy="0"/>
          <a:chOff x="0" y="0"/>
          <a:chExt cx="0" cy="0"/>
        </a:xfrm>
      </p:grpSpPr>
      <p:sp>
        <p:nvSpPr>
          <p:cNvPr id="16" name="BlueGradient"/>
          <p:cNvSpPr/>
          <p:nvPr/>
        </p:nvSpPr>
        <p:spPr bwMode="gray">
          <a:xfrm>
            <a:off x="0" y="2876400"/>
            <a:ext cx="9144000" cy="2268000"/>
          </a:xfrm>
          <a:prstGeom prst="rect">
            <a:avLst/>
          </a:prstGeom>
          <a:gradFill flip="none" rotWithShape="1">
            <a:gsLst>
              <a:gs pos="11000">
                <a:schemeClr val="bg1">
                  <a:alpha val="78000"/>
                </a:schemeClr>
              </a:gs>
              <a:gs pos="100000">
                <a:srgbClr val="2EAEDA">
                  <a:alpha val="78000"/>
                </a:srgbClr>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 noProof="1">
              <a:noFill/>
              <a:latin typeface="UniCredit" panose="02000506040000020004" pitchFamily="2" charset="0"/>
              <a:cs typeface="Arial" panose="020B0604020202020204" pitchFamily="34" charset="0"/>
            </a:endParaRPr>
          </a:p>
        </p:txBody>
      </p:sp>
      <p:sp>
        <p:nvSpPr>
          <p:cNvPr id="8" name="TitlePicture"/>
          <p:cNvSpPr>
            <a:spLocks noGrp="1"/>
          </p:cNvSpPr>
          <p:nvPr>
            <p:ph type="pic" sz="quarter" idx="13" hasCustomPrompt="1"/>
          </p:nvPr>
        </p:nvSpPr>
        <p:spPr>
          <a:xfrm>
            <a:off x="0" y="0"/>
            <a:ext cx="9144000" cy="2876400"/>
          </a:xfrm>
          <a:prstGeom prst="rect">
            <a:avLst/>
          </a:prstGeom>
        </p:spPr>
        <p:txBody>
          <a:bodyPr lIns="0" tIns="0" rIns="0" bIns="0" anchor="ctr" anchorCtr="1">
            <a:normAutofit/>
          </a:bodyPr>
          <a:lstStyle>
            <a:lvl1pPr marL="0" indent="0">
              <a:buNone/>
              <a:defRPr sz="100">
                <a:noFill/>
                <a:latin typeface="UniCredit" panose="02000506040000020004" pitchFamily="2" charset="0"/>
              </a:defRPr>
            </a:lvl1pPr>
          </a:lstStyle>
          <a:p>
            <a:r>
              <a:rPr lang="en-GB" noProof="1"/>
              <a:t>Insert picture</a:t>
            </a:r>
          </a:p>
        </p:txBody>
      </p:sp>
      <p:sp>
        <p:nvSpPr>
          <p:cNvPr id="13" name="LegalEntity"/>
          <p:cNvSpPr>
            <a:spLocks noGrp="1"/>
          </p:cNvSpPr>
          <p:nvPr>
            <p:ph type="body" sz="quarter" idx="14" hasCustomPrompt="1"/>
          </p:nvPr>
        </p:nvSpPr>
        <p:spPr>
          <a:xfrm>
            <a:off x="5943600" y="3128400"/>
            <a:ext cx="2880000" cy="208800"/>
          </a:xfrm>
          <a:prstGeom prst="rect">
            <a:avLst/>
          </a:prstGeom>
        </p:spPr>
        <p:txBody>
          <a:bodyPr lIns="0" tIns="0" rIns="0" bIns="0">
            <a:noAutofit/>
          </a:bodyPr>
          <a:lstStyle>
            <a:lvl1pPr marL="0" indent="0" algn="r">
              <a:buFontTx/>
              <a:buNone/>
              <a:defRPr sz="1200">
                <a:latin typeface="+mn-lt"/>
              </a:defRPr>
            </a:lvl1pPr>
            <a:lvl2pPr marL="356373" indent="0" algn="r">
              <a:buFontTx/>
              <a:buNone/>
              <a:defRPr sz="900"/>
            </a:lvl2pPr>
            <a:lvl3pPr algn="r">
              <a:buFontTx/>
              <a:buNone/>
              <a:defRPr sz="900"/>
            </a:lvl3pPr>
            <a:lvl4pPr marL="1069119" indent="0" algn="r">
              <a:buFontTx/>
              <a:buNone/>
              <a:defRPr sz="900"/>
            </a:lvl4pPr>
            <a:lvl5pPr marL="1501088" indent="0" algn="r">
              <a:buFontTx/>
              <a:buNone/>
              <a:defRPr sz="900"/>
            </a:lvl5pPr>
          </a:lstStyle>
          <a:p>
            <a:pPr lvl="0"/>
            <a:r>
              <a:rPr lang="en-GB" noProof="0" dirty="0"/>
              <a:t>[Insert legal entity - classification level]</a:t>
            </a:r>
          </a:p>
        </p:txBody>
      </p:sp>
      <p:sp>
        <p:nvSpPr>
          <p:cNvPr id="10" name="CityDate"/>
          <p:cNvSpPr>
            <a:spLocks noGrp="1"/>
          </p:cNvSpPr>
          <p:nvPr>
            <p:ph type="body" sz="quarter" idx="18" hasCustomPrompt="1"/>
          </p:nvPr>
        </p:nvSpPr>
        <p:spPr>
          <a:xfrm>
            <a:off x="540000" y="3398400"/>
            <a:ext cx="5040000" cy="208800"/>
          </a:xfrm>
        </p:spPr>
        <p:txBody>
          <a:bodyPr anchor="b">
            <a:normAutofit/>
          </a:bodyPr>
          <a:lstStyle>
            <a:lvl1pPr marL="0" indent="0" fontAlgn="auto">
              <a:spcBef>
                <a:spcPts val="0"/>
              </a:spcBef>
              <a:spcAft>
                <a:spcPts val="0"/>
              </a:spcAft>
              <a:buNone/>
              <a:defRPr sz="1200" b="1">
                <a:latin typeface="+mn-lt"/>
              </a:defRPr>
            </a:lvl1pPr>
          </a:lstStyle>
          <a:p>
            <a:pPr fontAlgn="auto">
              <a:spcBef>
                <a:spcPts val="0"/>
              </a:spcBef>
              <a:spcAft>
                <a:spcPts val="0"/>
              </a:spcAft>
            </a:pPr>
            <a:r>
              <a:rPr lang="en-GB" noProof="0" dirty="0"/>
              <a:t>Insert city and date</a:t>
            </a:r>
          </a:p>
        </p:txBody>
      </p:sp>
      <p:sp>
        <p:nvSpPr>
          <p:cNvPr id="11" name="NameFunction"/>
          <p:cNvSpPr>
            <a:spLocks noGrp="1"/>
          </p:cNvSpPr>
          <p:nvPr>
            <p:ph type="body" sz="quarter" idx="17" hasCustomPrompt="1"/>
          </p:nvPr>
        </p:nvSpPr>
        <p:spPr>
          <a:xfrm>
            <a:off x="539750" y="3103200"/>
            <a:ext cx="5040000" cy="208800"/>
          </a:xfrm>
        </p:spPr>
        <p:txBody>
          <a:bodyPr>
            <a:noAutofit/>
          </a:bodyPr>
          <a:lstStyle>
            <a:lvl1pPr marL="0" indent="0">
              <a:spcBef>
                <a:spcPts val="0"/>
              </a:spcBef>
              <a:buNone/>
              <a:defRPr sz="1400" b="1">
                <a:latin typeface="+mn-lt"/>
              </a:defRPr>
            </a:lvl1pPr>
            <a:lvl2pPr marL="457188" indent="0">
              <a:buNone/>
              <a:defRPr sz="1200" b="1">
                <a:latin typeface="UniCredit" panose="02000506040000020004" pitchFamily="2" charset="0"/>
              </a:defRPr>
            </a:lvl2pPr>
            <a:lvl3pPr marL="914377" indent="0">
              <a:buNone/>
              <a:defRPr sz="1200" b="1">
                <a:latin typeface="UniCredit" panose="02000506040000020004" pitchFamily="2" charset="0"/>
              </a:defRPr>
            </a:lvl3pPr>
            <a:lvl4pPr marL="1371566" indent="0">
              <a:buNone/>
              <a:defRPr sz="1200" b="1">
                <a:latin typeface="UniCredit" panose="02000506040000020004" pitchFamily="2" charset="0"/>
              </a:defRPr>
            </a:lvl4pPr>
            <a:lvl5pPr marL="1828755" indent="0">
              <a:buNone/>
              <a:defRPr sz="1200" b="1">
                <a:latin typeface="UniCredit" panose="02000506040000020004" pitchFamily="2" charset="0"/>
              </a:defRPr>
            </a:lvl5pPr>
          </a:lstStyle>
          <a:p>
            <a:pPr>
              <a:defRPr/>
            </a:pPr>
            <a:r>
              <a:rPr lang="en-GB" noProof="0" dirty="0"/>
              <a:t>Insert name and function</a:t>
            </a:r>
          </a:p>
        </p:txBody>
      </p:sp>
      <p:sp>
        <p:nvSpPr>
          <p:cNvPr id="12" name="Subtitle"/>
          <p:cNvSpPr>
            <a:spLocks noGrp="1"/>
          </p:cNvSpPr>
          <p:nvPr>
            <p:ph type="body" sz="quarter" idx="12" hasCustomPrompt="1"/>
          </p:nvPr>
        </p:nvSpPr>
        <p:spPr>
          <a:xfrm>
            <a:off x="539749" y="2116800"/>
            <a:ext cx="8283600" cy="626400"/>
          </a:xfrm>
          <a:prstGeom prst="rect">
            <a:avLst/>
          </a:prstGeom>
        </p:spPr>
        <p:txBody>
          <a:bodyPr lIns="0" tIns="0" rIns="0" bIns="0" anchor="b" anchorCtr="0">
            <a:normAutofit/>
          </a:bodyPr>
          <a:lstStyle>
            <a:lvl1pPr marL="0" indent="0">
              <a:lnSpc>
                <a:spcPts val="2600"/>
              </a:lnSpc>
              <a:spcBef>
                <a:spcPts val="0"/>
              </a:spcBef>
              <a:buNone/>
              <a:defRPr sz="2600"/>
            </a:lvl1pPr>
          </a:lstStyle>
          <a:p>
            <a:pPr lvl="0"/>
            <a:r>
              <a:rPr lang="en-GB" noProof="0" dirty="0"/>
              <a:t>Insert subtitle</a:t>
            </a:r>
          </a:p>
        </p:txBody>
      </p:sp>
      <p:sp>
        <p:nvSpPr>
          <p:cNvPr id="9" name="Title"/>
          <p:cNvSpPr>
            <a:spLocks noGrp="1"/>
          </p:cNvSpPr>
          <p:nvPr>
            <p:ph type="title" hasCustomPrompt="1"/>
          </p:nvPr>
        </p:nvSpPr>
        <p:spPr>
          <a:xfrm>
            <a:off x="540000" y="669600"/>
            <a:ext cx="5760000" cy="727200"/>
          </a:xfrm>
          <a:prstGeom prst="rect">
            <a:avLst/>
          </a:prstGeom>
        </p:spPr>
        <p:txBody>
          <a:bodyPr lIns="0" tIns="0" rIns="0" bIns="0" anchor="t" anchorCtr="0">
            <a:noAutofit/>
          </a:bodyPr>
          <a:lstStyle>
            <a:lvl1pPr algn="l">
              <a:lnSpc>
                <a:spcPts val="3400"/>
              </a:lnSpc>
              <a:defRPr sz="3600" b="1"/>
            </a:lvl1pPr>
          </a:lstStyle>
          <a:p>
            <a:r>
              <a:rPr lang="en-GB" noProof="0" dirty="0"/>
              <a:t>Insert title</a:t>
            </a:r>
          </a:p>
        </p:txBody>
      </p:sp>
      <p:sp>
        <p:nvSpPr>
          <p:cNvPr id="4" name="CompositeLogo"/>
          <p:cNvSpPr>
            <a:spLocks noGrp="1" noChangeAspect="1"/>
          </p:cNvSpPr>
          <p:nvPr>
            <p:ph type="body" sz="quarter" idx="16"/>
          </p:nvPr>
        </p:nvSpPr>
        <p:spPr bwMode="gray">
          <a:xfrm>
            <a:off x="6584400" y="324000"/>
            <a:ext cx="2235600" cy="1164827"/>
          </a:xfrm>
          <a:blipFill>
            <a:blip r:embed="rId2"/>
            <a:stretch>
              <a:fillRect/>
            </a:stretch>
          </a:blipFill>
        </p:spPr>
        <p:txBody>
          <a:bodyPr>
            <a:normAutofit/>
          </a:bodyPr>
          <a:lstStyle>
            <a:lvl1pPr marL="0" indent="0">
              <a:buNone/>
              <a:defRPr sz="100">
                <a:noFill/>
                <a:latin typeface="UniCredit" panose="02000506040000020004" pitchFamily="2" charset="0"/>
              </a:defRPr>
            </a:lvl1pPr>
          </a:lstStyle>
          <a:p>
            <a:pPr lvl="0"/>
            <a:r>
              <a:rPr lang="en-US" noProof="1"/>
              <a:t>Click to edit Master text styles</a:t>
            </a:r>
          </a:p>
        </p:txBody>
      </p:sp>
      <p:pic>
        <p:nvPicPr>
          <p:cNvPr id="3" name="Logo">
            <a:extLst>
              <a:ext uri="{FF2B5EF4-FFF2-40B4-BE49-F238E27FC236}">
                <a16:creationId xmlns:a16="http://schemas.microsoft.com/office/drawing/2014/main" id="{66755EAC-3BAE-4428-BA17-47894DBC6FD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90974" y="4414901"/>
            <a:ext cx="4383033" cy="402337"/>
          </a:xfrm>
          <a:prstGeom prst="rect">
            <a:avLst/>
          </a:prstGeom>
        </p:spPr>
      </p:pic>
    </p:spTree>
    <p:extLst>
      <p:ext uri="{BB962C8B-B14F-4D97-AF65-F5344CB8AC3E}">
        <p14:creationId xmlns:p14="http://schemas.microsoft.com/office/powerpoint/2010/main" val="393297861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page - Picture - One Bank White">
    <p:spTree>
      <p:nvGrpSpPr>
        <p:cNvPr id="1" name=""/>
        <p:cNvGrpSpPr/>
        <p:nvPr/>
      </p:nvGrpSpPr>
      <p:grpSpPr>
        <a:xfrm>
          <a:off x="0" y="0"/>
          <a:ext cx="0" cy="0"/>
          <a:chOff x="0" y="0"/>
          <a:chExt cx="0" cy="0"/>
        </a:xfrm>
      </p:grpSpPr>
      <p:sp>
        <p:nvSpPr>
          <p:cNvPr id="16" name="BlueGradient"/>
          <p:cNvSpPr/>
          <p:nvPr/>
        </p:nvSpPr>
        <p:spPr bwMode="gray">
          <a:xfrm>
            <a:off x="0" y="2876400"/>
            <a:ext cx="9144000" cy="2268000"/>
          </a:xfrm>
          <a:prstGeom prst="rect">
            <a:avLst/>
          </a:prstGeom>
          <a:gradFill flip="none" rotWithShape="1">
            <a:gsLst>
              <a:gs pos="11000">
                <a:schemeClr val="bg1">
                  <a:alpha val="78000"/>
                </a:schemeClr>
              </a:gs>
              <a:gs pos="100000">
                <a:srgbClr val="2EAEDA">
                  <a:alpha val="78000"/>
                </a:srgbClr>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 noProof="1">
              <a:noFill/>
              <a:latin typeface="UniCredit" panose="02000506040000020004" pitchFamily="2" charset="0"/>
              <a:cs typeface="Arial" panose="020B0604020202020204" pitchFamily="34" charset="0"/>
            </a:endParaRPr>
          </a:p>
        </p:txBody>
      </p:sp>
      <p:sp>
        <p:nvSpPr>
          <p:cNvPr id="8" name="TitlePicture"/>
          <p:cNvSpPr>
            <a:spLocks noGrp="1"/>
          </p:cNvSpPr>
          <p:nvPr>
            <p:ph type="pic" sz="quarter" idx="13" hasCustomPrompt="1"/>
          </p:nvPr>
        </p:nvSpPr>
        <p:spPr>
          <a:xfrm>
            <a:off x="0" y="0"/>
            <a:ext cx="9144000" cy="2876400"/>
          </a:xfrm>
          <a:prstGeom prst="rect">
            <a:avLst/>
          </a:prstGeom>
        </p:spPr>
        <p:txBody>
          <a:bodyPr lIns="0" tIns="0" rIns="0" bIns="0" anchor="ctr" anchorCtr="1">
            <a:normAutofit/>
          </a:bodyPr>
          <a:lstStyle>
            <a:lvl1pPr marL="0" indent="0">
              <a:buNone/>
              <a:defRPr sz="100">
                <a:noFill/>
                <a:latin typeface="UniCredit" panose="02000506040000020004" pitchFamily="2" charset="0"/>
              </a:defRPr>
            </a:lvl1pPr>
          </a:lstStyle>
          <a:p>
            <a:r>
              <a:rPr lang="en-GB" noProof="1"/>
              <a:t>Insert picture</a:t>
            </a:r>
          </a:p>
        </p:txBody>
      </p:sp>
      <p:sp>
        <p:nvSpPr>
          <p:cNvPr id="13" name="LegalEntity"/>
          <p:cNvSpPr>
            <a:spLocks noGrp="1"/>
          </p:cNvSpPr>
          <p:nvPr>
            <p:ph type="body" sz="quarter" idx="14" hasCustomPrompt="1"/>
          </p:nvPr>
        </p:nvSpPr>
        <p:spPr>
          <a:xfrm>
            <a:off x="5943600" y="3128400"/>
            <a:ext cx="2880000" cy="208800"/>
          </a:xfrm>
          <a:prstGeom prst="rect">
            <a:avLst/>
          </a:prstGeom>
        </p:spPr>
        <p:txBody>
          <a:bodyPr lIns="0" tIns="0" rIns="0" bIns="0">
            <a:noAutofit/>
          </a:bodyPr>
          <a:lstStyle>
            <a:lvl1pPr marL="0" indent="0" algn="r">
              <a:buFontTx/>
              <a:buNone/>
              <a:defRPr sz="1200">
                <a:latin typeface="+mn-lt"/>
              </a:defRPr>
            </a:lvl1pPr>
            <a:lvl2pPr marL="356373" indent="0" algn="r">
              <a:buFontTx/>
              <a:buNone/>
              <a:defRPr sz="900"/>
            </a:lvl2pPr>
            <a:lvl3pPr algn="r">
              <a:buFontTx/>
              <a:buNone/>
              <a:defRPr sz="900"/>
            </a:lvl3pPr>
            <a:lvl4pPr marL="1069119" indent="0" algn="r">
              <a:buFontTx/>
              <a:buNone/>
              <a:defRPr sz="900"/>
            </a:lvl4pPr>
            <a:lvl5pPr marL="1501088" indent="0" algn="r">
              <a:buFontTx/>
              <a:buNone/>
              <a:defRPr sz="900"/>
            </a:lvl5pPr>
          </a:lstStyle>
          <a:p>
            <a:pPr lvl="0"/>
            <a:r>
              <a:rPr lang="en-GB" noProof="0" dirty="0"/>
              <a:t>[Insert legal entity - classification level]</a:t>
            </a:r>
          </a:p>
        </p:txBody>
      </p:sp>
      <p:sp>
        <p:nvSpPr>
          <p:cNvPr id="10" name="CityDate"/>
          <p:cNvSpPr>
            <a:spLocks noGrp="1"/>
          </p:cNvSpPr>
          <p:nvPr>
            <p:ph type="body" sz="quarter" idx="18" hasCustomPrompt="1"/>
          </p:nvPr>
        </p:nvSpPr>
        <p:spPr>
          <a:xfrm>
            <a:off x="540000" y="3398400"/>
            <a:ext cx="5040000" cy="208800"/>
          </a:xfrm>
        </p:spPr>
        <p:txBody>
          <a:bodyPr anchor="b">
            <a:normAutofit/>
          </a:bodyPr>
          <a:lstStyle>
            <a:lvl1pPr marL="0" indent="0" fontAlgn="auto">
              <a:spcBef>
                <a:spcPts val="0"/>
              </a:spcBef>
              <a:spcAft>
                <a:spcPts val="0"/>
              </a:spcAft>
              <a:buNone/>
              <a:defRPr sz="1200" b="1">
                <a:latin typeface="+mn-lt"/>
              </a:defRPr>
            </a:lvl1pPr>
          </a:lstStyle>
          <a:p>
            <a:pPr fontAlgn="auto">
              <a:spcBef>
                <a:spcPts val="0"/>
              </a:spcBef>
              <a:spcAft>
                <a:spcPts val="0"/>
              </a:spcAft>
            </a:pPr>
            <a:r>
              <a:rPr lang="en-GB" noProof="0" dirty="0"/>
              <a:t>Insert city and date</a:t>
            </a:r>
          </a:p>
        </p:txBody>
      </p:sp>
      <p:sp>
        <p:nvSpPr>
          <p:cNvPr id="11" name="NameFunction"/>
          <p:cNvSpPr>
            <a:spLocks noGrp="1"/>
          </p:cNvSpPr>
          <p:nvPr>
            <p:ph type="body" sz="quarter" idx="17" hasCustomPrompt="1"/>
          </p:nvPr>
        </p:nvSpPr>
        <p:spPr>
          <a:xfrm>
            <a:off x="539750" y="3103200"/>
            <a:ext cx="5040000" cy="208800"/>
          </a:xfrm>
        </p:spPr>
        <p:txBody>
          <a:bodyPr>
            <a:noAutofit/>
          </a:bodyPr>
          <a:lstStyle>
            <a:lvl1pPr marL="0" indent="0">
              <a:spcBef>
                <a:spcPts val="0"/>
              </a:spcBef>
              <a:buNone/>
              <a:defRPr sz="1400" b="1">
                <a:latin typeface="+mn-lt"/>
              </a:defRPr>
            </a:lvl1pPr>
            <a:lvl2pPr marL="457188" indent="0">
              <a:buNone/>
              <a:defRPr sz="1200" b="1">
                <a:latin typeface="UniCredit" panose="02000506040000020004" pitchFamily="2" charset="0"/>
              </a:defRPr>
            </a:lvl2pPr>
            <a:lvl3pPr marL="914377" indent="0">
              <a:buNone/>
              <a:defRPr sz="1200" b="1">
                <a:latin typeface="UniCredit" panose="02000506040000020004" pitchFamily="2" charset="0"/>
              </a:defRPr>
            </a:lvl3pPr>
            <a:lvl4pPr marL="1371566" indent="0">
              <a:buNone/>
              <a:defRPr sz="1200" b="1">
                <a:latin typeface="UniCredit" panose="02000506040000020004" pitchFamily="2" charset="0"/>
              </a:defRPr>
            </a:lvl4pPr>
            <a:lvl5pPr marL="1828755" indent="0">
              <a:buNone/>
              <a:defRPr sz="1200" b="1">
                <a:latin typeface="UniCredit" panose="02000506040000020004" pitchFamily="2" charset="0"/>
              </a:defRPr>
            </a:lvl5pPr>
          </a:lstStyle>
          <a:p>
            <a:pPr>
              <a:defRPr/>
            </a:pPr>
            <a:r>
              <a:rPr lang="en-GB" noProof="0" dirty="0"/>
              <a:t>Insert name and function</a:t>
            </a:r>
          </a:p>
        </p:txBody>
      </p:sp>
      <p:sp>
        <p:nvSpPr>
          <p:cNvPr id="12" name="Subtitle"/>
          <p:cNvSpPr>
            <a:spLocks noGrp="1"/>
          </p:cNvSpPr>
          <p:nvPr>
            <p:ph type="body" sz="quarter" idx="12" hasCustomPrompt="1"/>
          </p:nvPr>
        </p:nvSpPr>
        <p:spPr>
          <a:xfrm>
            <a:off x="539749" y="2116800"/>
            <a:ext cx="8283600" cy="626400"/>
          </a:xfrm>
          <a:prstGeom prst="rect">
            <a:avLst/>
          </a:prstGeom>
        </p:spPr>
        <p:txBody>
          <a:bodyPr lIns="0" tIns="0" rIns="0" bIns="0" anchor="b" anchorCtr="0">
            <a:normAutofit/>
          </a:bodyPr>
          <a:lstStyle>
            <a:lvl1pPr marL="0" indent="0">
              <a:lnSpc>
                <a:spcPts val="2600"/>
              </a:lnSpc>
              <a:spcBef>
                <a:spcPts val="0"/>
              </a:spcBef>
              <a:buNone/>
              <a:defRPr sz="2600"/>
            </a:lvl1pPr>
          </a:lstStyle>
          <a:p>
            <a:pPr lvl="0"/>
            <a:r>
              <a:rPr lang="en-GB" noProof="0" dirty="0"/>
              <a:t>Insert subtitle</a:t>
            </a:r>
          </a:p>
        </p:txBody>
      </p:sp>
      <p:sp>
        <p:nvSpPr>
          <p:cNvPr id="9" name="Title"/>
          <p:cNvSpPr>
            <a:spLocks noGrp="1"/>
          </p:cNvSpPr>
          <p:nvPr>
            <p:ph type="title" hasCustomPrompt="1"/>
          </p:nvPr>
        </p:nvSpPr>
        <p:spPr>
          <a:xfrm>
            <a:off x="540000" y="669600"/>
            <a:ext cx="5760000" cy="727200"/>
          </a:xfrm>
          <a:prstGeom prst="rect">
            <a:avLst/>
          </a:prstGeom>
        </p:spPr>
        <p:txBody>
          <a:bodyPr lIns="0" tIns="0" rIns="0" bIns="0" anchor="t" anchorCtr="0">
            <a:noAutofit/>
          </a:bodyPr>
          <a:lstStyle>
            <a:lvl1pPr algn="l">
              <a:lnSpc>
                <a:spcPts val="3400"/>
              </a:lnSpc>
              <a:defRPr sz="3600" b="1"/>
            </a:lvl1pPr>
          </a:lstStyle>
          <a:p>
            <a:r>
              <a:rPr lang="en-GB" noProof="0" dirty="0"/>
              <a:t>Insert title</a:t>
            </a:r>
          </a:p>
        </p:txBody>
      </p:sp>
      <p:sp>
        <p:nvSpPr>
          <p:cNvPr id="4" name="CompositeLogo"/>
          <p:cNvSpPr>
            <a:spLocks noGrp="1" noChangeAspect="1"/>
          </p:cNvSpPr>
          <p:nvPr>
            <p:ph type="body" sz="quarter" idx="16"/>
          </p:nvPr>
        </p:nvSpPr>
        <p:spPr bwMode="gray">
          <a:xfrm>
            <a:off x="6584400" y="324000"/>
            <a:ext cx="2235600" cy="1164827"/>
          </a:xfrm>
          <a:blipFill>
            <a:blip r:embed="rId2"/>
            <a:stretch>
              <a:fillRect/>
            </a:stretch>
          </a:blipFill>
        </p:spPr>
        <p:txBody>
          <a:bodyPr>
            <a:normAutofit/>
          </a:bodyPr>
          <a:lstStyle>
            <a:lvl1pPr marL="0" indent="0">
              <a:buNone/>
              <a:defRPr sz="100">
                <a:noFill/>
                <a:latin typeface="UniCredit" panose="02000506040000020004" pitchFamily="2" charset="0"/>
              </a:defRPr>
            </a:lvl1pPr>
          </a:lstStyle>
          <a:p>
            <a:pPr lvl="0"/>
            <a:r>
              <a:rPr lang="en-US" noProof="1"/>
              <a:t>Click to edit Master text styles</a:t>
            </a:r>
          </a:p>
        </p:txBody>
      </p:sp>
      <p:pic>
        <p:nvPicPr>
          <p:cNvPr id="3" name="Logo">
            <a:extLst>
              <a:ext uri="{FF2B5EF4-FFF2-40B4-BE49-F238E27FC236}">
                <a16:creationId xmlns:a16="http://schemas.microsoft.com/office/drawing/2014/main" id="{A6C0EA4B-4F64-4207-BA8D-3D470CD237A5}"/>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90974" y="4414901"/>
            <a:ext cx="4383033" cy="402337"/>
          </a:xfrm>
          <a:prstGeom prst="rect">
            <a:avLst/>
          </a:prstGeom>
        </p:spPr>
      </p:pic>
    </p:spTree>
    <p:extLst>
      <p:ext uri="{BB962C8B-B14F-4D97-AF65-F5344CB8AC3E}">
        <p14:creationId xmlns:p14="http://schemas.microsoft.com/office/powerpoint/2010/main" val="65581400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Internal Slide - Picture and Text">
    <p:spTree>
      <p:nvGrpSpPr>
        <p:cNvPr id="1" name=""/>
        <p:cNvGrpSpPr/>
        <p:nvPr/>
      </p:nvGrpSpPr>
      <p:grpSpPr>
        <a:xfrm>
          <a:off x="0" y="0"/>
          <a:ext cx="0" cy="0"/>
          <a:chOff x="0" y="0"/>
          <a:chExt cx="0" cy="0"/>
        </a:xfrm>
      </p:grpSpPr>
      <p:sp>
        <p:nvSpPr>
          <p:cNvPr id="8" name="Picture"/>
          <p:cNvSpPr>
            <a:spLocks noGrp="1"/>
          </p:cNvSpPr>
          <p:nvPr>
            <p:ph type="pic" sz="quarter" idx="15"/>
          </p:nvPr>
        </p:nvSpPr>
        <p:spPr>
          <a:xfrm>
            <a:off x="0" y="730800"/>
            <a:ext cx="5792400" cy="4424400"/>
          </a:xfrm>
        </p:spPr>
        <p:txBody>
          <a:bodyPr>
            <a:normAutofit/>
          </a:bodyPr>
          <a:lstStyle>
            <a:lvl1pPr marL="0" indent="0">
              <a:buFontTx/>
              <a:buNone/>
              <a:defRPr sz="100">
                <a:noFill/>
                <a:latin typeface="UniCredit" panose="02000506040000020004" pitchFamily="2" charset="0"/>
              </a:defRPr>
            </a:lvl1pPr>
          </a:lstStyle>
          <a:p>
            <a:r>
              <a:rPr lang="en-US" noProof="1"/>
              <a:t>Click icon to add picture</a:t>
            </a:r>
            <a:endParaRPr lang="en-GB" noProof="1"/>
          </a:p>
        </p:txBody>
      </p:sp>
      <p:sp>
        <p:nvSpPr>
          <p:cNvPr id="7" name="LegalEntity"/>
          <p:cNvSpPr>
            <a:spLocks noGrp="1"/>
          </p:cNvSpPr>
          <p:nvPr>
            <p:ph type="body" sz="quarter" idx="12" hasCustomPrompt="1"/>
          </p:nvPr>
        </p:nvSpPr>
        <p:spPr>
          <a:xfrm>
            <a:off x="3312000" y="4964400"/>
            <a:ext cx="2520000" cy="144000"/>
          </a:xfrm>
        </p:spPr>
        <p:txBody>
          <a:bodyPr>
            <a:noAutofit/>
          </a:bodyPr>
          <a:lstStyle>
            <a:lvl1pPr marL="0" marR="0" indent="0" algn="ctr" defTabSz="342875" rtl="0" eaLnBrk="1" fontAlgn="auto" latinLnBrk="0" hangingPunct="1">
              <a:lnSpc>
                <a:spcPct val="100000"/>
              </a:lnSpc>
              <a:spcBef>
                <a:spcPct val="20000"/>
              </a:spcBef>
              <a:spcAft>
                <a:spcPts val="0"/>
              </a:spcAft>
              <a:buClr>
                <a:srgbClr val="E1061C"/>
              </a:buClr>
              <a:buSzTx/>
              <a:buFontTx/>
              <a:buNone/>
              <a:tabLst/>
              <a:defRPr sz="1000">
                <a:latin typeface="+mn-lt"/>
              </a:defRPr>
            </a:lvl1pPr>
            <a:lvl2pPr marL="342875" indent="0" algn="ctr">
              <a:buFontTx/>
              <a:buNone/>
              <a:defRPr sz="675"/>
            </a:lvl2pPr>
            <a:lvl3pPr marL="685749" indent="0" algn="ctr">
              <a:buFontTx/>
              <a:buNone/>
              <a:defRPr sz="675"/>
            </a:lvl3pPr>
            <a:lvl4pPr marL="1028624" indent="0" algn="ctr">
              <a:buFontTx/>
              <a:buNone/>
              <a:defRPr sz="675"/>
            </a:lvl4pPr>
            <a:lvl5pPr marL="1371498" indent="0" algn="ctr">
              <a:buFontTx/>
              <a:buNone/>
              <a:defRPr sz="675"/>
            </a:lvl5pPr>
          </a:lstStyle>
          <a:p>
            <a:pPr marL="0" marR="0" lvl="0" indent="0" algn="ctr" defTabSz="342875" rtl="0" eaLnBrk="1" fontAlgn="auto" latinLnBrk="0" hangingPunct="1">
              <a:lnSpc>
                <a:spcPct val="100000"/>
              </a:lnSpc>
              <a:spcBef>
                <a:spcPct val="20000"/>
              </a:spcBef>
              <a:spcAft>
                <a:spcPts val="0"/>
              </a:spcAft>
              <a:buClr>
                <a:srgbClr val="E1061C"/>
              </a:buClr>
              <a:buSzTx/>
              <a:buFontTx/>
              <a:buNone/>
              <a:tabLst/>
              <a:defRPr/>
            </a:pPr>
            <a:r>
              <a:rPr lang="en-GB" noProof="0" dirty="0"/>
              <a:t>[Insert legal entity - classification level]</a:t>
            </a:r>
          </a:p>
        </p:txBody>
      </p:sp>
      <p:sp>
        <p:nvSpPr>
          <p:cNvPr id="4" name="SlideNumber"/>
          <p:cNvSpPr>
            <a:spLocks noGrp="1"/>
          </p:cNvSpPr>
          <p:nvPr>
            <p:ph type="sldNum" sz="quarter" idx="11"/>
          </p:nvPr>
        </p:nvSpPr>
        <p:spPr/>
        <p:txBody>
          <a:bodyPr/>
          <a:lstStyle/>
          <a:p>
            <a:fld id="{9E8169F0-646E-455B-AF5A-6D6C02EAEAF6}" type="slidenum">
              <a:rPr lang="en-GB" noProof="1" dirty="0" smtClean="0"/>
              <a:t>‹#›</a:t>
            </a:fld>
            <a:endParaRPr lang="en-GB" noProof="1"/>
          </a:p>
        </p:txBody>
      </p:sp>
      <p:sp>
        <p:nvSpPr>
          <p:cNvPr id="5" name="Text"/>
          <p:cNvSpPr>
            <a:spLocks noGrp="1"/>
          </p:cNvSpPr>
          <p:nvPr>
            <p:ph sz="quarter" idx="16" hasCustomPrompt="1"/>
          </p:nvPr>
        </p:nvSpPr>
        <p:spPr>
          <a:xfrm>
            <a:off x="5983200" y="946800"/>
            <a:ext cx="2970000" cy="3528000"/>
          </a:xfrm>
        </p:spPr>
        <p:txBody>
          <a:bodyPr anchor="ctr"/>
          <a:lstStyle>
            <a:lvl1pPr marL="132151" marR="0" indent="-132151" algn="l" defTabSz="342875" rtl="0" eaLnBrk="1" fontAlgn="auto" latinLnBrk="0" hangingPunct="1">
              <a:lnSpc>
                <a:spcPct val="100000"/>
              </a:lnSpc>
              <a:spcBef>
                <a:spcPct val="20000"/>
              </a:spcBef>
              <a:spcAft>
                <a:spcPts val="0"/>
              </a:spcAft>
              <a:buClr>
                <a:srgbClr val="E1061C"/>
              </a:buClr>
              <a:buSzTx/>
              <a:buFont typeface="Arial"/>
              <a:buChar char="•"/>
              <a:tabLst/>
              <a:defRPr/>
            </a:lvl1pPr>
            <a:lvl2pPr marL="470261" marR="0" indent="-127388" algn="l" defTabSz="342875" rtl="0" eaLnBrk="1" fontAlgn="auto" latinLnBrk="0" hangingPunct="1">
              <a:lnSpc>
                <a:spcPct val="100000"/>
              </a:lnSpc>
              <a:spcBef>
                <a:spcPct val="20000"/>
              </a:spcBef>
              <a:spcAft>
                <a:spcPts val="0"/>
              </a:spcAft>
              <a:buClr>
                <a:srgbClr val="E1061C"/>
              </a:buClr>
              <a:buSzTx/>
              <a:buFont typeface="Arial"/>
              <a:buChar char="•"/>
              <a:tabLst/>
              <a:defRPr/>
            </a:lvl2pPr>
            <a:lvl3pPr marL="809565" marR="0" indent="-123816" algn="l" defTabSz="342875" rtl="0" eaLnBrk="1" fontAlgn="auto" latinLnBrk="0" hangingPunct="1">
              <a:lnSpc>
                <a:spcPct val="100000"/>
              </a:lnSpc>
              <a:spcBef>
                <a:spcPct val="20000"/>
              </a:spcBef>
              <a:spcAft>
                <a:spcPts val="0"/>
              </a:spcAft>
              <a:buClr>
                <a:srgbClr val="E1061C"/>
              </a:buClr>
              <a:buSzTx/>
              <a:buFont typeface="Arial"/>
              <a:buChar char="•"/>
              <a:tabLst/>
              <a:defRPr/>
            </a:lvl3pPr>
            <a:lvl4pPr marL="1141724" marR="0" indent="-113102" algn="l" defTabSz="342875" rtl="0" eaLnBrk="1" fontAlgn="auto" latinLnBrk="0" hangingPunct="1">
              <a:lnSpc>
                <a:spcPct val="100000"/>
              </a:lnSpc>
              <a:spcBef>
                <a:spcPct val="20000"/>
              </a:spcBef>
              <a:spcAft>
                <a:spcPts val="0"/>
              </a:spcAft>
              <a:buClr>
                <a:srgbClr val="E1061C"/>
              </a:buClr>
              <a:buSzTx/>
              <a:buFont typeface="Arial"/>
              <a:buChar char="•"/>
              <a:tabLst/>
              <a:defRPr/>
            </a:lvl4pPr>
            <a:lvl5pPr marL="1479836" marR="0" indent="-108338" algn="l" defTabSz="342875" rtl="0" eaLnBrk="1" fontAlgn="auto" latinLnBrk="0" hangingPunct="1">
              <a:lnSpc>
                <a:spcPct val="100000"/>
              </a:lnSpc>
              <a:spcBef>
                <a:spcPct val="20000"/>
              </a:spcBef>
              <a:spcAft>
                <a:spcPts val="0"/>
              </a:spcAft>
              <a:buClr>
                <a:srgbClr val="E1061C"/>
              </a:buClr>
              <a:buSzTx/>
              <a:buFont typeface="Arial"/>
              <a:buChar char="•"/>
              <a:tabLst/>
              <a:defRPr/>
            </a:lvl5pPr>
          </a:lstStyle>
          <a:p>
            <a:pPr lvl="0"/>
            <a:r>
              <a:rPr lang="en-GB" noProof="0" dirty="0"/>
              <a:t>Insert text</a:t>
            </a:r>
          </a:p>
          <a:p>
            <a:pPr lvl="1"/>
            <a:r>
              <a:rPr lang="en-GB" noProof="0" dirty="0"/>
              <a:t>2° level</a:t>
            </a:r>
          </a:p>
          <a:p>
            <a:pPr lvl="2"/>
            <a:r>
              <a:rPr lang="en-GB" noProof="0" dirty="0"/>
              <a:t>3° level</a:t>
            </a:r>
          </a:p>
          <a:p>
            <a:pPr lvl="3"/>
            <a:r>
              <a:rPr lang="en-GB" noProof="0" dirty="0"/>
              <a:t>4° level</a:t>
            </a:r>
          </a:p>
          <a:p>
            <a:pPr lvl="4"/>
            <a:r>
              <a:rPr lang="en-GB" noProof="0" dirty="0"/>
              <a:t>5° level</a:t>
            </a:r>
          </a:p>
        </p:txBody>
      </p:sp>
      <p:sp>
        <p:nvSpPr>
          <p:cNvPr id="2" name="Title"/>
          <p:cNvSpPr>
            <a:spLocks noGrp="1"/>
          </p:cNvSpPr>
          <p:nvPr>
            <p:ph type="title" hasCustomPrompt="1"/>
          </p:nvPr>
        </p:nvSpPr>
        <p:spPr/>
        <p:txBody>
          <a:bodyPr vert="horz" lIns="0" tIns="0" rIns="0" bIns="0" rtlCol="0" anchor="ctr">
            <a:noAutofit/>
          </a:bodyPr>
          <a:lstStyle>
            <a:lvl1pPr>
              <a:defRPr lang="en-GB" noProof="0" dirty="0"/>
            </a:lvl1pPr>
          </a:lstStyle>
          <a:p>
            <a:pPr lvl="0">
              <a:lnSpc>
                <a:spcPts val="2400"/>
              </a:lnSpc>
            </a:pPr>
            <a:r>
              <a:rPr lang="en-GB" noProof="0" dirty="0"/>
              <a:t>Insert title</a:t>
            </a:r>
          </a:p>
        </p:txBody>
      </p:sp>
    </p:spTree>
    <p:extLst>
      <p:ext uri="{BB962C8B-B14F-4D97-AF65-F5344CB8AC3E}">
        <p14:creationId xmlns:p14="http://schemas.microsoft.com/office/powerpoint/2010/main" val="26140449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Internal Slide - Picture only 1">
    <p:spTree>
      <p:nvGrpSpPr>
        <p:cNvPr id="1" name=""/>
        <p:cNvGrpSpPr/>
        <p:nvPr/>
      </p:nvGrpSpPr>
      <p:grpSpPr>
        <a:xfrm>
          <a:off x="0" y="0"/>
          <a:ext cx="0" cy="0"/>
          <a:chOff x="0" y="0"/>
          <a:chExt cx="0" cy="0"/>
        </a:xfrm>
      </p:grpSpPr>
      <p:sp>
        <p:nvSpPr>
          <p:cNvPr id="8" name="Picture"/>
          <p:cNvSpPr>
            <a:spLocks noGrp="1"/>
          </p:cNvSpPr>
          <p:nvPr>
            <p:ph type="pic" sz="quarter" idx="13" hasCustomPrompt="1"/>
          </p:nvPr>
        </p:nvSpPr>
        <p:spPr>
          <a:xfrm>
            <a:off x="0" y="730800"/>
            <a:ext cx="9144000" cy="4424400"/>
          </a:xfrm>
          <a:prstGeom prst="rect">
            <a:avLst/>
          </a:prstGeom>
        </p:spPr>
        <p:txBody>
          <a:bodyPr lIns="0" tIns="0" rIns="0" bIns="0" anchor="ctr" anchorCtr="1">
            <a:normAutofit/>
          </a:bodyPr>
          <a:lstStyle>
            <a:lvl1pPr marL="0" indent="0">
              <a:buNone/>
              <a:defRPr sz="100">
                <a:noFill/>
                <a:latin typeface="UniCredit" panose="02000506040000020004" pitchFamily="2" charset="0"/>
              </a:defRPr>
            </a:lvl1pPr>
          </a:lstStyle>
          <a:p>
            <a:r>
              <a:rPr lang="en-GB" noProof="1"/>
              <a:t>Insert picture12,24</a:t>
            </a:r>
          </a:p>
          <a:p>
            <a:endParaRPr lang="en-GB" noProof="1"/>
          </a:p>
        </p:txBody>
      </p:sp>
      <p:sp>
        <p:nvSpPr>
          <p:cNvPr id="5" name="UCOne"/>
          <p:cNvSpPr>
            <a:spLocks noGrp="1"/>
          </p:cNvSpPr>
          <p:nvPr>
            <p:ph type="body" sz="quarter" idx="15"/>
          </p:nvPr>
        </p:nvSpPr>
        <p:spPr>
          <a:xfrm>
            <a:off x="8593200" y="4604400"/>
            <a:ext cx="360000" cy="360000"/>
          </a:xfrm>
          <a:blipFill>
            <a:blip r:embed="rId2"/>
            <a:stretch>
              <a:fillRect/>
            </a:stretch>
          </a:blipFill>
        </p:spPr>
        <p:txBody>
          <a:bodyPr>
            <a:normAutofit/>
          </a:bodyPr>
          <a:lstStyle>
            <a:lvl1pPr marL="0" indent="0">
              <a:buNone/>
              <a:defRPr sz="100">
                <a:noFill/>
                <a:latin typeface="UniCredit" panose="02000506040000020004" pitchFamily="2" charset="0"/>
              </a:defRPr>
            </a:lvl1pPr>
          </a:lstStyle>
          <a:p>
            <a:pPr lvl="0"/>
            <a:r>
              <a:rPr lang="en-US" noProof="1"/>
              <a:t>Click to edit Master text styles</a:t>
            </a:r>
          </a:p>
        </p:txBody>
      </p:sp>
      <p:sp>
        <p:nvSpPr>
          <p:cNvPr id="4" name="LegalEntity"/>
          <p:cNvSpPr>
            <a:spLocks noGrp="1"/>
          </p:cNvSpPr>
          <p:nvPr>
            <p:ph type="body" sz="quarter" idx="14" hasCustomPrompt="1"/>
          </p:nvPr>
        </p:nvSpPr>
        <p:spPr>
          <a:xfrm>
            <a:off x="3312000" y="4964400"/>
            <a:ext cx="2520000" cy="144000"/>
          </a:xfrm>
        </p:spPr>
        <p:txBody>
          <a:bodyPr>
            <a:noAutofit/>
          </a:bodyPr>
          <a:lstStyle>
            <a:lvl1pPr marL="0" marR="0" indent="0" algn="ctr" defTabSz="342875" rtl="0" eaLnBrk="1" fontAlgn="auto" latinLnBrk="0" hangingPunct="1">
              <a:lnSpc>
                <a:spcPct val="100000"/>
              </a:lnSpc>
              <a:spcBef>
                <a:spcPct val="20000"/>
              </a:spcBef>
              <a:spcAft>
                <a:spcPts val="0"/>
              </a:spcAft>
              <a:buClr>
                <a:srgbClr val="E1061C"/>
              </a:buClr>
              <a:buSzTx/>
              <a:buFontTx/>
              <a:buNone/>
              <a:tabLst/>
              <a:defRPr sz="1000">
                <a:latin typeface="+mn-lt"/>
              </a:defRPr>
            </a:lvl1pPr>
            <a:lvl2pPr marL="342875" indent="0" algn="ctr">
              <a:buFontTx/>
              <a:buNone/>
              <a:defRPr sz="675"/>
            </a:lvl2pPr>
            <a:lvl3pPr marL="685749" indent="0" algn="ctr">
              <a:buFontTx/>
              <a:buNone/>
              <a:defRPr sz="675"/>
            </a:lvl3pPr>
            <a:lvl4pPr marL="1028624" indent="0" algn="ctr">
              <a:buFontTx/>
              <a:buNone/>
              <a:defRPr sz="675"/>
            </a:lvl4pPr>
            <a:lvl5pPr marL="1371498" indent="0" algn="ctr">
              <a:buFontTx/>
              <a:buNone/>
              <a:defRPr sz="675"/>
            </a:lvl5pPr>
          </a:lstStyle>
          <a:p>
            <a:pPr marL="0" marR="0" lvl="0" indent="0" algn="ctr" defTabSz="342875" rtl="0" eaLnBrk="1" fontAlgn="auto" latinLnBrk="0" hangingPunct="1">
              <a:lnSpc>
                <a:spcPct val="100000"/>
              </a:lnSpc>
              <a:spcBef>
                <a:spcPct val="20000"/>
              </a:spcBef>
              <a:spcAft>
                <a:spcPts val="0"/>
              </a:spcAft>
              <a:buClr>
                <a:srgbClr val="E1061C"/>
              </a:buClr>
              <a:buSzTx/>
              <a:buFontTx/>
              <a:buNone/>
              <a:tabLst/>
              <a:defRPr/>
            </a:pPr>
            <a:r>
              <a:rPr lang="en-GB" noProof="0" dirty="0"/>
              <a:t>[Insert legal entity - classification level]</a:t>
            </a:r>
          </a:p>
        </p:txBody>
      </p:sp>
      <p:sp>
        <p:nvSpPr>
          <p:cNvPr id="7" name="SlideNumber"/>
          <p:cNvSpPr>
            <a:spLocks noGrp="1"/>
          </p:cNvSpPr>
          <p:nvPr>
            <p:ph type="sldNum" sz="quarter" idx="11"/>
          </p:nvPr>
        </p:nvSpPr>
        <p:spPr>
          <a:xfrm>
            <a:off x="270000" y="4604400"/>
            <a:ext cx="270000" cy="360000"/>
          </a:xfrm>
        </p:spPr>
        <p:txBody>
          <a:bodyPr/>
          <a:lstStyle/>
          <a:p>
            <a:fld id="{9E8169F0-646E-455B-AF5A-6D6C02EAEAF6}" type="slidenum">
              <a:rPr lang="en-GB" noProof="1" dirty="0" smtClean="0"/>
              <a:t>‹#›</a:t>
            </a:fld>
            <a:endParaRPr lang="en-GB" noProof="1"/>
          </a:p>
        </p:txBody>
      </p:sp>
      <p:sp>
        <p:nvSpPr>
          <p:cNvPr id="9" name="Headline"/>
          <p:cNvSpPr>
            <a:spLocks noChangeShapeType="1"/>
          </p:cNvSpPr>
          <p:nvPr/>
        </p:nvSpPr>
        <p:spPr bwMode="auto">
          <a:xfrm>
            <a:off x="0" y="720000"/>
            <a:ext cx="9144000" cy="0"/>
          </a:xfrm>
          <a:prstGeom prst="line">
            <a:avLst/>
          </a:prstGeom>
          <a:noFill/>
          <a:ln w="19050">
            <a:solidFill>
              <a:srgbClr val="00AFD0"/>
            </a:solidFill>
            <a:round/>
            <a:headEnd/>
            <a:tailEnd type="none" w="med" len="med"/>
          </a:ln>
          <a:extLst>
            <a:ext uri="{909E8E84-426E-40DD-AFC4-6F175D3DCCD1}">
              <a14:hiddenFill xmlns:a14="http://schemas.microsoft.com/office/drawing/2010/main">
                <a:noFill/>
              </a14:hiddenFill>
            </a:ext>
          </a:extLst>
        </p:spPr>
        <p:txBody>
          <a:bodyPr lIns="0" tIns="0" rIns="0" bIns="0" anchor="ctr">
            <a:spAutoFit/>
          </a:bodyPr>
          <a:lstStyle/>
          <a:p>
            <a:endParaRPr lang="en-GB" sz="100" noProof="1">
              <a:latin typeface="UniCredit" panose="02000506040000020004" pitchFamily="2" charset="0"/>
            </a:endParaRPr>
          </a:p>
        </p:txBody>
      </p:sp>
      <p:sp>
        <p:nvSpPr>
          <p:cNvPr id="2" name="Title"/>
          <p:cNvSpPr>
            <a:spLocks noGrp="1"/>
          </p:cNvSpPr>
          <p:nvPr>
            <p:ph type="title" hasCustomPrompt="1"/>
          </p:nvPr>
        </p:nvSpPr>
        <p:spPr>
          <a:xfrm>
            <a:off x="270000" y="0"/>
            <a:ext cx="8679600" cy="702000"/>
          </a:xfrm>
        </p:spPr>
        <p:txBody>
          <a:bodyPr vert="horz" lIns="0" tIns="0" rIns="0" bIns="0" rtlCol="0" anchor="ctr">
            <a:noAutofit/>
          </a:bodyPr>
          <a:lstStyle>
            <a:lvl1pPr>
              <a:defRPr lang="en-GB" noProof="0" dirty="0"/>
            </a:lvl1pPr>
          </a:lstStyle>
          <a:p>
            <a:pPr lvl="0">
              <a:lnSpc>
                <a:spcPts val="2400"/>
              </a:lnSpc>
            </a:pPr>
            <a:r>
              <a:rPr lang="en-GB" noProof="0" dirty="0"/>
              <a:t>Insert title</a:t>
            </a:r>
          </a:p>
        </p:txBody>
      </p:sp>
    </p:spTree>
    <p:extLst>
      <p:ext uri="{BB962C8B-B14F-4D97-AF65-F5344CB8AC3E}">
        <p14:creationId xmlns:p14="http://schemas.microsoft.com/office/powerpoint/2010/main" val="376600632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Internal Slide - Picture only 2">
    <p:spTree>
      <p:nvGrpSpPr>
        <p:cNvPr id="1" name=""/>
        <p:cNvGrpSpPr/>
        <p:nvPr/>
      </p:nvGrpSpPr>
      <p:grpSpPr>
        <a:xfrm>
          <a:off x="0" y="0"/>
          <a:ext cx="0" cy="0"/>
          <a:chOff x="0" y="0"/>
          <a:chExt cx="0" cy="0"/>
        </a:xfrm>
      </p:grpSpPr>
      <p:sp>
        <p:nvSpPr>
          <p:cNvPr id="6" name="Picture"/>
          <p:cNvSpPr>
            <a:spLocks noGrp="1"/>
          </p:cNvSpPr>
          <p:nvPr>
            <p:ph type="pic" sz="quarter" idx="13" hasCustomPrompt="1"/>
          </p:nvPr>
        </p:nvSpPr>
        <p:spPr>
          <a:xfrm>
            <a:off x="0" y="0"/>
            <a:ext cx="9144000" cy="5143500"/>
          </a:xfrm>
          <a:prstGeom prst="rect">
            <a:avLst/>
          </a:prstGeom>
        </p:spPr>
        <p:txBody>
          <a:bodyPr lIns="0" tIns="0" rIns="0" bIns="0" anchor="ctr" anchorCtr="1">
            <a:normAutofit/>
          </a:bodyPr>
          <a:lstStyle>
            <a:lvl1pPr marL="0" indent="0">
              <a:buNone/>
              <a:defRPr sz="100">
                <a:noFill/>
                <a:latin typeface="UniCredit" panose="02000506040000020004" pitchFamily="2" charset="0"/>
              </a:defRPr>
            </a:lvl1pPr>
          </a:lstStyle>
          <a:p>
            <a:r>
              <a:rPr lang="en-GB" noProof="1"/>
              <a:t>Insert picture</a:t>
            </a:r>
          </a:p>
        </p:txBody>
      </p:sp>
      <p:sp>
        <p:nvSpPr>
          <p:cNvPr id="5" name="UCOne"/>
          <p:cNvSpPr>
            <a:spLocks noGrp="1"/>
          </p:cNvSpPr>
          <p:nvPr>
            <p:ph type="body" sz="quarter" idx="15"/>
          </p:nvPr>
        </p:nvSpPr>
        <p:spPr>
          <a:xfrm>
            <a:off x="8593200" y="4604400"/>
            <a:ext cx="360000" cy="360000"/>
          </a:xfrm>
          <a:blipFill>
            <a:blip r:embed="rId2"/>
            <a:stretch>
              <a:fillRect/>
            </a:stretch>
          </a:blipFill>
        </p:spPr>
        <p:txBody>
          <a:bodyPr>
            <a:normAutofit/>
          </a:bodyPr>
          <a:lstStyle>
            <a:lvl1pPr marL="0" indent="0">
              <a:buNone/>
              <a:defRPr sz="100">
                <a:noFill/>
                <a:latin typeface="UniCredit" panose="02000506040000020004" pitchFamily="2" charset="0"/>
              </a:defRPr>
            </a:lvl1pPr>
          </a:lstStyle>
          <a:p>
            <a:pPr lvl="0"/>
            <a:r>
              <a:rPr lang="en-US" noProof="1"/>
              <a:t>Click to edit Master text styles</a:t>
            </a:r>
          </a:p>
        </p:txBody>
      </p:sp>
      <p:sp>
        <p:nvSpPr>
          <p:cNvPr id="4" name="LegalEntity"/>
          <p:cNvSpPr>
            <a:spLocks noGrp="1"/>
          </p:cNvSpPr>
          <p:nvPr>
            <p:ph type="body" sz="quarter" idx="14" hasCustomPrompt="1"/>
          </p:nvPr>
        </p:nvSpPr>
        <p:spPr>
          <a:xfrm>
            <a:off x="3312000" y="4964400"/>
            <a:ext cx="2520000" cy="144000"/>
          </a:xfrm>
        </p:spPr>
        <p:txBody>
          <a:bodyPr>
            <a:noAutofit/>
          </a:bodyPr>
          <a:lstStyle>
            <a:lvl1pPr marL="0" marR="0" indent="0" algn="ctr" defTabSz="342875" rtl="0" eaLnBrk="1" fontAlgn="auto" latinLnBrk="0" hangingPunct="1">
              <a:lnSpc>
                <a:spcPct val="100000"/>
              </a:lnSpc>
              <a:spcBef>
                <a:spcPct val="20000"/>
              </a:spcBef>
              <a:spcAft>
                <a:spcPts val="0"/>
              </a:spcAft>
              <a:buClr>
                <a:srgbClr val="E1061C"/>
              </a:buClr>
              <a:buSzTx/>
              <a:buFontTx/>
              <a:buNone/>
              <a:tabLst/>
              <a:defRPr sz="1000">
                <a:latin typeface="+mn-lt"/>
              </a:defRPr>
            </a:lvl1pPr>
            <a:lvl2pPr marL="342875" indent="0" algn="ctr">
              <a:buFontTx/>
              <a:buNone/>
              <a:defRPr sz="675"/>
            </a:lvl2pPr>
            <a:lvl3pPr marL="685749" indent="0" algn="ctr">
              <a:buFontTx/>
              <a:buNone/>
              <a:defRPr sz="675"/>
            </a:lvl3pPr>
            <a:lvl4pPr marL="1028624" indent="0" algn="ctr">
              <a:buFontTx/>
              <a:buNone/>
              <a:defRPr sz="675"/>
            </a:lvl4pPr>
            <a:lvl5pPr marL="1371498" indent="0" algn="ctr">
              <a:buFontTx/>
              <a:buNone/>
              <a:defRPr sz="675"/>
            </a:lvl5pPr>
          </a:lstStyle>
          <a:p>
            <a:pPr marL="0" marR="0" lvl="0" indent="0" algn="ctr" defTabSz="342875" rtl="0" eaLnBrk="1" fontAlgn="auto" latinLnBrk="0" hangingPunct="1">
              <a:lnSpc>
                <a:spcPct val="100000"/>
              </a:lnSpc>
              <a:spcBef>
                <a:spcPct val="20000"/>
              </a:spcBef>
              <a:spcAft>
                <a:spcPts val="0"/>
              </a:spcAft>
              <a:buClr>
                <a:srgbClr val="E1061C"/>
              </a:buClr>
              <a:buSzTx/>
              <a:buFontTx/>
              <a:buNone/>
              <a:tabLst/>
              <a:defRPr/>
            </a:pPr>
            <a:r>
              <a:rPr lang="en-GB" noProof="0" dirty="0"/>
              <a:t>[Insert legal entity - classification level]</a:t>
            </a:r>
          </a:p>
        </p:txBody>
      </p:sp>
      <p:sp>
        <p:nvSpPr>
          <p:cNvPr id="8" name="SlideNumber"/>
          <p:cNvSpPr>
            <a:spLocks noGrp="1"/>
          </p:cNvSpPr>
          <p:nvPr>
            <p:ph type="sldNum" sz="quarter" idx="11"/>
          </p:nvPr>
        </p:nvSpPr>
        <p:spPr>
          <a:xfrm>
            <a:off x="270000" y="4604400"/>
            <a:ext cx="270000" cy="360000"/>
          </a:xfrm>
        </p:spPr>
        <p:txBody>
          <a:bodyPr/>
          <a:lstStyle/>
          <a:p>
            <a:fld id="{9E8169F0-646E-455B-AF5A-6D6C02EAEAF6}" type="slidenum">
              <a:rPr lang="en-GB" noProof="1" dirty="0" smtClean="0"/>
              <a:t>‹#›</a:t>
            </a:fld>
            <a:endParaRPr lang="en-GB" noProof="1"/>
          </a:p>
        </p:txBody>
      </p:sp>
      <p:sp>
        <p:nvSpPr>
          <p:cNvPr id="2" name="Title"/>
          <p:cNvSpPr>
            <a:spLocks noGrp="1"/>
          </p:cNvSpPr>
          <p:nvPr>
            <p:ph type="title" hasCustomPrompt="1"/>
          </p:nvPr>
        </p:nvSpPr>
        <p:spPr>
          <a:xfrm>
            <a:off x="1080000" y="622800"/>
            <a:ext cx="3895200" cy="1101600"/>
          </a:xfrm>
        </p:spPr>
        <p:txBody>
          <a:bodyPr anchor="t" anchorCtr="0"/>
          <a:lstStyle>
            <a:lvl1pPr>
              <a:lnSpc>
                <a:spcPts val="3600"/>
              </a:lnSpc>
              <a:defRPr sz="3600"/>
            </a:lvl1pPr>
          </a:lstStyle>
          <a:p>
            <a:r>
              <a:rPr lang="en-GB" noProof="0" dirty="0"/>
              <a:t>Insert title</a:t>
            </a:r>
          </a:p>
        </p:txBody>
      </p:sp>
    </p:spTree>
    <p:extLst>
      <p:ext uri="{BB962C8B-B14F-4D97-AF65-F5344CB8AC3E}">
        <p14:creationId xmlns:p14="http://schemas.microsoft.com/office/powerpoint/2010/main" val="364747087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Internal Slide - Picture only 3">
    <p:spTree>
      <p:nvGrpSpPr>
        <p:cNvPr id="1" name=""/>
        <p:cNvGrpSpPr/>
        <p:nvPr/>
      </p:nvGrpSpPr>
      <p:grpSpPr>
        <a:xfrm>
          <a:off x="0" y="0"/>
          <a:ext cx="0" cy="0"/>
          <a:chOff x="0" y="0"/>
          <a:chExt cx="0" cy="0"/>
        </a:xfrm>
      </p:grpSpPr>
      <p:sp>
        <p:nvSpPr>
          <p:cNvPr id="8" name="BlueGradient"/>
          <p:cNvSpPr/>
          <p:nvPr/>
        </p:nvSpPr>
        <p:spPr>
          <a:xfrm>
            <a:off x="0" y="3891600"/>
            <a:ext cx="9144000" cy="1260000"/>
          </a:xfrm>
          <a:prstGeom prst="rect">
            <a:avLst/>
          </a:prstGeom>
          <a:gradFill flip="none" rotWithShape="1">
            <a:gsLst>
              <a:gs pos="11000">
                <a:schemeClr val="bg1">
                  <a:alpha val="78000"/>
                </a:schemeClr>
              </a:gs>
              <a:gs pos="100000">
                <a:srgbClr val="2EAEDA">
                  <a:alpha val="78000"/>
                </a:srgbClr>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 noProof="1">
              <a:noFill/>
              <a:latin typeface="UniCredit" panose="02000506040000020004" pitchFamily="2" charset="0"/>
              <a:cs typeface="Arial" panose="020B0604020202020204" pitchFamily="34" charset="0"/>
            </a:endParaRPr>
          </a:p>
        </p:txBody>
      </p:sp>
      <p:sp>
        <p:nvSpPr>
          <p:cNvPr id="7" name="Picture"/>
          <p:cNvSpPr>
            <a:spLocks noGrp="1"/>
          </p:cNvSpPr>
          <p:nvPr>
            <p:ph type="pic" sz="quarter" idx="13" hasCustomPrompt="1"/>
          </p:nvPr>
        </p:nvSpPr>
        <p:spPr>
          <a:xfrm>
            <a:off x="0" y="0"/>
            <a:ext cx="9144000" cy="3895200"/>
          </a:xfrm>
          <a:prstGeom prst="rect">
            <a:avLst/>
          </a:prstGeom>
        </p:spPr>
        <p:txBody>
          <a:bodyPr lIns="0" tIns="0" rIns="0" bIns="0" anchor="ctr" anchorCtr="1">
            <a:normAutofit/>
          </a:bodyPr>
          <a:lstStyle>
            <a:lvl1pPr marL="0" indent="0">
              <a:buNone/>
              <a:defRPr sz="100">
                <a:noFill/>
                <a:latin typeface="UniCredit" panose="02000506040000020004" pitchFamily="2" charset="0"/>
              </a:defRPr>
            </a:lvl1pPr>
          </a:lstStyle>
          <a:p>
            <a:r>
              <a:rPr lang="en-GB" noProof="1"/>
              <a:t>Insert picture</a:t>
            </a:r>
          </a:p>
        </p:txBody>
      </p:sp>
      <p:sp>
        <p:nvSpPr>
          <p:cNvPr id="4" name="LegalEntity"/>
          <p:cNvSpPr>
            <a:spLocks noGrp="1"/>
          </p:cNvSpPr>
          <p:nvPr>
            <p:ph type="body" sz="quarter" idx="14" hasCustomPrompt="1"/>
          </p:nvPr>
        </p:nvSpPr>
        <p:spPr>
          <a:xfrm>
            <a:off x="3312000" y="4964400"/>
            <a:ext cx="2519362" cy="144000"/>
          </a:xfrm>
        </p:spPr>
        <p:txBody>
          <a:bodyPr>
            <a:noAutofit/>
          </a:bodyPr>
          <a:lstStyle>
            <a:lvl1pPr marL="0" marR="0" indent="0" algn="ctr" defTabSz="342875" rtl="0" eaLnBrk="1" fontAlgn="auto" latinLnBrk="0" hangingPunct="1">
              <a:lnSpc>
                <a:spcPct val="100000"/>
              </a:lnSpc>
              <a:spcBef>
                <a:spcPct val="20000"/>
              </a:spcBef>
              <a:spcAft>
                <a:spcPts val="0"/>
              </a:spcAft>
              <a:buClr>
                <a:srgbClr val="E1061C"/>
              </a:buClr>
              <a:buSzTx/>
              <a:buFontTx/>
              <a:buNone/>
              <a:tabLst/>
              <a:defRPr sz="1000">
                <a:latin typeface="+mn-lt"/>
              </a:defRPr>
            </a:lvl1pPr>
            <a:lvl2pPr marL="342875" indent="0" algn="ctr">
              <a:buFontTx/>
              <a:buNone/>
              <a:defRPr sz="675"/>
            </a:lvl2pPr>
            <a:lvl3pPr marL="685749" indent="0" algn="ctr">
              <a:buFontTx/>
              <a:buNone/>
              <a:defRPr sz="675"/>
            </a:lvl3pPr>
            <a:lvl4pPr marL="1028624" indent="0" algn="ctr">
              <a:buFontTx/>
              <a:buNone/>
              <a:defRPr sz="675"/>
            </a:lvl4pPr>
            <a:lvl5pPr marL="1371498" indent="0" algn="ctr">
              <a:buFontTx/>
              <a:buNone/>
              <a:defRPr sz="675"/>
            </a:lvl5pPr>
          </a:lstStyle>
          <a:p>
            <a:pPr marL="0" marR="0" lvl="0" indent="0" algn="ctr" defTabSz="342875" rtl="0" eaLnBrk="1" fontAlgn="auto" latinLnBrk="0" hangingPunct="1">
              <a:lnSpc>
                <a:spcPct val="100000"/>
              </a:lnSpc>
              <a:spcBef>
                <a:spcPct val="20000"/>
              </a:spcBef>
              <a:spcAft>
                <a:spcPts val="0"/>
              </a:spcAft>
              <a:buClr>
                <a:srgbClr val="E1061C"/>
              </a:buClr>
              <a:buSzTx/>
              <a:buFontTx/>
              <a:buNone/>
              <a:tabLst/>
              <a:defRPr/>
            </a:pPr>
            <a:r>
              <a:rPr lang="en-GB" noProof="0" dirty="0"/>
              <a:t>[Insert legal entity - classification level]</a:t>
            </a:r>
          </a:p>
        </p:txBody>
      </p:sp>
      <p:pic>
        <p:nvPicPr>
          <p:cNvPr id="10" name="UCOne" descr="sfere 2D.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93200" y="4603824"/>
            <a:ext cx="359676" cy="359676"/>
          </a:xfrm>
          <a:prstGeom prst="rect">
            <a:avLst/>
          </a:prstGeom>
        </p:spPr>
      </p:pic>
      <p:sp>
        <p:nvSpPr>
          <p:cNvPr id="2" name="Title"/>
          <p:cNvSpPr>
            <a:spLocks noGrp="1"/>
          </p:cNvSpPr>
          <p:nvPr>
            <p:ph type="title" hasCustomPrompt="1"/>
          </p:nvPr>
        </p:nvSpPr>
        <p:spPr>
          <a:xfrm>
            <a:off x="540000" y="4168800"/>
            <a:ext cx="7779600" cy="734400"/>
          </a:xfrm>
        </p:spPr>
        <p:txBody>
          <a:bodyPr/>
          <a:lstStyle>
            <a:lvl1pPr>
              <a:lnSpc>
                <a:spcPts val="3600"/>
              </a:lnSpc>
              <a:defRPr sz="3600"/>
            </a:lvl1pPr>
          </a:lstStyle>
          <a:p>
            <a:r>
              <a:rPr lang="en-GB" noProof="0" dirty="0"/>
              <a:t>Insert title</a:t>
            </a:r>
          </a:p>
        </p:txBody>
      </p:sp>
    </p:spTree>
    <p:extLst>
      <p:ext uri="{BB962C8B-B14F-4D97-AF65-F5344CB8AC3E}">
        <p14:creationId xmlns:p14="http://schemas.microsoft.com/office/powerpoint/2010/main" val="197091237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ternal Slide - 1 Column Text without Line">
    <p:spTree>
      <p:nvGrpSpPr>
        <p:cNvPr id="1" name=""/>
        <p:cNvGrpSpPr/>
        <p:nvPr/>
      </p:nvGrpSpPr>
      <p:grpSpPr>
        <a:xfrm>
          <a:off x="0" y="0"/>
          <a:ext cx="0" cy="0"/>
          <a:chOff x="0" y="0"/>
          <a:chExt cx="0" cy="0"/>
        </a:xfrm>
      </p:grpSpPr>
      <p:sp>
        <p:nvSpPr>
          <p:cNvPr id="7" name="LegalEntity"/>
          <p:cNvSpPr>
            <a:spLocks noGrp="1"/>
          </p:cNvSpPr>
          <p:nvPr>
            <p:ph type="body" sz="quarter" idx="12" hasCustomPrompt="1"/>
          </p:nvPr>
        </p:nvSpPr>
        <p:spPr>
          <a:xfrm>
            <a:off x="3312000" y="4964400"/>
            <a:ext cx="2520000" cy="144000"/>
          </a:xfrm>
        </p:spPr>
        <p:txBody>
          <a:bodyPr>
            <a:noAutofit/>
          </a:bodyPr>
          <a:lstStyle>
            <a:lvl1pPr marL="0" marR="0" indent="0" algn="ctr" defTabSz="342875" rtl="0" eaLnBrk="1" fontAlgn="auto" latinLnBrk="0" hangingPunct="1">
              <a:lnSpc>
                <a:spcPct val="100000"/>
              </a:lnSpc>
              <a:spcBef>
                <a:spcPct val="20000"/>
              </a:spcBef>
              <a:spcAft>
                <a:spcPts val="0"/>
              </a:spcAft>
              <a:buClr>
                <a:srgbClr val="E1061C"/>
              </a:buClr>
              <a:buSzTx/>
              <a:buFontTx/>
              <a:buNone/>
              <a:tabLst/>
              <a:defRPr sz="1000">
                <a:latin typeface="+mn-lt"/>
              </a:defRPr>
            </a:lvl1pPr>
            <a:lvl2pPr marL="342875" indent="0" algn="ctr">
              <a:buFontTx/>
              <a:buNone/>
              <a:defRPr sz="675"/>
            </a:lvl2pPr>
            <a:lvl3pPr marL="685749" indent="0" algn="ctr">
              <a:buFontTx/>
              <a:buNone/>
              <a:defRPr sz="675"/>
            </a:lvl3pPr>
            <a:lvl4pPr marL="1028624" indent="0" algn="ctr">
              <a:buFontTx/>
              <a:buNone/>
              <a:defRPr sz="675"/>
            </a:lvl4pPr>
            <a:lvl5pPr marL="1371498" indent="0" algn="ctr">
              <a:buFontTx/>
              <a:buNone/>
              <a:defRPr sz="675"/>
            </a:lvl5pPr>
          </a:lstStyle>
          <a:p>
            <a:pPr marL="0" marR="0" lvl="0" indent="0" algn="ctr" defTabSz="342875" rtl="0" eaLnBrk="1" fontAlgn="auto" latinLnBrk="0" hangingPunct="1">
              <a:lnSpc>
                <a:spcPct val="100000"/>
              </a:lnSpc>
              <a:spcBef>
                <a:spcPct val="20000"/>
              </a:spcBef>
              <a:spcAft>
                <a:spcPts val="0"/>
              </a:spcAft>
              <a:buClr>
                <a:srgbClr val="E1061C"/>
              </a:buClr>
              <a:buSzTx/>
              <a:buFontTx/>
              <a:buNone/>
              <a:tabLst/>
              <a:defRPr/>
            </a:pPr>
            <a:r>
              <a:rPr lang="en-GB" noProof="0" dirty="0"/>
              <a:t>[Insert legal entity - classification level]</a:t>
            </a:r>
          </a:p>
        </p:txBody>
      </p:sp>
      <p:sp>
        <p:nvSpPr>
          <p:cNvPr id="8" name="Footer"/>
          <p:cNvSpPr>
            <a:spLocks noGrp="1"/>
          </p:cNvSpPr>
          <p:nvPr>
            <p:ph type="body" sz="quarter" idx="16" hasCustomPrompt="1"/>
          </p:nvPr>
        </p:nvSpPr>
        <p:spPr>
          <a:xfrm>
            <a:off x="720000" y="4603750"/>
            <a:ext cx="7704000" cy="360000"/>
          </a:xfrm>
        </p:spPr>
        <p:txBody>
          <a:bodyPr>
            <a:noAutofit/>
          </a:bodyPr>
          <a:lstStyle>
            <a:lvl1pPr marL="0" indent="0">
              <a:buNone/>
              <a:defRPr sz="800">
                <a:latin typeface="+mn-lt"/>
                <a:cs typeface="Arial" panose="020B0604020202020204" pitchFamily="34" charset="0"/>
              </a:defRPr>
            </a:lvl1pPr>
            <a:lvl2pPr marL="342882" indent="0">
              <a:buNone/>
              <a:defRPr sz="700">
                <a:latin typeface="Arial" panose="020B0604020202020204" pitchFamily="34" charset="0"/>
                <a:cs typeface="Arial" panose="020B0604020202020204" pitchFamily="34" charset="0"/>
              </a:defRPr>
            </a:lvl2pPr>
            <a:lvl3pPr marL="685766" indent="0">
              <a:buNone/>
              <a:defRPr sz="700">
                <a:latin typeface="Arial" panose="020B0604020202020204" pitchFamily="34" charset="0"/>
                <a:cs typeface="Arial" panose="020B0604020202020204" pitchFamily="34" charset="0"/>
              </a:defRPr>
            </a:lvl3pPr>
            <a:lvl4pPr marL="1028648" indent="0">
              <a:buNone/>
              <a:defRPr sz="700">
                <a:latin typeface="Arial" panose="020B0604020202020204" pitchFamily="34" charset="0"/>
                <a:cs typeface="Arial" panose="020B0604020202020204" pitchFamily="34" charset="0"/>
              </a:defRPr>
            </a:lvl4pPr>
            <a:lvl5pPr marL="1371532" indent="0">
              <a:buNone/>
              <a:defRPr sz="700">
                <a:latin typeface="Arial" panose="020B0604020202020204" pitchFamily="34" charset="0"/>
                <a:cs typeface="Arial" panose="020B0604020202020204" pitchFamily="34" charset="0"/>
              </a:defRPr>
            </a:lvl5pPr>
          </a:lstStyle>
          <a:p>
            <a:pPr lvl="0"/>
            <a:r>
              <a:rPr lang="en-GB" noProof="0" dirty="0"/>
              <a:t>Insert notes</a:t>
            </a:r>
          </a:p>
        </p:txBody>
      </p:sp>
      <p:sp>
        <p:nvSpPr>
          <p:cNvPr id="4" name="SlideNumber"/>
          <p:cNvSpPr>
            <a:spLocks noGrp="1"/>
          </p:cNvSpPr>
          <p:nvPr>
            <p:ph type="sldNum" sz="quarter" idx="11"/>
          </p:nvPr>
        </p:nvSpPr>
        <p:spPr/>
        <p:txBody>
          <a:bodyPr/>
          <a:lstStyle/>
          <a:p>
            <a:fld id="{9E8169F0-646E-455B-AF5A-6D6C02EAEAF6}" type="slidenum">
              <a:rPr lang="en-GB" noProof="1" dirty="0" smtClean="0"/>
              <a:t>‹#›</a:t>
            </a:fld>
            <a:endParaRPr lang="en-GB" noProof="1"/>
          </a:p>
        </p:txBody>
      </p:sp>
      <p:sp>
        <p:nvSpPr>
          <p:cNvPr id="5" name="Text"/>
          <p:cNvSpPr>
            <a:spLocks noGrp="1"/>
          </p:cNvSpPr>
          <p:nvPr>
            <p:ph sz="quarter" idx="15" hasCustomPrompt="1"/>
          </p:nvPr>
        </p:nvSpPr>
        <p:spPr>
          <a:xfrm>
            <a:off x="270000" y="946800"/>
            <a:ext cx="8679600" cy="3312000"/>
          </a:xfrm>
        </p:spPr>
        <p:txBody>
          <a:bodyPr/>
          <a:lstStyle>
            <a:lvl1pPr marL="132151" marR="0" indent="-132151" algn="l" defTabSz="342875" rtl="0" eaLnBrk="1" fontAlgn="auto" latinLnBrk="0" hangingPunct="1">
              <a:lnSpc>
                <a:spcPct val="100000"/>
              </a:lnSpc>
              <a:spcBef>
                <a:spcPct val="20000"/>
              </a:spcBef>
              <a:spcAft>
                <a:spcPts val="0"/>
              </a:spcAft>
              <a:buClr>
                <a:srgbClr val="E1061C"/>
              </a:buClr>
              <a:buSzTx/>
              <a:buFont typeface="Arial"/>
              <a:buChar char="•"/>
              <a:tabLst/>
              <a:defRPr/>
            </a:lvl1pPr>
            <a:lvl2pPr marL="470261" marR="0" indent="-127388" algn="l" defTabSz="342875" rtl="0" eaLnBrk="1" fontAlgn="auto" latinLnBrk="0" hangingPunct="1">
              <a:lnSpc>
                <a:spcPct val="100000"/>
              </a:lnSpc>
              <a:spcBef>
                <a:spcPct val="20000"/>
              </a:spcBef>
              <a:spcAft>
                <a:spcPts val="0"/>
              </a:spcAft>
              <a:buClr>
                <a:srgbClr val="E1061C"/>
              </a:buClr>
              <a:buSzTx/>
              <a:buFont typeface="Arial"/>
              <a:buChar char="•"/>
              <a:tabLst/>
              <a:defRPr/>
            </a:lvl2pPr>
            <a:lvl3pPr marL="809565" marR="0" indent="-123816" algn="l" defTabSz="342875" rtl="0" eaLnBrk="1" fontAlgn="auto" latinLnBrk="0" hangingPunct="1">
              <a:lnSpc>
                <a:spcPct val="100000"/>
              </a:lnSpc>
              <a:spcBef>
                <a:spcPct val="20000"/>
              </a:spcBef>
              <a:spcAft>
                <a:spcPts val="0"/>
              </a:spcAft>
              <a:buClr>
                <a:srgbClr val="E1061C"/>
              </a:buClr>
              <a:buSzTx/>
              <a:buFont typeface="Arial"/>
              <a:buChar char="•"/>
              <a:tabLst/>
              <a:defRPr/>
            </a:lvl3pPr>
            <a:lvl4pPr marL="1141724" marR="0" indent="-113102" algn="l" defTabSz="342875" rtl="0" eaLnBrk="1" fontAlgn="auto" latinLnBrk="0" hangingPunct="1">
              <a:lnSpc>
                <a:spcPct val="100000"/>
              </a:lnSpc>
              <a:spcBef>
                <a:spcPct val="20000"/>
              </a:spcBef>
              <a:spcAft>
                <a:spcPts val="0"/>
              </a:spcAft>
              <a:buClr>
                <a:srgbClr val="E1061C"/>
              </a:buClr>
              <a:buSzTx/>
              <a:buFont typeface="Arial"/>
              <a:buChar char="•"/>
              <a:tabLst/>
              <a:defRPr/>
            </a:lvl4pPr>
            <a:lvl5pPr marL="1479836" marR="0" indent="-108338" algn="l" defTabSz="342875" rtl="0" eaLnBrk="1" fontAlgn="auto" latinLnBrk="0" hangingPunct="1">
              <a:lnSpc>
                <a:spcPct val="100000"/>
              </a:lnSpc>
              <a:spcBef>
                <a:spcPct val="20000"/>
              </a:spcBef>
              <a:spcAft>
                <a:spcPts val="0"/>
              </a:spcAft>
              <a:buClr>
                <a:srgbClr val="E1061C"/>
              </a:buClr>
              <a:buSzTx/>
              <a:buFont typeface="Arial"/>
              <a:buChar char="•"/>
              <a:tabLst/>
              <a:defRPr/>
            </a:lvl5pPr>
          </a:lstStyle>
          <a:p>
            <a:pPr lvl="0"/>
            <a:r>
              <a:rPr lang="en-GB" noProof="0" dirty="0"/>
              <a:t>Insert text</a:t>
            </a:r>
          </a:p>
          <a:p>
            <a:pPr lvl="1"/>
            <a:r>
              <a:rPr lang="en-GB" noProof="0" dirty="0"/>
              <a:t>2° level</a:t>
            </a:r>
          </a:p>
          <a:p>
            <a:pPr lvl="2"/>
            <a:r>
              <a:rPr lang="en-GB" noProof="0" dirty="0"/>
              <a:t>3° level</a:t>
            </a:r>
          </a:p>
          <a:p>
            <a:pPr lvl="3"/>
            <a:r>
              <a:rPr lang="en-GB" noProof="0" dirty="0"/>
              <a:t>4° level</a:t>
            </a:r>
          </a:p>
          <a:p>
            <a:pPr lvl="4"/>
            <a:r>
              <a:rPr lang="en-GB" noProof="0" dirty="0"/>
              <a:t>5° level</a:t>
            </a:r>
          </a:p>
        </p:txBody>
      </p:sp>
      <p:sp>
        <p:nvSpPr>
          <p:cNvPr id="2" name="Title"/>
          <p:cNvSpPr>
            <a:spLocks noGrp="1"/>
          </p:cNvSpPr>
          <p:nvPr>
            <p:ph type="title" hasCustomPrompt="1"/>
          </p:nvPr>
        </p:nvSpPr>
        <p:spPr/>
        <p:txBody>
          <a:bodyPr vert="horz" lIns="0" tIns="0" rIns="0" bIns="0" rtlCol="0" anchor="ctr">
            <a:noAutofit/>
          </a:bodyPr>
          <a:lstStyle>
            <a:lvl1pPr>
              <a:defRPr lang="en-GB" noProof="0" dirty="0"/>
            </a:lvl1pPr>
          </a:lstStyle>
          <a:p>
            <a:pPr lvl="0">
              <a:lnSpc>
                <a:spcPts val="2400"/>
              </a:lnSpc>
            </a:pPr>
            <a:r>
              <a:rPr lang="en-GB" noProof="0" dirty="0"/>
              <a:t>Insert title</a:t>
            </a:r>
          </a:p>
        </p:txBody>
      </p:sp>
    </p:spTree>
    <p:extLst>
      <p:ext uri="{BB962C8B-B14F-4D97-AF65-F5344CB8AC3E}">
        <p14:creationId xmlns:p14="http://schemas.microsoft.com/office/powerpoint/2010/main" val="364763226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EA629B8-0522-432B-B75D-28B3EDF61B0B}"/>
              </a:ext>
            </a:extLst>
          </p:cNvPr>
          <p:cNvGraphicFramePr>
            <a:graphicFrameLocks noChangeAspect="1"/>
          </p:cNvGraphicFramePr>
          <p:nvPr>
            <p:custDataLst>
              <p:tags r:id="rId2"/>
            </p:custDataLst>
          </p:nvPr>
        </p:nvGraphicFramePr>
        <p:xfrm>
          <a:off x="1215" y="1215"/>
          <a:ext cx="1215" cy="1215"/>
        </p:xfrm>
        <a:graphic>
          <a:graphicData uri="http://schemas.openxmlformats.org/presentationml/2006/ole">
            <mc:AlternateContent xmlns:mc="http://schemas.openxmlformats.org/markup-compatibility/2006">
              <mc:Choice xmlns:v="urn:schemas-microsoft-com:vml" Requires="v">
                <p:oleObj spid="_x0000_s72750" name="think-cell Slide" r:id="rId5" imgW="526" imgH="526" progId="TCLayout.ActiveDocument.1">
                  <p:embed/>
                </p:oleObj>
              </mc:Choice>
              <mc:Fallback>
                <p:oleObj name="think-cell Slide" r:id="rId5" imgW="526" imgH="526" progId="TCLayout.ActiveDocument.1">
                  <p:embed/>
                  <p:pic>
                    <p:nvPicPr>
                      <p:cNvPr id="5" name="Object 4" hidden="1">
                        <a:extLst>
                          <a:ext uri="{FF2B5EF4-FFF2-40B4-BE49-F238E27FC236}">
                            <a16:creationId xmlns:a16="http://schemas.microsoft.com/office/drawing/2014/main" id="{CEA629B8-0522-432B-B75D-28B3EDF61B0B}"/>
                          </a:ext>
                        </a:extLst>
                      </p:cNvPr>
                      <p:cNvPicPr/>
                      <p:nvPr/>
                    </p:nvPicPr>
                    <p:blipFill>
                      <a:blip r:embed="rId6"/>
                      <a:stretch>
                        <a:fillRect/>
                      </a:stretch>
                    </p:blipFill>
                    <p:spPr>
                      <a:xfrm>
                        <a:off x="1215" y="1215"/>
                        <a:ext cx="1215" cy="1215"/>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6BCEFEC-96EB-412D-8F03-AC87192C05A1}"/>
              </a:ext>
            </a:extLst>
          </p:cNvPr>
          <p:cNvSpPr/>
          <p:nvPr>
            <p:custDataLst>
              <p:tags r:id="rId3"/>
            </p:custDataLst>
          </p:nvPr>
        </p:nvSpPr>
        <p:spPr>
          <a:xfrm>
            <a:off x="0" y="0"/>
            <a:ext cx="121483" cy="121481"/>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1530" b="1" i="0" baseline="0" dirty="0" err="1">
              <a:solidFill>
                <a:schemeClr val="tx1"/>
              </a:solidFill>
              <a:latin typeface="UniCredit" panose="02000506040000020004" pitchFamily="2" charset="0"/>
              <a:ea typeface="+mj-ea"/>
              <a:cs typeface="+mj-cs"/>
              <a:sym typeface="UniCredit" panose="02000506040000020004" pitchFamily="2" charset="0"/>
            </a:endParaRPr>
          </a:p>
        </p:txBody>
      </p:sp>
      <p:sp>
        <p:nvSpPr>
          <p:cNvPr id="2" name="Title 1">
            <a:extLst>
              <a:ext uri="{FF2B5EF4-FFF2-40B4-BE49-F238E27FC236}">
                <a16:creationId xmlns:a16="http://schemas.microsoft.com/office/drawing/2014/main" id="{13057FB2-8228-4FE2-A0F8-D7B39BF84BB0}"/>
              </a:ext>
            </a:extLst>
          </p:cNvPr>
          <p:cNvSpPr>
            <a:spLocks noGrp="1"/>
          </p:cNvSpPr>
          <p:nvPr>
            <p:ph type="title"/>
          </p:nvPr>
        </p:nvSpPr>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5F2BCB41-E6D0-4EDF-9853-A5213C20309D}"/>
              </a:ext>
            </a:extLst>
          </p:cNvPr>
          <p:cNvSpPr>
            <a:spLocks noGrp="1"/>
          </p:cNvSpPr>
          <p:nvPr>
            <p:ph idx="1"/>
          </p:nvPr>
        </p:nvSpPr>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cNvSpPr txBox="1">
            <a:spLocks/>
          </p:cNvSpPr>
          <p:nvPr userDrawn="1"/>
        </p:nvSpPr>
        <p:spPr bwMode="black">
          <a:xfrm>
            <a:off x="121490" y="4974427"/>
            <a:ext cx="105798" cy="106055"/>
          </a:xfrm>
          <a:prstGeom prst="rect">
            <a:avLst/>
          </a:prstGeom>
        </p:spPr>
        <p:txBody>
          <a:bodyPr vert="horz" wrap="none" lIns="0" tIns="0" rIns="0" bIns="0" rtlCol="0" anchor="ctr">
            <a:spAutoFit/>
          </a:bodyPr>
          <a:lstStyle>
            <a:defPPr>
              <a:defRPr lang="en-US"/>
            </a:defPPr>
            <a:lvl1pPr>
              <a:defRPr sz="1000" baseline="0">
                <a:latin typeface="+mn-lt"/>
              </a:defRPr>
            </a:lvl1pPr>
          </a:lstStyle>
          <a:p>
            <a:pPr lvl="0"/>
            <a:fld id="{42C328C1-A84F-4A39-A664-DBA00541A8C6}" type="slidenum">
              <a:rPr lang="en-US" sz="689" smtClean="0">
                <a:solidFill>
                  <a:schemeClr val="accent1"/>
                </a:solidFill>
              </a:rPr>
              <a:pPr lvl="0"/>
              <a:t>‹#›</a:t>
            </a:fld>
            <a:endParaRPr lang="en-US" sz="689" dirty="0">
              <a:solidFill>
                <a:schemeClr val="accent1"/>
              </a:solidFill>
            </a:endParaRPr>
          </a:p>
        </p:txBody>
      </p:sp>
    </p:spTree>
    <p:extLst>
      <p:ext uri="{BB962C8B-B14F-4D97-AF65-F5344CB8AC3E}">
        <p14:creationId xmlns:p14="http://schemas.microsoft.com/office/powerpoint/2010/main" val="99290546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1375306-9692-4A13-A4F6-EDC858AA89D1}"/>
              </a:ext>
            </a:extLst>
          </p:cNvPr>
          <p:cNvGraphicFramePr>
            <a:graphicFrameLocks noChangeAspect="1"/>
          </p:cNvGraphicFramePr>
          <p:nvPr>
            <p:custDataLst>
              <p:tags r:id="rId2"/>
            </p:custDataLst>
          </p:nvPr>
        </p:nvGraphicFramePr>
        <p:xfrm>
          <a:off x="1215" y="1215"/>
          <a:ext cx="1215" cy="1215"/>
        </p:xfrm>
        <a:graphic>
          <a:graphicData uri="http://schemas.openxmlformats.org/presentationml/2006/ole">
            <mc:AlternateContent xmlns:mc="http://schemas.openxmlformats.org/markup-compatibility/2006">
              <mc:Choice xmlns:v="urn:schemas-microsoft-com:vml" Requires="v">
                <p:oleObj spid="_x0000_s73774" name="think-cell Slide" r:id="rId6" imgW="272" imgH="272" progId="TCLayout.ActiveDocument.1">
                  <p:embed/>
                </p:oleObj>
              </mc:Choice>
              <mc:Fallback>
                <p:oleObj name="think-cell Slide" r:id="rId6" imgW="272" imgH="272" progId="TCLayout.ActiveDocument.1">
                  <p:embed/>
                  <p:pic>
                    <p:nvPicPr>
                      <p:cNvPr id="4" name="Object 3" hidden="1">
                        <a:extLst>
                          <a:ext uri="{FF2B5EF4-FFF2-40B4-BE49-F238E27FC236}">
                            <a16:creationId xmlns:a16="http://schemas.microsoft.com/office/drawing/2014/main" id="{D1375306-9692-4A13-A4F6-EDC858AA89D1}"/>
                          </a:ext>
                        </a:extLst>
                      </p:cNvPr>
                      <p:cNvPicPr/>
                      <p:nvPr/>
                    </p:nvPicPr>
                    <p:blipFill>
                      <a:blip r:embed="rId7"/>
                      <a:stretch>
                        <a:fillRect/>
                      </a:stretch>
                    </p:blipFill>
                    <p:spPr>
                      <a:xfrm>
                        <a:off x="1215" y="1215"/>
                        <a:ext cx="1215" cy="1215"/>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47FB90F-5694-4821-9A1F-1C281C496815}"/>
              </a:ext>
            </a:extLst>
          </p:cNvPr>
          <p:cNvSpPr/>
          <p:nvPr>
            <p:custDataLst>
              <p:tags r:id="rId3"/>
            </p:custDataLst>
          </p:nvPr>
        </p:nvSpPr>
        <p:spPr>
          <a:xfrm>
            <a:off x="0" y="0"/>
            <a:ext cx="121483" cy="121481"/>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1530" b="1" i="0" baseline="0" dirty="0" err="1">
              <a:solidFill>
                <a:schemeClr val="tx1"/>
              </a:solidFill>
              <a:latin typeface="UniCredit" panose="02000506040000020004" pitchFamily="2" charset="0"/>
              <a:ea typeface="+mj-ea"/>
              <a:cs typeface="+mj-cs"/>
              <a:sym typeface="UniCredit" panose="02000506040000020004" pitchFamily="2" charset="0"/>
            </a:endParaRPr>
          </a:p>
        </p:txBody>
      </p:sp>
      <p:sp>
        <p:nvSpPr>
          <p:cNvPr id="2" name="2. Slide Title"/>
          <p:cNvSpPr>
            <a:spLocks noGrp="1"/>
          </p:cNvSpPr>
          <p:nvPr>
            <p:ph type="title"/>
          </p:nvPr>
        </p:nvSpPr>
        <p:spPr bwMode="gray">
          <a:xfrm>
            <a:off x="121490" y="273788"/>
            <a:ext cx="8926313" cy="235521"/>
          </a:xfrm>
        </p:spPr>
        <p:txBody>
          <a:bodyPr anchor="b" anchorCtr="0"/>
          <a:lstStyle>
            <a:lvl1pPr>
              <a:defRPr b="1">
                <a:solidFill>
                  <a:schemeClr val="tx1"/>
                </a:solidFill>
              </a:defRPr>
            </a:lvl1pPr>
          </a:lstStyle>
          <a:p>
            <a:r>
              <a:rPr lang="en-US" dirty="0"/>
              <a:t>Click to edit Master title style</a:t>
            </a:r>
          </a:p>
        </p:txBody>
      </p:sp>
      <p:sp>
        <p:nvSpPr>
          <p:cNvPr id="8" name="Slide Number"/>
          <p:cNvSpPr txBox="1">
            <a:spLocks/>
          </p:cNvSpPr>
          <p:nvPr/>
        </p:nvSpPr>
        <p:spPr bwMode="gray">
          <a:xfrm>
            <a:off x="121490" y="4969003"/>
            <a:ext cx="105798" cy="106055"/>
          </a:xfrm>
          <a:prstGeom prst="rect">
            <a:avLst/>
          </a:prstGeom>
        </p:spPr>
        <p:txBody>
          <a:bodyPr vert="horz" wrap="none" lIns="0" tIns="0" rIns="0" bIns="0" rtlCol="0" anchor="ctr">
            <a:spAutoFit/>
          </a:bodyPr>
          <a:lstStyle>
            <a:defPPr>
              <a:defRPr lang="en-US"/>
            </a:defPPr>
            <a:lvl1pPr>
              <a:defRPr sz="1000" baseline="0">
                <a:latin typeface="+mn-lt"/>
              </a:defRPr>
            </a:lvl1pPr>
          </a:lstStyle>
          <a:p>
            <a:pPr lvl="0"/>
            <a:fld id="{42C328C1-A84F-4A39-A664-DBA00541A8C6}" type="slidenum">
              <a:rPr lang="en-US" sz="689" smtClean="0">
                <a:solidFill>
                  <a:schemeClr val="accent1"/>
                </a:solidFill>
              </a:rPr>
              <a:pPr lvl="0"/>
              <a:t>‹#›</a:t>
            </a:fld>
            <a:endParaRPr lang="en-US" sz="689" dirty="0">
              <a:solidFill>
                <a:schemeClr val="accent1"/>
              </a:solidFill>
            </a:endParaRPr>
          </a:p>
        </p:txBody>
      </p:sp>
      <p:sp>
        <p:nvSpPr>
          <p:cNvPr id="9" name="SlideLogoText" hidden="1"/>
          <p:cNvSpPr>
            <a:spLocks noChangeArrowheads="1"/>
          </p:cNvSpPr>
          <p:nvPr>
            <p:custDataLst>
              <p:tags r:id="rId4"/>
            </p:custDataLst>
          </p:nvPr>
        </p:nvSpPr>
        <p:spPr bwMode="gray">
          <a:xfrm>
            <a:off x="7971095" y="4980359"/>
            <a:ext cx="665247"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913542"/>
            <a:r>
              <a:rPr lang="en-US" sz="612" baseline="0" noProof="0" dirty="0">
                <a:solidFill>
                  <a:schemeClr val="accent6"/>
                </a:solidFill>
                <a:latin typeface="+mn-lt"/>
                <a:ea typeface="+mn-ea"/>
              </a:rPr>
              <a:t>McKinsey &amp; Company</a:t>
            </a:r>
          </a:p>
        </p:txBody>
      </p:sp>
      <p:sp>
        <p:nvSpPr>
          <p:cNvPr id="5" name="doc id" hidden="1"/>
          <p:cNvSpPr>
            <a:spLocks noChangeArrowheads="1"/>
          </p:cNvSpPr>
          <p:nvPr/>
        </p:nvSpPr>
        <p:spPr bwMode="gray">
          <a:xfrm flipH="1">
            <a:off x="7993502" y="38876"/>
            <a:ext cx="923672" cy="706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913542" eaLnBrk="1"/>
            <a:endParaRPr lang="en-US" sz="459" baseline="0" noProof="0" dirty="0">
              <a:solidFill>
                <a:schemeClr val="accent6"/>
              </a:solidFill>
              <a:latin typeface="+mn-lt"/>
              <a:ea typeface="+mn-ea"/>
            </a:endParaRPr>
          </a:p>
        </p:txBody>
      </p:sp>
    </p:spTree>
    <p:extLst>
      <p:ext uri="{BB962C8B-B14F-4D97-AF65-F5344CB8AC3E}">
        <p14:creationId xmlns:p14="http://schemas.microsoft.com/office/powerpoint/2010/main" val="3840842240"/>
      </p:ext>
    </p:extLst>
  </p:cSld>
  <p:clrMapOvr>
    <a:masterClrMapping/>
  </p:clrMapOvr>
  <p:extLst>
    <p:ext uri="{DCECCB84-F9BA-43D5-87BE-67443E8EF086}">
      <p15:sldGuideLst xmlns:p15="http://schemas.microsoft.com/office/powerpoint/2012/main">
        <p15:guide id="1" pos="7340">
          <p15:clr>
            <a:srgbClr val="F26B43"/>
          </p15:clr>
        </p15:guide>
        <p15:guide id="2" pos="99">
          <p15:clr>
            <a:srgbClr val="F26B43"/>
          </p15:clr>
        </p15:guide>
        <p15:guide id="3" orient="horz" pos="688">
          <p15:clr>
            <a:srgbClr val="F26B43"/>
          </p15:clr>
        </p15:guide>
        <p15:guide id="4" orient="horz" pos="3911">
          <p15:clr>
            <a:srgbClr val="F26B43"/>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Internal Slide - 2 Columns Text">
    <p:spTree>
      <p:nvGrpSpPr>
        <p:cNvPr id="1" name=""/>
        <p:cNvGrpSpPr/>
        <p:nvPr/>
      </p:nvGrpSpPr>
      <p:grpSpPr>
        <a:xfrm>
          <a:off x="0" y="0"/>
          <a:ext cx="0" cy="0"/>
          <a:chOff x="0" y="0"/>
          <a:chExt cx="0" cy="0"/>
        </a:xfrm>
      </p:grpSpPr>
      <p:sp>
        <p:nvSpPr>
          <p:cNvPr id="7" name="LegalEntity"/>
          <p:cNvSpPr>
            <a:spLocks noGrp="1"/>
          </p:cNvSpPr>
          <p:nvPr>
            <p:ph type="body" sz="quarter" idx="12" hasCustomPrompt="1"/>
          </p:nvPr>
        </p:nvSpPr>
        <p:spPr>
          <a:xfrm>
            <a:off x="3312000" y="5029035"/>
            <a:ext cx="2520000" cy="108000"/>
          </a:xfrm>
        </p:spPr>
        <p:txBody>
          <a:bodyPr>
            <a:noAutofit/>
          </a:bodyPr>
          <a:lstStyle>
            <a:lvl1pPr marL="0" marR="0" indent="0" algn="ctr" defTabSz="257156" rtl="0" eaLnBrk="1" fontAlgn="auto" latinLnBrk="0" hangingPunct="1">
              <a:lnSpc>
                <a:spcPct val="100000"/>
              </a:lnSpc>
              <a:spcBef>
                <a:spcPct val="20000"/>
              </a:spcBef>
              <a:spcAft>
                <a:spcPts val="0"/>
              </a:spcAft>
              <a:buClr>
                <a:srgbClr val="E1061C"/>
              </a:buClr>
              <a:buSzTx/>
              <a:buFontTx/>
              <a:buNone/>
              <a:tabLst/>
              <a:defRPr sz="750">
                <a:latin typeface="+mn-lt"/>
              </a:defRPr>
            </a:lvl1pPr>
            <a:lvl2pPr marL="342900" indent="0" algn="ctr">
              <a:buFontTx/>
              <a:buNone/>
              <a:defRPr sz="675"/>
            </a:lvl2pPr>
            <a:lvl3pPr marL="685800" indent="0" algn="ctr">
              <a:buFontTx/>
              <a:buNone/>
              <a:defRPr sz="675"/>
            </a:lvl3pPr>
            <a:lvl4pPr marL="1028700" indent="0" algn="ctr">
              <a:buFontTx/>
              <a:buNone/>
              <a:defRPr sz="675"/>
            </a:lvl4pPr>
            <a:lvl5pPr marL="1371600" indent="0" algn="ctr">
              <a:buFontTx/>
              <a:buNone/>
              <a:defRPr sz="675"/>
            </a:lvl5pPr>
          </a:lstStyle>
          <a:p>
            <a:pPr marL="0" marR="0" lvl="0" indent="0" algn="ctr" defTabSz="257156" rtl="0" eaLnBrk="1" fontAlgn="auto" latinLnBrk="0" hangingPunct="1">
              <a:lnSpc>
                <a:spcPct val="100000"/>
              </a:lnSpc>
              <a:spcBef>
                <a:spcPct val="20000"/>
              </a:spcBef>
              <a:spcAft>
                <a:spcPts val="0"/>
              </a:spcAft>
              <a:buClr>
                <a:srgbClr val="E1061C"/>
              </a:buClr>
              <a:buSzTx/>
              <a:buFontTx/>
              <a:buNone/>
              <a:tabLst/>
              <a:defRPr/>
            </a:pPr>
            <a:r>
              <a:rPr lang="en-GB" noProof="0" dirty="0"/>
              <a:t>[Insert legal entity - classification level]</a:t>
            </a:r>
          </a:p>
        </p:txBody>
      </p:sp>
      <p:sp>
        <p:nvSpPr>
          <p:cNvPr id="10" name="Baseline"/>
          <p:cNvSpPr>
            <a:spLocks noChangeShapeType="1"/>
          </p:cNvSpPr>
          <p:nvPr userDrawn="1"/>
        </p:nvSpPr>
        <p:spPr bwMode="auto">
          <a:xfrm>
            <a:off x="0" y="4595400"/>
            <a:ext cx="9144000" cy="0"/>
          </a:xfrm>
          <a:prstGeom prst="line">
            <a:avLst/>
          </a:prstGeom>
          <a:noFill/>
          <a:ln w="19050">
            <a:solidFill>
              <a:srgbClr val="00AFD0"/>
            </a:solidFill>
            <a:round/>
            <a:headEnd/>
            <a:tailEnd type="none" w="med" len="med"/>
          </a:ln>
          <a:extLst>
            <a:ext uri="{909E8E84-426E-40DD-AFC4-6F175D3DCCD1}">
              <a14:hiddenFill xmlns:a14="http://schemas.microsoft.com/office/drawing/2010/main">
                <a:noFill/>
              </a14:hiddenFill>
            </a:ext>
          </a:extLst>
        </p:spPr>
        <p:txBody>
          <a:bodyPr lIns="0" tIns="0" rIns="0" bIns="0" anchor="ctr">
            <a:spAutoFit/>
          </a:bodyPr>
          <a:lstStyle/>
          <a:p>
            <a:endParaRPr lang="en-GB" sz="100" noProof="1">
              <a:latin typeface="UniCredit" panose="02000506040000020004" pitchFamily="2" charset="0"/>
            </a:endParaRPr>
          </a:p>
        </p:txBody>
      </p:sp>
      <p:sp>
        <p:nvSpPr>
          <p:cNvPr id="11" name="Footer"/>
          <p:cNvSpPr>
            <a:spLocks noGrp="1"/>
          </p:cNvSpPr>
          <p:nvPr>
            <p:ph type="body" sz="quarter" idx="16" hasCustomPrompt="1"/>
          </p:nvPr>
        </p:nvSpPr>
        <p:spPr>
          <a:xfrm>
            <a:off x="720000" y="4738688"/>
            <a:ext cx="7704000" cy="270000"/>
          </a:xfrm>
        </p:spPr>
        <p:txBody>
          <a:bodyPr>
            <a:noAutofit/>
          </a:bodyPr>
          <a:lstStyle>
            <a:lvl1pPr marL="0" indent="0">
              <a:buNone/>
              <a:defRPr sz="600">
                <a:latin typeface="+mn-lt"/>
              </a:defRPr>
            </a:lvl1pPr>
            <a:lvl2pPr marL="342891" indent="0">
              <a:buNone/>
              <a:defRPr sz="600">
                <a:latin typeface="UniCredit" panose="02000506040000020004" pitchFamily="2" charset="0"/>
              </a:defRPr>
            </a:lvl2pPr>
            <a:lvl3pPr marL="685783" indent="0">
              <a:buNone/>
              <a:defRPr sz="600">
                <a:latin typeface="UniCredit" panose="02000506040000020004" pitchFamily="2" charset="0"/>
              </a:defRPr>
            </a:lvl3pPr>
            <a:lvl4pPr marL="1028675" indent="0">
              <a:buNone/>
              <a:defRPr sz="600">
                <a:latin typeface="UniCredit" panose="02000506040000020004" pitchFamily="2" charset="0"/>
              </a:defRPr>
            </a:lvl4pPr>
            <a:lvl5pPr marL="1371566" indent="0">
              <a:buNone/>
              <a:defRPr sz="600">
                <a:latin typeface="UniCredit" panose="02000506040000020004" pitchFamily="2" charset="0"/>
              </a:defRPr>
            </a:lvl5pPr>
          </a:lstStyle>
          <a:p>
            <a:pPr lvl="0"/>
            <a:r>
              <a:rPr lang="en-GB" noProof="0" dirty="0"/>
              <a:t>Insert notes</a:t>
            </a:r>
          </a:p>
        </p:txBody>
      </p:sp>
      <p:sp>
        <p:nvSpPr>
          <p:cNvPr id="4" name="SlideNumber"/>
          <p:cNvSpPr>
            <a:spLocks noGrp="1"/>
          </p:cNvSpPr>
          <p:nvPr>
            <p:ph type="sldNum" sz="quarter" idx="11"/>
          </p:nvPr>
        </p:nvSpPr>
        <p:spPr/>
        <p:txBody>
          <a:bodyPr/>
          <a:lstStyle/>
          <a:p>
            <a:pPr>
              <a:defRPr/>
            </a:pPr>
            <a:fld id="{1D1043DC-2681-49D5-9D69-158B3FA3398E}" type="slidenum">
              <a:rPr lang="en-GB" noProof="1" dirty="0" smtClean="0"/>
              <a:pPr>
                <a:defRPr/>
              </a:pPr>
              <a:t>‹#›</a:t>
            </a:fld>
            <a:endParaRPr lang="en-GB" noProof="1"/>
          </a:p>
        </p:txBody>
      </p:sp>
      <p:sp>
        <p:nvSpPr>
          <p:cNvPr id="12" name="ContentColumn2"/>
          <p:cNvSpPr>
            <a:spLocks noGrp="1"/>
          </p:cNvSpPr>
          <p:nvPr>
            <p:ph sz="quarter" idx="18" hasCustomPrompt="1"/>
          </p:nvPr>
        </p:nvSpPr>
        <p:spPr>
          <a:xfrm>
            <a:off x="4820400" y="945000"/>
            <a:ext cx="4140000" cy="3510000"/>
          </a:xfrm>
        </p:spPr>
        <p:txBody>
          <a:bodyPr/>
          <a:lstStyle>
            <a:lvl1pPr marL="132160" marR="0" indent="-132160" algn="l" defTabSz="342900" rtl="0" eaLnBrk="1" fontAlgn="auto" latinLnBrk="0" hangingPunct="1">
              <a:lnSpc>
                <a:spcPct val="100000"/>
              </a:lnSpc>
              <a:spcBef>
                <a:spcPct val="20000"/>
              </a:spcBef>
              <a:spcAft>
                <a:spcPts val="0"/>
              </a:spcAft>
              <a:buClr>
                <a:srgbClr val="E1061C"/>
              </a:buClr>
              <a:buSzTx/>
              <a:buFont typeface="Arial"/>
              <a:buChar char="•"/>
              <a:tabLst/>
              <a:defRPr/>
            </a:lvl1pPr>
            <a:lvl2pPr marL="470297" marR="0" indent="-127397" algn="l" defTabSz="342900" rtl="0" eaLnBrk="1" fontAlgn="auto" latinLnBrk="0" hangingPunct="1">
              <a:lnSpc>
                <a:spcPct val="100000"/>
              </a:lnSpc>
              <a:spcBef>
                <a:spcPct val="20000"/>
              </a:spcBef>
              <a:spcAft>
                <a:spcPts val="0"/>
              </a:spcAft>
              <a:buClr>
                <a:srgbClr val="E1061C"/>
              </a:buClr>
              <a:buSzTx/>
              <a:buFont typeface="Arial"/>
              <a:buChar char="•"/>
              <a:tabLst/>
              <a:defRPr/>
            </a:lvl2pPr>
            <a:lvl3pPr marL="809625" marR="0" indent="-123825" algn="l" defTabSz="342900" rtl="0" eaLnBrk="1" fontAlgn="auto" latinLnBrk="0" hangingPunct="1">
              <a:lnSpc>
                <a:spcPct val="100000"/>
              </a:lnSpc>
              <a:spcBef>
                <a:spcPct val="20000"/>
              </a:spcBef>
              <a:spcAft>
                <a:spcPts val="0"/>
              </a:spcAft>
              <a:buClr>
                <a:srgbClr val="E1061C"/>
              </a:buClr>
              <a:buSzTx/>
              <a:buFont typeface="Arial"/>
              <a:buChar char="•"/>
              <a:tabLst/>
              <a:defRPr/>
            </a:lvl3pPr>
            <a:lvl4pPr marL="1141810" marR="0" indent="-113110" algn="l" defTabSz="342900" rtl="0" eaLnBrk="1" fontAlgn="auto" latinLnBrk="0" hangingPunct="1">
              <a:lnSpc>
                <a:spcPct val="100000"/>
              </a:lnSpc>
              <a:spcBef>
                <a:spcPct val="20000"/>
              </a:spcBef>
              <a:spcAft>
                <a:spcPts val="0"/>
              </a:spcAft>
              <a:buClr>
                <a:srgbClr val="E1061C"/>
              </a:buClr>
              <a:buSzTx/>
              <a:buFont typeface="Arial"/>
              <a:buChar char="•"/>
              <a:tabLst/>
              <a:defRPr/>
            </a:lvl4pPr>
            <a:lvl5pPr marL="1479947" marR="0" indent="-108347" algn="l" defTabSz="342900" rtl="0" eaLnBrk="1" fontAlgn="auto" latinLnBrk="0" hangingPunct="1">
              <a:lnSpc>
                <a:spcPct val="100000"/>
              </a:lnSpc>
              <a:spcBef>
                <a:spcPct val="20000"/>
              </a:spcBef>
              <a:spcAft>
                <a:spcPts val="0"/>
              </a:spcAft>
              <a:buClr>
                <a:srgbClr val="E1061C"/>
              </a:buClr>
              <a:buSzTx/>
              <a:buFont typeface="Arial"/>
              <a:buChar char="•"/>
              <a:tabLst/>
              <a:defRPr/>
            </a:lvl5pPr>
          </a:lstStyle>
          <a:p>
            <a:pPr lvl="0"/>
            <a:r>
              <a:rPr lang="en-GB" noProof="0" dirty="0"/>
              <a:t>Insert text</a:t>
            </a:r>
          </a:p>
          <a:p>
            <a:pPr lvl="1"/>
            <a:r>
              <a:rPr lang="en-GB" noProof="0" dirty="0"/>
              <a:t>2° level</a:t>
            </a:r>
          </a:p>
          <a:p>
            <a:pPr lvl="2"/>
            <a:r>
              <a:rPr lang="en-GB" noProof="0" dirty="0"/>
              <a:t>3° level</a:t>
            </a:r>
          </a:p>
          <a:p>
            <a:pPr lvl="3"/>
            <a:r>
              <a:rPr lang="en-GB" noProof="0" dirty="0"/>
              <a:t>4° level</a:t>
            </a:r>
          </a:p>
          <a:p>
            <a:pPr lvl="4"/>
            <a:r>
              <a:rPr lang="en-GB" noProof="0" dirty="0"/>
              <a:t>5° level</a:t>
            </a:r>
          </a:p>
        </p:txBody>
      </p:sp>
      <p:sp>
        <p:nvSpPr>
          <p:cNvPr id="5" name="ContentColumn1"/>
          <p:cNvSpPr>
            <a:spLocks noGrp="1"/>
          </p:cNvSpPr>
          <p:nvPr>
            <p:ph sz="quarter" idx="17" hasCustomPrompt="1"/>
          </p:nvPr>
        </p:nvSpPr>
        <p:spPr>
          <a:xfrm>
            <a:off x="270000" y="945000"/>
            <a:ext cx="4140000" cy="3510000"/>
          </a:xfrm>
        </p:spPr>
        <p:txBody>
          <a:bodyPr/>
          <a:lstStyle>
            <a:lvl1pPr marL="132160" marR="0" indent="-132160" algn="l" defTabSz="342900" rtl="0" eaLnBrk="1" fontAlgn="auto" latinLnBrk="0" hangingPunct="1">
              <a:lnSpc>
                <a:spcPct val="100000"/>
              </a:lnSpc>
              <a:spcBef>
                <a:spcPct val="20000"/>
              </a:spcBef>
              <a:spcAft>
                <a:spcPts val="0"/>
              </a:spcAft>
              <a:buClr>
                <a:srgbClr val="E1061C"/>
              </a:buClr>
              <a:buSzTx/>
              <a:buFont typeface="Arial"/>
              <a:buChar char="•"/>
              <a:tabLst/>
              <a:defRPr/>
            </a:lvl1pPr>
            <a:lvl2pPr marL="470297" marR="0" indent="-127397" algn="l" defTabSz="342900" rtl="0" eaLnBrk="1" fontAlgn="auto" latinLnBrk="0" hangingPunct="1">
              <a:lnSpc>
                <a:spcPct val="100000"/>
              </a:lnSpc>
              <a:spcBef>
                <a:spcPct val="20000"/>
              </a:spcBef>
              <a:spcAft>
                <a:spcPts val="0"/>
              </a:spcAft>
              <a:buClr>
                <a:srgbClr val="E1061C"/>
              </a:buClr>
              <a:buSzTx/>
              <a:buFont typeface="Arial"/>
              <a:buChar char="•"/>
              <a:tabLst/>
              <a:defRPr/>
            </a:lvl2pPr>
            <a:lvl3pPr marL="809625" marR="0" indent="-123825" algn="l" defTabSz="342900" rtl="0" eaLnBrk="1" fontAlgn="auto" latinLnBrk="0" hangingPunct="1">
              <a:lnSpc>
                <a:spcPct val="100000"/>
              </a:lnSpc>
              <a:spcBef>
                <a:spcPct val="20000"/>
              </a:spcBef>
              <a:spcAft>
                <a:spcPts val="0"/>
              </a:spcAft>
              <a:buClr>
                <a:srgbClr val="E1061C"/>
              </a:buClr>
              <a:buSzTx/>
              <a:buFont typeface="Arial"/>
              <a:buChar char="•"/>
              <a:tabLst/>
              <a:defRPr/>
            </a:lvl3pPr>
            <a:lvl4pPr marL="1141810" marR="0" indent="-113110" algn="l" defTabSz="342900" rtl="0" eaLnBrk="1" fontAlgn="auto" latinLnBrk="0" hangingPunct="1">
              <a:lnSpc>
                <a:spcPct val="100000"/>
              </a:lnSpc>
              <a:spcBef>
                <a:spcPct val="20000"/>
              </a:spcBef>
              <a:spcAft>
                <a:spcPts val="0"/>
              </a:spcAft>
              <a:buClr>
                <a:srgbClr val="E1061C"/>
              </a:buClr>
              <a:buSzTx/>
              <a:buFont typeface="Arial"/>
              <a:buChar char="•"/>
              <a:tabLst/>
              <a:defRPr/>
            </a:lvl4pPr>
            <a:lvl5pPr marL="1479947" marR="0" indent="-108347" algn="l" defTabSz="342900" rtl="0" eaLnBrk="1" fontAlgn="auto" latinLnBrk="0" hangingPunct="1">
              <a:lnSpc>
                <a:spcPct val="100000"/>
              </a:lnSpc>
              <a:spcBef>
                <a:spcPct val="20000"/>
              </a:spcBef>
              <a:spcAft>
                <a:spcPts val="0"/>
              </a:spcAft>
              <a:buClr>
                <a:srgbClr val="E1061C"/>
              </a:buClr>
              <a:buSzTx/>
              <a:buFont typeface="Arial"/>
              <a:buChar char="•"/>
              <a:tabLst/>
              <a:defRPr/>
            </a:lvl5pPr>
          </a:lstStyle>
          <a:p>
            <a:pPr lvl="0"/>
            <a:r>
              <a:rPr lang="en-GB" noProof="0" dirty="0"/>
              <a:t>Insert text</a:t>
            </a:r>
          </a:p>
          <a:p>
            <a:pPr lvl="1"/>
            <a:r>
              <a:rPr lang="en-GB" noProof="0" dirty="0"/>
              <a:t>2° level</a:t>
            </a:r>
          </a:p>
          <a:p>
            <a:pPr lvl="2"/>
            <a:r>
              <a:rPr lang="en-GB" noProof="0" dirty="0"/>
              <a:t>3° level</a:t>
            </a:r>
          </a:p>
          <a:p>
            <a:pPr lvl="3"/>
            <a:r>
              <a:rPr lang="en-GB" noProof="0" dirty="0"/>
              <a:t>4° level</a:t>
            </a:r>
          </a:p>
          <a:p>
            <a:pPr lvl="4"/>
            <a:r>
              <a:rPr lang="en-GB" noProof="0" dirty="0"/>
              <a:t>5° level</a:t>
            </a:r>
          </a:p>
        </p:txBody>
      </p:sp>
      <p:sp>
        <p:nvSpPr>
          <p:cNvPr id="2" name="Title"/>
          <p:cNvSpPr>
            <a:spLocks noGrp="1"/>
          </p:cNvSpPr>
          <p:nvPr>
            <p:ph type="title" hasCustomPrompt="1"/>
          </p:nvPr>
        </p:nvSpPr>
        <p:spPr/>
        <p:txBody>
          <a:bodyPr/>
          <a:lstStyle>
            <a:lvl1pPr>
              <a:lnSpc>
                <a:spcPts val="1650"/>
              </a:lnSpc>
              <a:defRPr/>
            </a:lvl1pPr>
          </a:lstStyle>
          <a:p>
            <a:r>
              <a:rPr lang="en-GB" noProof="0" dirty="0"/>
              <a:t>Insert title</a:t>
            </a:r>
          </a:p>
        </p:txBody>
      </p:sp>
    </p:spTree>
    <p:extLst>
      <p:ext uri="{BB962C8B-B14F-4D97-AF65-F5344CB8AC3E}">
        <p14:creationId xmlns:p14="http://schemas.microsoft.com/office/powerpoint/2010/main" val="186449396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2_Internal Slide - 2 Columns Text">
    <p:spTree>
      <p:nvGrpSpPr>
        <p:cNvPr id="1" name=""/>
        <p:cNvGrpSpPr/>
        <p:nvPr/>
      </p:nvGrpSpPr>
      <p:grpSpPr>
        <a:xfrm>
          <a:off x="0" y="0"/>
          <a:ext cx="0" cy="0"/>
          <a:chOff x="0" y="0"/>
          <a:chExt cx="0" cy="0"/>
        </a:xfrm>
      </p:grpSpPr>
      <p:sp>
        <p:nvSpPr>
          <p:cNvPr id="7" name="LegalEntity"/>
          <p:cNvSpPr>
            <a:spLocks noGrp="1"/>
          </p:cNvSpPr>
          <p:nvPr>
            <p:ph type="body" sz="quarter" idx="12" hasCustomPrompt="1"/>
          </p:nvPr>
        </p:nvSpPr>
        <p:spPr>
          <a:xfrm>
            <a:off x="3312000" y="5029035"/>
            <a:ext cx="2520000" cy="108000"/>
          </a:xfrm>
        </p:spPr>
        <p:txBody>
          <a:bodyPr>
            <a:noAutofit/>
          </a:bodyPr>
          <a:lstStyle>
            <a:lvl1pPr marL="0" marR="0" indent="0" algn="ctr" defTabSz="257156" rtl="0" eaLnBrk="1" fontAlgn="auto" latinLnBrk="0" hangingPunct="1">
              <a:lnSpc>
                <a:spcPct val="100000"/>
              </a:lnSpc>
              <a:spcBef>
                <a:spcPct val="20000"/>
              </a:spcBef>
              <a:spcAft>
                <a:spcPts val="0"/>
              </a:spcAft>
              <a:buClr>
                <a:srgbClr val="E1061C"/>
              </a:buClr>
              <a:buSzTx/>
              <a:buFontTx/>
              <a:buNone/>
              <a:tabLst/>
              <a:defRPr sz="750">
                <a:latin typeface="+mn-lt"/>
              </a:defRPr>
            </a:lvl1pPr>
            <a:lvl2pPr marL="342900" indent="0" algn="ctr">
              <a:buFontTx/>
              <a:buNone/>
              <a:defRPr sz="675"/>
            </a:lvl2pPr>
            <a:lvl3pPr marL="685800" indent="0" algn="ctr">
              <a:buFontTx/>
              <a:buNone/>
              <a:defRPr sz="675"/>
            </a:lvl3pPr>
            <a:lvl4pPr marL="1028700" indent="0" algn="ctr">
              <a:buFontTx/>
              <a:buNone/>
              <a:defRPr sz="675"/>
            </a:lvl4pPr>
            <a:lvl5pPr marL="1371600" indent="0" algn="ctr">
              <a:buFontTx/>
              <a:buNone/>
              <a:defRPr sz="675"/>
            </a:lvl5pPr>
          </a:lstStyle>
          <a:p>
            <a:pPr marL="0" marR="0" lvl="0" indent="0" algn="ctr" defTabSz="257156" rtl="0" eaLnBrk="1" fontAlgn="auto" latinLnBrk="0" hangingPunct="1">
              <a:lnSpc>
                <a:spcPct val="100000"/>
              </a:lnSpc>
              <a:spcBef>
                <a:spcPct val="20000"/>
              </a:spcBef>
              <a:spcAft>
                <a:spcPts val="0"/>
              </a:spcAft>
              <a:buClr>
                <a:srgbClr val="E1061C"/>
              </a:buClr>
              <a:buSzTx/>
              <a:buFontTx/>
              <a:buNone/>
              <a:tabLst/>
              <a:defRPr/>
            </a:pPr>
            <a:r>
              <a:rPr lang="en-GB" noProof="0" dirty="0"/>
              <a:t>[Insert legal entity - classification level]</a:t>
            </a:r>
          </a:p>
        </p:txBody>
      </p:sp>
      <p:sp>
        <p:nvSpPr>
          <p:cNvPr id="10" name="Baseline"/>
          <p:cNvSpPr>
            <a:spLocks noChangeShapeType="1"/>
          </p:cNvSpPr>
          <p:nvPr userDrawn="1"/>
        </p:nvSpPr>
        <p:spPr bwMode="auto">
          <a:xfrm>
            <a:off x="0" y="4595400"/>
            <a:ext cx="9144000" cy="0"/>
          </a:xfrm>
          <a:prstGeom prst="line">
            <a:avLst/>
          </a:prstGeom>
          <a:noFill/>
          <a:ln w="19050">
            <a:solidFill>
              <a:srgbClr val="00AFD0"/>
            </a:solidFill>
            <a:round/>
            <a:headEnd/>
            <a:tailEnd type="none" w="med" len="med"/>
          </a:ln>
          <a:extLst>
            <a:ext uri="{909E8E84-426E-40DD-AFC4-6F175D3DCCD1}">
              <a14:hiddenFill xmlns:a14="http://schemas.microsoft.com/office/drawing/2010/main">
                <a:noFill/>
              </a14:hiddenFill>
            </a:ext>
          </a:extLst>
        </p:spPr>
        <p:txBody>
          <a:bodyPr lIns="0" tIns="0" rIns="0" bIns="0" anchor="ctr">
            <a:spAutoFit/>
          </a:bodyPr>
          <a:lstStyle/>
          <a:p>
            <a:endParaRPr lang="en-GB" sz="100" noProof="1">
              <a:latin typeface="UniCredit" panose="02000506040000020004" pitchFamily="2" charset="0"/>
            </a:endParaRPr>
          </a:p>
        </p:txBody>
      </p:sp>
      <p:sp>
        <p:nvSpPr>
          <p:cNvPr id="11" name="Footer"/>
          <p:cNvSpPr>
            <a:spLocks noGrp="1"/>
          </p:cNvSpPr>
          <p:nvPr>
            <p:ph type="body" sz="quarter" idx="16" hasCustomPrompt="1"/>
          </p:nvPr>
        </p:nvSpPr>
        <p:spPr>
          <a:xfrm>
            <a:off x="720000" y="4738688"/>
            <a:ext cx="7704000" cy="270000"/>
          </a:xfrm>
        </p:spPr>
        <p:txBody>
          <a:bodyPr>
            <a:noAutofit/>
          </a:bodyPr>
          <a:lstStyle>
            <a:lvl1pPr marL="0" indent="0">
              <a:buNone/>
              <a:defRPr sz="600">
                <a:latin typeface="+mn-lt"/>
              </a:defRPr>
            </a:lvl1pPr>
            <a:lvl2pPr marL="342891" indent="0">
              <a:buNone/>
              <a:defRPr sz="600">
                <a:latin typeface="UniCredit" panose="02000506040000020004" pitchFamily="2" charset="0"/>
              </a:defRPr>
            </a:lvl2pPr>
            <a:lvl3pPr marL="685783" indent="0">
              <a:buNone/>
              <a:defRPr sz="600">
                <a:latin typeface="UniCredit" panose="02000506040000020004" pitchFamily="2" charset="0"/>
              </a:defRPr>
            </a:lvl3pPr>
            <a:lvl4pPr marL="1028675" indent="0">
              <a:buNone/>
              <a:defRPr sz="600">
                <a:latin typeface="UniCredit" panose="02000506040000020004" pitchFamily="2" charset="0"/>
              </a:defRPr>
            </a:lvl4pPr>
            <a:lvl5pPr marL="1371566" indent="0">
              <a:buNone/>
              <a:defRPr sz="600">
                <a:latin typeface="UniCredit" panose="02000506040000020004" pitchFamily="2" charset="0"/>
              </a:defRPr>
            </a:lvl5pPr>
          </a:lstStyle>
          <a:p>
            <a:pPr lvl="0"/>
            <a:r>
              <a:rPr lang="en-GB" noProof="0" dirty="0"/>
              <a:t>Insert notes</a:t>
            </a:r>
          </a:p>
        </p:txBody>
      </p:sp>
      <p:sp>
        <p:nvSpPr>
          <p:cNvPr id="4" name="SlideNumber"/>
          <p:cNvSpPr>
            <a:spLocks noGrp="1"/>
          </p:cNvSpPr>
          <p:nvPr>
            <p:ph type="sldNum" sz="quarter" idx="11"/>
          </p:nvPr>
        </p:nvSpPr>
        <p:spPr/>
        <p:txBody>
          <a:bodyPr/>
          <a:lstStyle/>
          <a:p>
            <a:pPr>
              <a:defRPr/>
            </a:pPr>
            <a:fld id="{1D1043DC-2681-49D5-9D69-158B3FA3398E}" type="slidenum">
              <a:rPr lang="en-GB" noProof="1" dirty="0" smtClean="0"/>
              <a:pPr>
                <a:defRPr/>
              </a:pPr>
              <a:t>‹#›</a:t>
            </a:fld>
            <a:endParaRPr lang="en-GB" noProof="1"/>
          </a:p>
        </p:txBody>
      </p:sp>
      <p:sp>
        <p:nvSpPr>
          <p:cNvPr id="12" name="ContentColumn2"/>
          <p:cNvSpPr>
            <a:spLocks noGrp="1"/>
          </p:cNvSpPr>
          <p:nvPr>
            <p:ph sz="quarter" idx="18" hasCustomPrompt="1"/>
          </p:nvPr>
        </p:nvSpPr>
        <p:spPr>
          <a:xfrm>
            <a:off x="4820400" y="945000"/>
            <a:ext cx="4140000" cy="3510000"/>
          </a:xfrm>
        </p:spPr>
        <p:txBody>
          <a:bodyPr/>
          <a:lstStyle>
            <a:lvl1pPr marL="132160" marR="0" indent="-132160" algn="l" defTabSz="342900" rtl="0" eaLnBrk="1" fontAlgn="auto" latinLnBrk="0" hangingPunct="1">
              <a:lnSpc>
                <a:spcPct val="100000"/>
              </a:lnSpc>
              <a:spcBef>
                <a:spcPct val="20000"/>
              </a:spcBef>
              <a:spcAft>
                <a:spcPts val="0"/>
              </a:spcAft>
              <a:buClr>
                <a:srgbClr val="E1061C"/>
              </a:buClr>
              <a:buSzTx/>
              <a:buFont typeface="Arial"/>
              <a:buChar char="•"/>
              <a:tabLst/>
              <a:defRPr/>
            </a:lvl1pPr>
            <a:lvl2pPr marL="470297" marR="0" indent="-127397" algn="l" defTabSz="342900" rtl="0" eaLnBrk="1" fontAlgn="auto" latinLnBrk="0" hangingPunct="1">
              <a:lnSpc>
                <a:spcPct val="100000"/>
              </a:lnSpc>
              <a:spcBef>
                <a:spcPct val="20000"/>
              </a:spcBef>
              <a:spcAft>
                <a:spcPts val="0"/>
              </a:spcAft>
              <a:buClr>
                <a:srgbClr val="E1061C"/>
              </a:buClr>
              <a:buSzTx/>
              <a:buFont typeface="Arial"/>
              <a:buChar char="•"/>
              <a:tabLst/>
              <a:defRPr/>
            </a:lvl2pPr>
            <a:lvl3pPr marL="809625" marR="0" indent="-123825" algn="l" defTabSz="342900" rtl="0" eaLnBrk="1" fontAlgn="auto" latinLnBrk="0" hangingPunct="1">
              <a:lnSpc>
                <a:spcPct val="100000"/>
              </a:lnSpc>
              <a:spcBef>
                <a:spcPct val="20000"/>
              </a:spcBef>
              <a:spcAft>
                <a:spcPts val="0"/>
              </a:spcAft>
              <a:buClr>
                <a:srgbClr val="E1061C"/>
              </a:buClr>
              <a:buSzTx/>
              <a:buFont typeface="Arial"/>
              <a:buChar char="•"/>
              <a:tabLst/>
              <a:defRPr/>
            </a:lvl3pPr>
            <a:lvl4pPr marL="1141810" marR="0" indent="-113110" algn="l" defTabSz="342900" rtl="0" eaLnBrk="1" fontAlgn="auto" latinLnBrk="0" hangingPunct="1">
              <a:lnSpc>
                <a:spcPct val="100000"/>
              </a:lnSpc>
              <a:spcBef>
                <a:spcPct val="20000"/>
              </a:spcBef>
              <a:spcAft>
                <a:spcPts val="0"/>
              </a:spcAft>
              <a:buClr>
                <a:srgbClr val="E1061C"/>
              </a:buClr>
              <a:buSzTx/>
              <a:buFont typeface="Arial"/>
              <a:buChar char="•"/>
              <a:tabLst/>
              <a:defRPr/>
            </a:lvl4pPr>
            <a:lvl5pPr marL="1479947" marR="0" indent="-108347" algn="l" defTabSz="342900" rtl="0" eaLnBrk="1" fontAlgn="auto" latinLnBrk="0" hangingPunct="1">
              <a:lnSpc>
                <a:spcPct val="100000"/>
              </a:lnSpc>
              <a:spcBef>
                <a:spcPct val="20000"/>
              </a:spcBef>
              <a:spcAft>
                <a:spcPts val="0"/>
              </a:spcAft>
              <a:buClr>
                <a:srgbClr val="E1061C"/>
              </a:buClr>
              <a:buSzTx/>
              <a:buFont typeface="Arial"/>
              <a:buChar char="•"/>
              <a:tabLst/>
              <a:defRPr/>
            </a:lvl5pPr>
          </a:lstStyle>
          <a:p>
            <a:pPr lvl="0"/>
            <a:r>
              <a:rPr lang="en-GB" noProof="0" dirty="0"/>
              <a:t>Insert text</a:t>
            </a:r>
          </a:p>
          <a:p>
            <a:pPr lvl="1"/>
            <a:r>
              <a:rPr lang="en-GB" noProof="0" dirty="0"/>
              <a:t>2° level</a:t>
            </a:r>
          </a:p>
          <a:p>
            <a:pPr lvl="2"/>
            <a:r>
              <a:rPr lang="en-GB" noProof="0" dirty="0"/>
              <a:t>3° level</a:t>
            </a:r>
          </a:p>
          <a:p>
            <a:pPr lvl="3"/>
            <a:r>
              <a:rPr lang="en-GB" noProof="0" dirty="0"/>
              <a:t>4° level</a:t>
            </a:r>
          </a:p>
          <a:p>
            <a:pPr lvl="4"/>
            <a:r>
              <a:rPr lang="en-GB" noProof="0" dirty="0"/>
              <a:t>5° level</a:t>
            </a:r>
          </a:p>
        </p:txBody>
      </p:sp>
      <p:sp>
        <p:nvSpPr>
          <p:cNvPr id="5" name="ContentColumn1"/>
          <p:cNvSpPr>
            <a:spLocks noGrp="1"/>
          </p:cNvSpPr>
          <p:nvPr>
            <p:ph sz="quarter" idx="17" hasCustomPrompt="1"/>
          </p:nvPr>
        </p:nvSpPr>
        <p:spPr>
          <a:xfrm>
            <a:off x="270000" y="945000"/>
            <a:ext cx="4140000" cy="3510000"/>
          </a:xfrm>
        </p:spPr>
        <p:txBody>
          <a:bodyPr/>
          <a:lstStyle>
            <a:lvl1pPr marL="132160" marR="0" indent="-132160" algn="l" defTabSz="342900" rtl="0" eaLnBrk="1" fontAlgn="auto" latinLnBrk="0" hangingPunct="1">
              <a:lnSpc>
                <a:spcPct val="100000"/>
              </a:lnSpc>
              <a:spcBef>
                <a:spcPct val="20000"/>
              </a:spcBef>
              <a:spcAft>
                <a:spcPts val="0"/>
              </a:spcAft>
              <a:buClr>
                <a:srgbClr val="E1061C"/>
              </a:buClr>
              <a:buSzTx/>
              <a:buFont typeface="Arial"/>
              <a:buChar char="•"/>
              <a:tabLst/>
              <a:defRPr/>
            </a:lvl1pPr>
            <a:lvl2pPr marL="470297" marR="0" indent="-127397" algn="l" defTabSz="342900" rtl="0" eaLnBrk="1" fontAlgn="auto" latinLnBrk="0" hangingPunct="1">
              <a:lnSpc>
                <a:spcPct val="100000"/>
              </a:lnSpc>
              <a:spcBef>
                <a:spcPct val="20000"/>
              </a:spcBef>
              <a:spcAft>
                <a:spcPts val="0"/>
              </a:spcAft>
              <a:buClr>
                <a:srgbClr val="E1061C"/>
              </a:buClr>
              <a:buSzTx/>
              <a:buFont typeface="Arial"/>
              <a:buChar char="•"/>
              <a:tabLst/>
              <a:defRPr/>
            </a:lvl2pPr>
            <a:lvl3pPr marL="809625" marR="0" indent="-123825" algn="l" defTabSz="342900" rtl="0" eaLnBrk="1" fontAlgn="auto" latinLnBrk="0" hangingPunct="1">
              <a:lnSpc>
                <a:spcPct val="100000"/>
              </a:lnSpc>
              <a:spcBef>
                <a:spcPct val="20000"/>
              </a:spcBef>
              <a:spcAft>
                <a:spcPts val="0"/>
              </a:spcAft>
              <a:buClr>
                <a:srgbClr val="E1061C"/>
              </a:buClr>
              <a:buSzTx/>
              <a:buFont typeface="Arial"/>
              <a:buChar char="•"/>
              <a:tabLst/>
              <a:defRPr/>
            </a:lvl3pPr>
            <a:lvl4pPr marL="1141810" marR="0" indent="-113110" algn="l" defTabSz="342900" rtl="0" eaLnBrk="1" fontAlgn="auto" latinLnBrk="0" hangingPunct="1">
              <a:lnSpc>
                <a:spcPct val="100000"/>
              </a:lnSpc>
              <a:spcBef>
                <a:spcPct val="20000"/>
              </a:spcBef>
              <a:spcAft>
                <a:spcPts val="0"/>
              </a:spcAft>
              <a:buClr>
                <a:srgbClr val="E1061C"/>
              </a:buClr>
              <a:buSzTx/>
              <a:buFont typeface="Arial"/>
              <a:buChar char="•"/>
              <a:tabLst/>
              <a:defRPr/>
            </a:lvl4pPr>
            <a:lvl5pPr marL="1479947" marR="0" indent="-108347" algn="l" defTabSz="342900" rtl="0" eaLnBrk="1" fontAlgn="auto" latinLnBrk="0" hangingPunct="1">
              <a:lnSpc>
                <a:spcPct val="100000"/>
              </a:lnSpc>
              <a:spcBef>
                <a:spcPct val="20000"/>
              </a:spcBef>
              <a:spcAft>
                <a:spcPts val="0"/>
              </a:spcAft>
              <a:buClr>
                <a:srgbClr val="E1061C"/>
              </a:buClr>
              <a:buSzTx/>
              <a:buFont typeface="Arial"/>
              <a:buChar char="•"/>
              <a:tabLst/>
              <a:defRPr/>
            </a:lvl5pPr>
          </a:lstStyle>
          <a:p>
            <a:pPr lvl="0"/>
            <a:r>
              <a:rPr lang="en-GB" noProof="0" dirty="0"/>
              <a:t>Insert text</a:t>
            </a:r>
          </a:p>
          <a:p>
            <a:pPr lvl="1"/>
            <a:r>
              <a:rPr lang="en-GB" noProof="0" dirty="0"/>
              <a:t>2° level</a:t>
            </a:r>
          </a:p>
          <a:p>
            <a:pPr lvl="2"/>
            <a:r>
              <a:rPr lang="en-GB" noProof="0" dirty="0"/>
              <a:t>3° level</a:t>
            </a:r>
          </a:p>
          <a:p>
            <a:pPr lvl="3"/>
            <a:r>
              <a:rPr lang="en-GB" noProof="0" dirty="0"/>
              <a:t>4° level</a:t>
            </a:r>
          </a:p>
          <a:p>
            <a:pPr lvl="4"/>
            <a:r>
              <a:rPr lang="en-GB" noProof="0" dirty="0"/>
              <a:t>5° level</a:t>
            </a:r>
          </a:p>
        </p:txBody>
      </p:sp>
      <p:sp>
        <p:nvSpPr>
          <p:cNvPr id="2" name="Title"/>
          <p:cNvSpPr>
            <a:spLocks noGrp="1"/>
          </p:cNvSpPr>
          <p:nvPr>
            <p:ph type="title" hasCustomPrompt="1"/>
          </p:nvPr>
        </p:nvSpPr>
        <p:spPr/>
        <p:txBody>
          <a:bodyPr/>
          <a:lstStyle>
            <a:lvl1pPr>
              <a:lnSpc>
                <a:spcPts val="1650"/>
              </a:lnSpc>
              <a:defRPr/>
            </a:lvl1pPr>
          </a:lstStyle>
          <a:p>
            <a:r>
              <a:rPr lang="en-GB" noProof="0" dirty="0"/>
              <a:t>Insert title</a:t>
            </a:r>
          </a:p>
        </p:txBody>
      </p:sp>
    </p:spTree>
    <p:extLst>
      <p:ext uri="{BB962C8B-B14F-4D97-AF65-F5344CB8AC3E}">
        <p14:creationId xmlns:p14="http://schemas.microsoft.com/office/powerpoint/2010/main" val="31429671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3_Internal Slide - 2 Columns Text">
    <p:spTree>
      <p:nvGrpSpPr>
        <p:cNvPr id="1" name=""/>
        <p:cNvGrpSpPr/>
        <p:nvPr/>
      </p:nvGrpSpPr>
      <p:grpSpPr>
        <a:xfrm>
          <a:off x="0" y="0"/>
          <a:ext cx="0" cy="0"/>
          <a:chOff x="0" y="0"/>
          <a:chExt cx="0" cy="0"/>
        </a:xfrm>
      </p:grpSpPr>
      <p:sp>
        <p:nvSpPr>
          <p:cNvPr id="7" name="LegalEntity"/>
          <p:cNvSpPr>
            <a:spLocks noGrp="1"/>
          </p:cNvSpPr>
          <p:nvPr>
            <p:ph type="body" sz="quarter" idx="12" hasCustomPrompt="1"/>
          </p:nvPr>
        </p:nvSpPr>
        <p:spPr>
          <a:xfrm>
            <a:off x="3312000" y="5029035"/>
            <a:ext cx="2520000" cy="108000"/>
          </a:xfrm>
        </p:spPr>
        <p:txBody>
          <a:bodyPr>
            <a:noAutofit/>
          </a:bodyPr>
          <a:lstStyle>
            <a:lvl1pPr marL="0" marR="0" indent="0" algn="ctr" defTabSz="257156" rtl="0" eaLnBrk="1" fontAlgn="auto" latinLnBrk="0" hangingPunct="1">
              <a:lnSpc>
                <a:spcPct val="100000"/>
              </a:lnSpc>
              <a:spcBef>
                <a:spcPct val="20000"/>
              </a:spcBef>
              <a:spcAft>
                <a:spcPts val="0"/>
              </a:spcAft>
              <a:buClr>
                <a:srgbClr val="E1061C"/>
              </a:buClr>
              <a:buSzTx/>
              <a:buFontTx/>
              <a:buNone/>
              <a:tabLst/>
              <a:defRPr sz="750">
                <a:latin typeface="+mn-lt"/>
              </a:defRPr>
            </a:lvl1pPr>
            <a:lvl2pPr marL="342900" indent="0" algn="ctr">
              <a:buFontTx/>
              <a:buNone/>
              <a:defRPr sz="675"/>
            </a:lvl2pPr>
            <a:lvl3pPr marL="685800" indent="0" algn="ctr">
              <a:buFontTx/>
              <a:buNone/>
              <a:defRPr sz="675"/>
            </a:lvl3pPr>
            <a:lvl4pPr marL="1028700" indent="0" algn="ctr">
              <a:buFontTx/>
              <a:buNone/>
              <a:defRPr sz="675"/>
            </a:lvl4pPr>
            <a:lvl5pPr marL="1371600" indent="0" algn="ctr">
              <a:buFontTx/>
              <a:buNone/>
              <a:defRPr sz="675"/>
            </a:lvl5pPr>
          </a:lstStyle>
          <a:p>
            <a:pPr marL="0" marR="0" lvl="0" indent="0" algn="ctr" defTabSz="257156" rtl="0" eaLnBrk="1" fontAlgn="auto" latinLnBrk="0" hangingPunct="1">
              <a:lnSpc>
                <a:spcPct val="100000"/>
              </a:lnSpc>
              <a:spcBef>
                <a:spcPct val="20000"/>
              </a:spcBef>
              <a:spcAft>
                <a:spcPts val="0"/>
              </a:spcAft>
              <a:buClr>
                <a:srgbClr val="E1061C"/>
              </a:buClr>
              <a:buSzTx/>
              <a:buFontTx/>
              <a:buNone/>
              <a:tabLst/>
              <a:defRPr/>
            </a:pPr>
            <a:r>
              <a:rPr lang="en-GB" noProof="0" dirty="0"/>
              <a:t>[Insert legal entity - classification level]</a:t>
            </a:r>
          </a:p>
        </p:txBody>
      </p:sp>
      <p:sp>
        <p:nvSpPr>
          <p:cNvPr id="10" name="Baseline"/>
          <p:cNvSpPr>
            <a:spLocks noChangeShapeType="1"/>
          </p:cNvSpPr>
          <p:nvPr userDrawn="1"/>
        </p:nvSpPr>
        <p:spPr bwMode="auto">
          <a:xfrm>
            <a:off x="0" y="4595400"/>
            <a:ext cx="9144000" cy="0"/>
          </a:xfrm>
          <a:prstGeom prst="line">
            <a:avLst/>
          </a:prstGeom>
          <a:noFill/>
          <a:ln w="19050">
            <a:solidFill>
              <a:srgbClr val="00AFD0"/>
            </a:solidFill>
            <a:round/>
            <a:headEnd/>
            <a:tailEnd type="none" w="med" len="med"/>
          </a:ln>
          <a:extLst>
            <a:ext uri="{909E8E84-426E-40DD-AFC4-6F175D3DCCD1}">
              <a14:hiddenFill xmlns:a14="http://schemas.microsoft.com/office/drawing/2010/main">
                <a:noFill/>
              </a14:hiddenFill>
            </a:ext>
          </a:extLst>
        </p:spPr>
        <p:txBody>
          <a:bodyPr lIns="0" tIns="0" rIns="0" bIns="0" anchor="ctr">
            <a:spAutoFit/>
          </a:bodyPr>
          <a:lstStyle/>
          <a:p>
            <a:endParaRPr lang="en-GB" sz="100" noProof="1">
              <a:latin typeface="UniCredit" panose="02000506040000020004" pitchFamily="2" charset="0"/>
            </a:endParaRPr>
          </a:p>
        </p:txBody>
      </p:sp>
      <p:sp>
        <p:nvSpPr>
          <p:cNvPr id="11" name="Footer"/>
          <p:cNvSpPr>
            <a:spLocks noGrp="1"/>
          </p:cNvSpPr>
          <p:nvPr>
            <p:ph type="body" sz="quarter" idx="16" hasCustomPrompt="1"/>
          </p:nvPr>
        </p:nvSpPr>
        <p:spPr>
          <a:xfrm>
            <a:off x="720000" y="4738688"/>
            <a:ext cx="7704000" cy="270000"/>
          </a:xfrm>
        </p:spPr>
        <p:txBody>
          <a:bodyPr>
            <a:noAutofit/>
          </a:bodyPr>
          <a:lstStyle>
            <a:lvl1pPr marL="0" indent="0">
              <a:buNone/>
              <a:defRPr sz="600">
                <a:latin typeface="+mn-lt"/>
              </a:defRPr>
            </a:lvl1pPr>
            <a:lvl2pPr marL="342891" indent="0">
              <a:buNone/>
              <a:defRPr sz="600">
                <a:latin typeface="UniCredit" panose="02000506040000020004" pitchFamily="2" charset="0"/>
              </a:defRPr>
            </a:lvl2pPr>
            <a:lvl3pPr marL="685783" indent="0">
              <a:buNone/>
              <a:defRPr sz="600">
                <a:latin typeface="UniCredit" panose="02000506040000020004" pitchFamily="2" charset="0"/>
              </a:defRPr>
            </a:lvl3pPr>
            <a:lvl4pPr marL="1028675" indent="0">
              <a:buNone/>
              <a:defRPr sz="600">
                <a:latin typeface="UniCredit" panose="02000506040000020004" pitchFamily="2" charset="0"/>
              </a:defRPr>
            </a:lvl4pPr>
            <a:lvl5pPr marL="1371566" indent="0">
              <a:buNone/>
              <a:defRPr sz="600">
                <a:latin typeface="UniCredit" panose="02000506040000020004" pitchFamily="2" charset="0"/>
              </a:defRPr>
            </a:lvl5pPr>
          </a:lstStyle>
          <a:p>
            <a:pPr lvl="0"/>
            <a:r>
              <a:rPr lang="en-GB" noProof="0" dirty="0"/>
              <a:t>Insert notes</a:t>
            </a:r>
          </a:p>
        </p:txBody>
      </p:sp>
      <p:sp>
        <p:nvSpPr>
          <p:cNvPr id="4" name="SlideNumber"/>
          <p:cNvSpPr>
            <a:spLocks noGrp="1"/>
          </p:cNvSpPr>
          <p:nvPr>
            <p:ph type="sldNum" sz="quarter" idx="11"/>
          </p:nvPr>
        </p:nvSpPr>
        <p:spPr/>
        <p:txBody>
          <a:bodyPr/>
          <a:lstStyle/>
          <a:p>
            <a:pPr>
              <a:defRPr/>
            </a:pPr>
            <a:fld id="{1D1043DC-2681-49D5-9D69-158B3FA3398E}" type="slidenum">
              <a:rPr lang="en-GB" noProof="1" dirty="0" smtClean="0"/>
              <a:pPr>
                <a:defRPr/>
              </a:pPr>
              <a:t>‹#›</a:t>
            </a:fld>
            <a:endParaRPr lang="en-GB" noProof="1"/>
          </a:p>
        </p:txBody>
      </p:sp>
      <p:sp>
        <p:nvSpPr>
          <p:cNvPr id="12" name="ContentColumn2"/>
          <p:cNvSpPr>
            <a:spLocks noGrp="1"/>
          </p:cNvSpPr>
          <p:nvPr>
            <p:ph sz="quarter" idx="18" hasCustomPrompt="1"/>
          </p:nvPr>
        </p:nvSpPr>
        <p:spPr>
          <a:xfrm>
            <a:off x="4820400" y="945000"/>
            <a:ext cx="4140000" cy="3510000"/>
          </a:xfrm>
        </p:spPr>
        <p:txBody>
          <a:bodyPr/>
          <a:lstStyle>
            <a:lvl1pPr marL="132160" marR="0" indent="-132160" algn="l" defTabSz="342900" rtl="0" eaLnBrk="1" fontAlgn="auto" latinLnBrk="0" hangingPunct="1">
              <a:lnSpc>
                <a:spcPct val="100000"/>
              </a:lnSpc>
              <a:spcBef>
                <a:spcPct val="20000"/>
              </a:spcBef>
              <a:spcAft>
                <a:spcPts val="0"/>
              </a:spcAft>
              <a:buClr>
                <a:srgbClr val="E1061C"/>
              </a:buClr>
              <a:buSzTx/>
              <a:buFont typeface="Arial"/>
              <a:buChar char="•"/>
              <a:tabLst/>
              <a:defRPr/>
            </a:lvl1pPr>
            <a:lvl2pPr marL="470297" marR="0" indent="-127397" algn="l" defTabSz="342900" rtl="0" eaLnBrk="1" fontAlgn="auto" latinLnBrk="0" hangingPunct="1">
              <a:lnSpc>
                <a:spcPct val="100000"/>
              </a:lnSpc>
              <a:spcBef>
                <a:spcPct val="20000"/>
              </a:spcBef>
              <a:spcAft>
                <a:spcPts val="0"/>
              </a:spcAft>
              <a:buClr>
                <a:srgbClr val="E1061C"/>
              </a:buClr>
              <a:buSzTx/>
              <a:buFont typeface="Arial"/>
              <a:buChar char="•"/>
              <a:tabLst/>
              <a:defRPr/>
            </a:lvl2pPr>
            <a:lvl3pPr marL="809625" marR="0" indent="-123825" algn="l" defTabSz="342900" rtl="0" eaLnBrk="1" fontAlgn="auto" latinLnBrk="0" hangingPunct="1">
              <a:lnSpc>
                <a:spcPct val="100000"/>
              </a:lnSpc>
              <a:spcBef>
                <a:spcPct val="20000"/>
              </a:spcBef>
              <a:spcAft>
                <a:spcPts val="0"/>
              </a:spcAft>
              <a:buClr>
                <a:srgbClr val="E1061C"/>
              </a:buClr>
              <a:buSzTx/>
              <a:buFont typeface="Arial"/>
              <a:buChar char="•"/>
              <a:tabLst/>
              <a:defRPr/>
            </a:lvl3pPr>
            <a:lvl4pPr marL="1141810" marR="0" indent="-113110" algn="l" defTabSz="342900" rtl="0" eaLnBrk="1" fontAlgn="auto" latinLnBrk="0" hangingPunct="1">
              <a:lnSpc>
                <a:spcPct val="100000"/>
              </a:lnSpc>
              <a:spcBef>
                <a:spcPct val="20000"/>
              </a:spcBef>
              <a:spcAft>
                <a:spcPts val="0"/>
              </a:spcAft>
              <a:buClr>
                <a:srgbClr val="E1061C"/>
              </a:buClr>
              <a:buSzTx/>
              <a:buFont typeface="Arial"/>
              <a:buChar char="•"/>
              <a:tabLst/>
              <a:defRPr/>
            </a:lvl4pPr>
            <a:lvl5pPr marL="1479947" marR="0" indent="-108347" algn="l" defTabSz="342900" rtl="0" eaLnBrk="1" fontAlgn="auto" latinLnBrk="0" hangingPunct="1">
              <a:lnSpc>
                <a:spcPct val="100000"/>
              </a:lnSpc>
              <a:spcBef>
                <a:spcPct val="20000"/>
              </a:spcBef>
              <a:spcAft>
                <a:spcPts val="0"/>
              </a:spcAft>
              <a:buClr>
                <a:srgbClr val="E1061C"/>
              </a:buClr>
              <a:buSzTx/>
              <a:buFont typeface="Arial"/>
              <a:buChar char="•"/>
              <a:tabLst/>
              <a:defRPr/>
            </a:lvl5pPr>
          </a:lstStyle>
          <a:p>
            <a:pPr lvl="0"/>
            <a:r>
              <a:rPr lang="en-GB" noProof="0" dirty="0"/>
              <a:t>Insert text</a:t>
            </a:r>
          </a:p>
          <a:p>
            <a:pPr lvl="1"/>
            <a:r>
              <a:rPr lang="en-GB" noProof="0" dirty="0"/>
              <a:t>2° level</a:t>
            </a:r>
          </a:p>
          <a:p>
            <a:pPr lvl="2"/>
            <a:r>
              <a:rPr lang="en-GB" noProof="0" dirty="0"/>
              <a:t>3° level</a:t>
            </a:r>
          </a:p>
          <a:p>
            <a:pPr lvl="3"/>
            <a:r>
              <a:rPr lang="en-GB" noProof="0" dirty="0"/>
              <a:t>4° level</a:t>
            </a:r>
          </a:p>
          <a:p>
            <a:pPr lvl="4"/>
            <a:r>
              <a:rPr lang="en-GB" noProof="0" dirty="0"/>
              <a:t>5° level</a:t>
            </a:r>
          </a:p>
        </p:txBody>
      </p:sp>
      <p:sp>
        <p:nvSpPr>
          <p:cNvPr id="5" name="ContentColumn1"/>
          <p:cNvSpPr>
            <a:spLocks noGrp="1"/>
          </p:cNvSpPr>
          <p:nvPr>
            <p:ph sz="quarter" idx="17" hasCustomPrompt="1"/>
          </p:nvPr>
        </p:nvSpPr>
        <p:spPr>
          <a:xfrm>
            <a:off x="270000" y="945000"/>
            <a:ext cx="4140000" cy="3510000"/>
          </a:xfrm>
        </p:spPr>
        <p:txBody>
          <a:bodyPr/>
          <a:lstStyle>
            <a:lvl1pPr marL="132160" marR="0" indent="-132160" algn="l" defTabSz="342900" rtl="0" eaLnBrk="1" fontAlgn="auto" latinLnBrk="0" hangingPunct="1">
              <a:lnSpc>
                <a:spcPct val="100000"/>
              </a:lnSpc>
              <a:spcBef>
                <a:spcPct val="20000"/>
              </a:spcBef>
              <a:spcAft>
                <a:spcPts val="0"/>
              </a:spcAft>
              <a:buClr>
                <a:srgbClr val="E1061C"/>
              </a:buClr>
              <a:buSzTx/>
              <a:buFont typeface="Arial"/>
              <a:buChar char="•"/>
              <a:tabLst/>
              <a:defRPr/>
            </a:lvl1pPr>
            <a:lvl2pPr marL="470297" marR="0" indent="-127397" algn="l" defTabSz="342900" rtl="0" eaLnBrk="1" fontAlgn="auto" latinLnBrk="0" hangingPunct="1">
              <a:lnSpc>
                <a:spcPct val="100000"/>
              </a:lnSpc>
              <a:spcBef>
                <a:spcPct val="20000"/>
              </a:spcBef>
              <a:spcAft>
                <a:spcPts val="0"/>
              </a:spcAft>
              <a:buClr>
                <a:srgbClr val="E1061C"/>
              </a:buClr>
              <a:buSzTx/>
              <a:buFont typeface="Arial"/>
              <a:buChar char="•"/>
              <a:tabLst/>
              <a:defRPr/>
            </a:lvl2pPr>
            <a:lvl3pPr marL="809625" marR="0" indent="-123825" algn="l" defTabSz="342900" rtl="0" eaLnBrk="1" fontAlgn="auto" latinLnBrk="0" hangingPunct="1">
              <a:lnSpc>
                <a:spcPct val="100000"/>
              </a:lnSpc>
              <a:spcBef>
                <a:spcPct val="20000"/>
              </a:spcBef>
              <a:spcAft>
                <a:spcPts val="0"/>
              </a:spcAft>
              <a:buClr>
                <a:srgbClr val="E1061C"/>
              </a:buClr>
              <a:buSzTx/>
              <a:buFont typeface="Arial"/>
              <a:buChar char="•"/>
              <a:tabLst/>
              <a:defRPr/>
            </a:lvl3pPr>
            <a:lvl4pPr marL="1141810" marR="0" indent="-113110" algn="l" defTabSz="342900" rtl="0" eaLnBrk="1" fontAlgn="auto" latinLnBrk="0" hangingPunct="1">
              <a:lnSpc>
                <a:spcPct val="100000"/>
              </a:lnSpc>
              <a:spcBef>
                <a:spcPct val="20000"/>
              </a:spcBef>
              <a:spcAft>
                <a:spcPts val="0"/>
              </a:spcAft>
              <a:buClr>
                <a:srgbClr val="E1061C"/>
              </a:buClr>
              <a:buSzTx/>
              <a:buFont typeface="Arial"/>
              <a:buChar char="•"/>
              <a:tabLst/>
              <a:defRPr/>
            </a:lvl4pPr>
            <a:lvl5pPr marL="1479947" marR="0" indent="-108347" algn="l" defTabSz="342900" rtl="0" eaLnBrk="1" fontAlgn="auto" latinLnBrk="0" hangingPunct="1">
              <a:lnSpc>
                <a:spcPct val="100000"/>
              </a:lnSpc>
              <a:spcBef>
                <a:spcPct val="20000"/>
              </a:spcBef>
              <a:spcAft>
                <a:spcPts val="0"/>
              </a:spcAft>
              <a:buClr>
                <a:srgbClr val="E1061C"/>
              </a:buClr>
              <a:buSzTx/>
              <a:buFont typeface="Arial"/>
              <a:buChar char="•"/>
              <a:tabLst/>
              <a:defRPr/>
            </a:lvl5pPr>
          </a:lstStyle>
          <a:p>
            <a:pPr lvl="0"/>
            <a:r>
              <a:rPr lang="en-GB" noProof="0" dirty="0"/>
              <a:t>Insert text</a:t>
            </a:r>
          </a:p>
          <a:p>
            <a:pPr lvl="1"/>
            <a:r>
              <a:rPr lang="en-GB" noProof="0" dirty="0"/>
              <a:t>2° level</a:t>
            </a:r>
          </a:p>
          <a:p>
            <a:pPr lvl="2"/>
            <a:r>
              <a:rPr lang="en-GB" noProof="0" dirty="0"/>
              <a:t>3° level</a:t>
            </a:r>
          </a:p>
          <a:p>
            <a:pPr lvl="3"/>
            <a:r>
              <a:rPr lang="en-GB" noProof="0" dirty="0"/>
              <a:t>4° level</a:t>
            </a:r>
          </a:p>
          <a:p>
            <a:pPr lvl="4"/>
            <a:r>
              <a:rPr lang="en-GB" noProof="0" dirty="0"/>
              <a:t>5° level</a:t>
            </a:r>
          </a:p>
        </p:txBody>
      </p:sp>
      <p:sp>
        <p:nvSpPr>
          <p:cNvPr id="2" name="Title"/>
          <p:cNvSpPr>
            <a:spLocks noGrp="1"/>
          </p:cNvSpPr>
          <p:nvPr>
            <p:ph type="title" hasCustomPrompt="1"/>
          </p:nvPr>
        </p:nvSpPr>
        <p:spPr/>
        <p:txBody>
          <a:bodyPr/>
          <a:lstStyle>
            <a:lvl1pPr>
              <a:lnSpc>
                <a:spcPts val="1650"/>
              </a:lnSpc>
              <a:defRPr/>
            </a:lvl1pPr>
          </a:lstStyle>
          <a:p>
            <a:r>
              <a:rPr lang="en-GB" noProof="0" dirty="0"/>
              <a:t>Insert title</a:t>
            </a:r>
          </a:p>
        </p:txBody>
      </p:sp>
    </p:spTree>
    <p:extLst>
      <p:ext uri="{BB962C8B-B14F-4D97-AF65-F5344CB8AC3E}">
        <p14:creationId xmlns:p14="http://schemas.microsoft.com/office/powerpoint/2010/main" val="51261494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Internal Slide - 2 Columns Text">
    <p:spTree>
      <p:nvGrpSpPr>
        <p:cNvPr id="1" name=""/>
        <p:cNvGrpSpPr/>
        <p:nvPr/>
      </p:nvGrpSpPr>
      <p:grpSpPr>
        <a:xfrm>
          <a:off x="0" y="0"/>
          <a:ext cx="0" cy="0"/>
          <a:chOff x="0" y="0"/>
          <a:chExt cx="0" cy="0"/>
        </a:xfrm>
      </p:grpSpPr>
      <p:sp>
        <p:nvSpPr>
          <p:cNvPr id="7" name="LegalEntity"/>
          <p:cNvSpPr>
            <a:spLocks noGrp="1"/>
          </p:cNvSpPr>
          <p:nvPr>
            <p:ph type="body" sz="quarter" idx="12" hasCustomPrompt="1"/>
          </p:nvPr>
        </p:nvSpPr>
        <p:spPr>
          <a:xfrm>
            <a:off x="3312000" y="4964400"/>
            <a:ext cx="2520000" cy="144000"/>
          </a:xfrm>
        </p:spPr>
        <p:txBody>
          <a:bodyPr>
            <a:noAutofit/>
          </a:bodyPr>
          <a:lstStyle>
            <a:lvl1pPr marL="0" marR="0" indent="0" algn="ctr" defTabSz="342875" rtl="0" eaLnBrk="1" fontAlgn="auto" latinLnBrk="0" hangingPunct="1">
              <a:lnSpc>
                <a:spcPct val="100000"/>
              </a:lnSpc>
              <a:spcBef>
                <a:spcPct val="20000"/>
              </a:spcBef>
              <a:spcAft>
                <a:spcPts val="0"/>
              </a:spcAft>
              <a:buClr>
                <a:srgbClr val="E1061C"/>
              </a:buClr>
              <a:buSzTx/>
              <a:buFontTx/>
              <a:buNone/>
              <a:tabLst/>
              <a:defRPr sz="1000">
                <a:latin typeface="+mn-lt"/>
              </a:defRPr>
            </a:lvl1pPr>
            <a:lvl2pPr marL="342875" indent="0" algn="ctr">
              <a:buFontTx/>
              <a:buNone/>
              <a:defRPr sz="675"/>
            </a:lvl2pPr>
            <a:lvl3pPr marL="685749" indent="0" algn="ctr">
              <a:buFontTx/>
              <a:buNone/>
              <a:defRPr sz="675"/>
            </a:lvl3pPr>
            <a:lvl4pPr marL="1028624" indent="0" algn="ctr">
              <a:buFontTx/>
              <a:buNone/>
              <a:defRPr sz="675"/>
            </a:lvl4pPr>
            <a:lvl5pPr marL="1371498" indent="0" algn="ctr">
              <a:buFontTx/>
              <a:buNone/>
              <a:defRPr sz="675"/>
            </a:lvl5pPr>
          </a:lstStyle>
          <a:p>
            <a:pPr marL="0" marR="0" lvl="0" indent="0" algn="ctr" defTabSz="342875" rtl="0" eaLnBrk="1" fontAlgn="auto" latinLnBrk="0" hangingPunct="1">
              <a:lnSpc>
                <a:spcPct val="100000"/>
              </a:lnSpc>
              <a:spcBef>
                <a:spcPct val="20000"/>
              </a:spcBef>
              <a:spcAft>
                <a:spcPts val="0"/>
              </a:spcAft>
              <a:buClr>
                <a:srgbClr val="E1061C"/>
              </a:buClr>
              <a:buSzTx/>
              <a:buFontTx/>
              <a:buNone/>
              <a:tabLst/>
              <a:defRPr/>
            </a:pPr>
            <a:r>
              <a:rPr lang="en-GB" noProof="0" dirty="0"/>
              <a:t>[Insert legal entity - classification level]</a:t>
            </a:r>
          </a:p>
        </p:txBody>
      </p:sp>
      <p:sp>
        <p:nvSpPr>
          <p:cNvPr id="10" name="Baseline"/>
          <p:cNvSpPr>
            <a:spLocks noChangeShapeType="1"/>
          </p:cNvSpPr>
          <p:nvPr/>
        </p:nvSpPr>
        <p:spPr bwMode="auto">
          <a:xfrm>
            <a:off x="0" y="4428000"/>
            <a:ext cx="9144000" cy="0"/>
          </a:xfrm>
          <a:prstGeom prst="line">
            <a:avLst/>
          </a:prstGeom>
          <a:noFill/>
          <a:ln w="19050">
            <a:solidFill>
              <a:srgbClr val="00AFD0"/>
            </a:solidFill>
            <a:round/>
            <a:headEnd/>
            <a:tailEnd type="none" w="med" len="med"/>
          </a:ln>
          <a:extLst>
            <a:ext uri="{909E8E84-426E-40DD-AFC4-6F175D3DCCD1}">
              <a14:hiddenFill xmlns:a14="http://schemas.microsoft.com/office/drawing/2010/main">
                <a:noFill/>
              </a14:hiddenFill>
            </a:ext>
          </a:extLst>
        </p:spPr>
        <p:txBody>
          <a:bodyPr lIns="0" tIns="0" rIns="0" bIns="0" anchor="ctr">
            <a:spAutoFit/>
          </a:bodyPr>
          <a:lstStyle/>
          <a:p>
            <a:endParaRPr lang="en-GB" sz="100" noProof="1">
              <a:latin typeface="UniCredit" panose="02000506040000020004" pitchFamily="2" charset="0"/>
              <a:cs typeface="Arial" panose="020B0604020202020204" pitchFamily="34" charset="0"/>
            </a:endParaRPr>
          </a:p>
        </p:txBody>
      </p:sp>
      <p:sp>
        <p:nvSpPr>
          <p:cNvPr id="11" name="Footer"/>
          <p:cNvSpPr>
            <a:spLocks noGrp="1"/>
          </p:cNvSpPr>
          <p:nvPr>
            <p:ph type="body" sz="quarter" idx="17" hasCustomPrompt="1"/>
          </p:nvPr>
        </p:nvSpPr>
        <p:spPr>
          <a:xfrm>
            <a:off x="720000" y="4603750"/>
            <a:ext cx="7704000" cy="360000"/>
          </a:xfrm>
        </p:spPr>
        <p:txBody>
          <a:bodyPr>
            <a:noAutofit/>
          </a:bodyPr>
          <a:lstStyle>
            <a:lvl1pPr marL="0" indent="0">
              <a:buNone/>
              <a:defRPr sz="800">
                <a:latin typeface="+mn-lt"/>
                <a:cs typeface="Arial" panose="020B0604020202020204" pitchFamily="34" charset="0"/>
              </a:defRPr>
            </a:lvl1pPr>
            <a:lvl2pPr marL="342882" indent="0">
              <a:buNone/>
              <a:defRPr sz="700">
                <a:latin typeface="Arial" panose="020B0604020202020204" pitchFamily="34" charset="0"/>
                <a:cs typeface="Arial" panose="020B0604020202020204" pitchFamily="34" charset="0"/>
              </a:defRPr>
            </a:lvl2pPr>
            <a:lvl3pPr marL="685766" indent="0">
              <a:buNone/>
              <a:defRPr sz="700">
                <a:latin typeface="Arial" panose="020B0604020202020204" pitchFamily="34" charset="0"/>
                <a:cs typeface="Arial" panose="020B0604020202020204" pitchFamily="34" charset="0"/>
              </a:defRPr>
            </a:lvl3pPr>
            <a:lvl4pPr marL="1028648" indent="0">
              <a:buNone/>
              <a:defRPr sz="700">
                <a:latin typeface="Arial" panose="020B0604020202020204" pitchFamily="34" charset="0"/>
                <a:cs typeface="Arial" panose="020B0604020202020204" pitchFamily="34" charset="0"/>
              </a:defRPr>
            </a:lvl4pPr>
            <a:lvl5pPr marL="1371532" indent="0">
              <a:buNone/>
              <a:defRPr sz="700">
                <a:latin typeface="Arial" panose="020B0604020202020204" pitchFamily="34" charset="0"/>
                <a:cs typeface="Arial" panose="020B0604020202020204" pitchFamily="34" charset="0"/>
              </a:defRPr>
            </a:lvl5pPr>
          </a:lstStyle>
          <a:p>
            <a:pPr lvl="0"/>
            <a:r>
              <a:rPr lang="en-GB" noProof="0" dirty="0"/>
              <a:t>Insert notes</a:t>
            </a:r>
          </a:p>
        </p:txBody>
      </p:sp>
      <p:sp>
        <p:nvSpPr>
          <p:cNvPr id="4" name="SlideNumber"/>
          <p:cNvSpPr>
            <a:spLocks noGrp="1"/>
          </p:cNvSpPr>
          <p:nvPr>
            <p:ph type="sldNum" sz="quarter" idx="11"/>
          </p:nvPr>
        </p:nvSpPr>
        <p:spPr/>
        <p:txBody>
          <a:bodyPr/>
          <a:lstStyle/>
          <a:p>
            <a:fld id="{9E8169F0-646E-455B-AF5A-6D6C02EAEAF6}" type="slidenum">
              <a:rPr lang="en-GB" noProof="1" dirty="0" smtClean="0"/>
              <a:t>‹#›</a:t>
            </a:fld>
            <a:endParaRPr lang="en-GB" noProof="1"/>
          </a:p>
        </p:txBody>
      </p:sp>
      <p:sp>
        <p:nvSpPr>
          <p:cNvPr id="8" name="ContentColumn2"/>
          <p:cNvSpPr>
            <a:spLocks noGrp="1"/>
          </p:cNvSpPr>
          <p:nvPr>
            <p:ph sz="quarter" idx="16" hasCustomPrompt="1"/>
          </p:nvPr>
        </p:nvSpPr>
        <p:spPr>
          <a:xfrm>
            <a:off x="4777200" y="946800"/>
            <a:ext cx="4176000" cy="3312000"/>
          </a:xfrm>
        </p:spPr>
        <p:txBody>
          <a:bodyPr/>
          <a:lstStyle>
            <a:lvl1pPr marL="132151" marR="0" indent="-132151" algn="l" defTabSz="342875" rtl="0" eaLnBrk="1" fontAlgn="auto" latinLnBrk="0" hangingPunct="1">
              <a:lnSpc>
                <a:spcPct val="100000"/>
              </a:lnSpc>
              <a:spcBef>
                <a:spcPct val="20000"/>
              </a:spcBef>
              <a:spcAft>
                <a:spcPts val="0"/>
              </a:spcAft>
              <a:buClr>
                <a:srgbClr val="E1061C"/>
              </a:buClr>
              <a:buSzTx/>
              <a:buFont typeface="Arial"/>
              <a:buChar char="•"/>
              <a:tabLst/>
              <a:defRPr/>
            </a:lvl1pPr>
            <a:lvl2pPr marL="470261" marR="0" indent="-127388" algn="l" defTabSz="342875" rtl="0" eaLnBrk="1" fontAlgn="auto" latinLnBrk="0" hangingPunct="1">
              <a:lnSpc>
                <a:spcPct val="100000"/>
              </a:lnSpc>
              <a:spcBef>
                <a:spcPct val="20000"/>
              </a:spcBef>
              <a:spcAft>
                <a:spcPts val="0"/>
              </a:spcAft>
              <a:buClr>
                <a:srgbClr val="E1061C"/>
              </a:buClr>
              <a:buSzTx/>
              <a:buFont typeface="Arial"/>
              <a:buChar char="•"/>
              <a:tabLst/>
              <a:defRPr/>
            </a:lvl2pPr>
            <a:lvl3pPr marL="809565" marR="0" indent="-123816" algn="l" defTabSz="342875" rtl="0" eaLnBrk="1" fontAlgn="auto" latinLnBrk="0" hangingPunct="1">
              <a:lnSpc>
                <a:spcPct val="100000"/>
              </a:lnSpc>
              <a:spcBef>
                <a:spcPct val="20000"/>
              </a:spcBef>
              <a:spcAft>
                <a:spcPts val="0"/>
              </a:spcAft>
              <a:buClr>
                <a:srgbClr val="E1061C"/>
              </a:buClr>
              <a:buSzTx/>
              <a:buFont typeface="Arial"/>
              <a:buChar char="•"/>
              <a:tabLst/>
              <a:defRPr/>
            </a:lvl3pPr>
            <a:lvl4pPr marL="1141724" marR="0" indent="-113102" algn="l" defTabSz="342875" rtl="0" eaLnBrk="1" fontAlgn="auto" latinLnBrk="0" hangingPunct="1">
              <a:lnSpc>
                <a:spcPct val="100000"/>
              </a:lnSpc>
              <a:spcBef>
                <a:spcPct val="20000"/>
              </a:spcBef>
              <a:spcAft>
                <a:spcPts val="0"/>
              </a:spcAft>
              <a:buClr>
                <a:srgbClr val="E1061C"/>
              </a:buClr>
              <a:buSzTx/>
              <a:buFont typeface="Arial"/>
              <a:buChar char="•"/>
              <a:tabLst/>
              <a:defRPr/>
            </a:lvl4pPr>
            <a:lvl5pPr marL="1479836" marR="0" indent="-108338" algn="l" defTabSz="342875" rtl="0" eaLnBrk="1" fontAlgn="auto" latinLnBrk="0" hangingPunct="1">
              <a:lnSpc>
                <a:spcPct val="100000"/>
              </a:lnSpc>
              <a:spcBef>
                <a:spcPct val="20000"/>
              </a:spcBef>
              <a:spcAft>
                <a:spcPts val="0"/>
              </a:spcAft>
              <a:buClr>
                <a:srgbClr val="E1061C"/>
              </a:buClr>
              <a:buSzTx/>
              <a:buFont typeface="Arial"/>
              <a:buChar char="•"/>
              <a:tabLst/>
              <a:defRPr/>
            </a:lvl5pPr>
          </a:lstStyle>
          <a:p>
            <a:pPr lvl="0"/>
            <a:r>
              <a:rPr lang="en-GB" noProof="0" dirty="0"/>
              <a:t>Insert text</a:t>
            </a:r>
          </a:p>
          <a:p>
            <a:pPr lvl="1"/>
            <a:r>
              <a:rPr lang="en-GB" noProof="0" dirty="0"/>
              <a:t>2° level</a:t>
            </a:r>
          </a:p>
          <a:p>
            <a:pPr lvl="2"/>
            <a:r>
              <a:rPr lang="en-GB" noProof="0" dirty="0"/>
              <a:t>3° level</a:t>
            </a:r>
          </a:p>
          <a:p>
            <a:pPr lvl="3"/>
            <a:r>
              <a:rPr lang="en-GB" noProof="0" dirty="0"/>
              <a:t>4° level</a:t>
            </a:r>
          </a:p>
          <a:p>
            <a:pPr lvl="4"/>
            <a:r>
              <a:rPr lang="en-GB" noProof="0" dirty="0"/>
              <a:t>5° level</a:t>
            </a:r>
          </a:p>
        </p:txBody>
      </p:sp>
      <p:sp>
        <p:nvSpPr>
          <p:cNvPr id="5" name="ContentColumn1"/>
          <p:cNvSpPr>
            <a:spLocks noGrp="1"/>
          </p:cNvSpPr>
          <p:nvPr>
            <p:ph sz="quarter" idx="15" hasCustomPrompt="1"/>
          </p:nvPr>
        </p:nvSpPr>
        <p:spPr>
          <a:xfrm>
            <a:off x="269875" y="946800"/>
            <a:ext cx="4176000" cy="3312000"/>
          </a:xfrm>
        </p:spPr>
        <p:txBody>
          <a:bodyPr/>
          <a:lstStyle>
            <a:lvl1pPr marL="132151" marR="0" indent="-132151" algn="l" defTabSz="342875" rtl="0" eaLnBrk="1" fontAlgn="auto" latinLnBrk="0" hangingPunct="1">
              <a:lnSpc>
                <a:spcPct val="100000"/>
              </a:lnSpc>
              <a:spcBef>
                <a:spcPct val="20000"/>
              </a:spcBef>
              <a:spcAft>
                <a:spcPts val="0"/>
              </a:spcAft>
              <a:buClr>
                <a:srgbClr val="E1061C"/>
              </a:buClr>
              <a:buSzTx/>
              <a:buFont typeface="Arial"/>
              <a:buChar char="•"/>
              <a:tabLst/>
              <a:defRPr/>
            </a:lvl1pPr>
            <a:lvl2pPr marL="470261" marR="0" indent="-127388" algn="l" defTabSz="342875" rtl="0" eaLnBrk="1" fontAlgn="auto" latinLnBrk="0" hangingPunct="1">
              <a:lnSpc>
                <a:spcPct val="100000"/>
              </a:lnSpc>
              <a:spcBef>
                <a:spcPct val="20000"/>
              </a:spcBef>
              <a:spcAft>
                <a:spcPts val="0"/>
              </a:spcAft>
              <a:buClr>
                <a:srgbClr val="E1061C"/>
              </a:buClr>
              <a:buSzTx/>
              <a:buFont typeface="Arial"/>
              <a:buChar char="•"/>
              <a:tabLst/>
              <a:defRPr/>
            </a:lvl2pPr>
            <a:lvl3pPr marL="809565" marR="0" indent="-123816" algn="l" defTabSz="342875" rtl="0" eaLnBrk="1" fontAlgn="auto" latinLnBrk="0" hangingPunct="1">
              <a:lnSpc>
                <a:spcPct val="100000"/>
              </a:lnSpc>
              <a:spcBef>
                <a:spcPct val="20000"/>
              </a:spcBef>
              <a:spcAft>
                <a:spcPts val="0"/>
              </a:spcAft>
              <a:buClr>
                <a:srgbClr val="E1061C"/>
              </a:buClr>
              <a:buSzTx/>
              <a:buFont typeface="Arial"/>
              <a:buChar char="•"/>
              <a:tabLst/>
              <a:defRPr/>
            </a:lvl3pPr>
            <a:lvl4pPr marL="1141724" marR="0" indent="-113102" algn="l" defTabSz="342875" rtl="0" eaLnBrk="1" fontAlgn="auto" latinLnBrk="0" hangingPunct="1">
              <a:lnSpc>
                <a:spcPct val="100000"/>
              </a:lnSpc>
              <a:spcBef>
                <a:spcPct val="20000"/>
              </a:spcBef>
              <a:spcAft>
                <a:spcPts val="0"/>
              </a:spcAft>
              <a:buClr>
                <a:srgbClr val="E1061C"/>
              </a:buClr>
              <a:buSzTx/>
              <a:buFont typeface="Arial"/>
              <a:buChar char="•"/>
              <a:tabLst/>
              <a:defRPr/>
            </a:lvl4pPr>
            <a:lvl5pPr marL="1479836" marR="0" indent="-108338" algn="l" defTabSz="342875" rtl="0" eaLnBrk="1" fontAlgn="auto" latinLnBrk="0" hangingPunct="1">
              <a:lnSpc>
                <a:spcPct val="100000"/>
              </a:lnSpc>
              <a:spcBef>
                <a:spcPct val="20000"/>
              </a:spcBef>
              <a:spcAft>
                <a:spcPts val="0"/>
              </a:spcAft>
              <a:buClr>
                <a:srgbClr val="E1061C"/>
              </a:buClr>
              <a:buSzTx/>
              <a:buFont typeface="Arial"/>
              <a:buChar char="•"/>
              <a:tabLst/>
              <a:defRPr/>
            </a:lvl5pPr>
          </a:lstStyle>
          <a:p>
            <a:pPr lvl="0"/>
            <a:r>
              <a:rPr lang="en-GB" noProof="0" dirty="0"/>
              <a:t>Insert text</a:t>
            </a:r>
          </a:p>
          <a:p>
            <a:pPr lvl="1"/>
            <a:r>
              <a:rPr lang="en-GB" noProof="0" dirty="0"/>
              <a:t>2° level</a:t>
            </a:r>
          </a:p>
          <a:p>
            <a:pPr lvl="2"/>
            <a:r>
              <a:rPr lang="en-GB" noProof="0" dirty="0"/>
              <a:t>3° level</a:t>
            </a:r>
          </a:p>
          <a:p>
            <a:pPr lvl="3"/>
            <a:r>
              <a:rPr lang="en-GB" noProof="0" dirty="0"/>
              <a:t>4° level</a:t>
            </a:r>
          </a:p>
          <a:p>
            <a:pPr lvl="4"/>
            <a:r>
              <a:rPr lang="en-GB" noProof="0" dirty="0"/>
              <a:t>5° level</a:t>
            </a:r>
          </a:p>
        </p:txBody>
      </p:sp>
      <p:sp>
        <p:nvSpPr>
          <p:cNvPr id="2" name="Title"/>
          <p:cNvSpPr>
            <a:spLocks noGrp="1"/>
          </p:cNvSpPr>
          <p:nvPr>
            <p:ph type="title" hasCustomPrompt="1"/>
          </p:nvPr>
        </p:nvSpPr>
        <p:spPr/>
        <p:txBody>
          <a:bodyPr vert="horz" lIns="0" tIns="0" rIns="0" bIns="0" rtlCol="0" anchor="ctr">
            <a:noAutofit/>
          </a:bodyPr>
          <a:lstStyle>
            <a:lvl1pPr>
              <a:defRPr lang="en-GB" noProof="0" dirty="0"/>
            </a:lvl1pPr>
          </a:lstStyle>
          <a:p>
            <a:pPr lvl="0">
              <a:lnSpc>
                <a:spcPts val="2400"/>
              </a:lnSpc>
            </a:pPr>
            <a:r>
              <a:rPr lang="en-GB" noProof="0" dirty="0"/>
              <a:t>Insert title</a:t>
            </a:r>
          </a:p>
        </p:txBody>
      </p:sp>
    </p:spTree>
    <p:extLst>
      <p:ext uri="{BB962C8B-B14F-4D97-AF65-F5344CB8AC3E}">
        <p14:creationId xmlns:p14="http://schemas.microsoft.com/office/powerpoint/2010/main" val="98163245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Internal Slide - 2 Columns Text without Line">
    <p:spTree>
      <p:nvGrpSpPr>
        <p:cNvPr id="1" name=""/>
        <p:cNvGrpSpPr/>
        <p:nvPr/>
      </p:nvGrpSpPr>
      <p:grpSpPr>
        <a:xfrm>
          <a:off x="0" y="0"/>
          <a:ext cx="0" cy="0"/>
          <a:chOff x="0" y="0"/>
          <a:chExt cx="0" cy="0"/>
        </a:xfrm>
      </p:grpSpPr>
      <p:sp>
        <p:nvSpPr>
          <p:cNvPr id="7" name="LegalEntity"/>
          <p:cNvSpPr>
            <a:spLocks noGrp="1"/>
          </p:cNvSpPr>
          <p:nvPr>
            <p:ph type="body" sz="quarter" idx="12" hasCustomPrompt="1"/>
          </p:nvPr>
        </p:nvSpPr>
        <p:spPr>
          <a:xfrm>
            <a:off x="3312000" y="4964400"/>
            <a:ext cx="2520000" cy="144000"/>
          </a:xfrm>
        </p:spPr>
        <p:txBody>
          <a:bodyPr>
            <a:noAutofit/>
          </a:bodyPr>
          <a:lstStyle>
            <a:lvl1pPr marL="0" marR="0" indent="0" algn="ctr" defTabSz="342875" rtl="0" eaLnBrk="1" fontAlgn="auto" latinLnBrk="0" hangingPunct="1">
              <a:lnSpc>
                <a:spcPct val="100000"/>
              </a:lnSpc>
              <a:spcBef>
                <a:spcPct val="20000"/>
              </a:spcBef>
              <a:spcAft>
                <a:spcPts val="0"/>
              </a:spcAft>
              <a:buClr>
                <a:srgbClr val="E1061C"/>
              </a:buClr>
              <a:buSzTx/>
              <a:buFontTx/>
              <a:buNone/>
              <a:tabLst/>
              <a:defRPr sz="1000">
                <a:latin typeface="+mn-lt"/>
              </a:defRPr>
            </a:lvl1pPr>
            <a:lvl2pPr marL="342875" indent="0" algn="ctr">
              <a:buFontTx/>
              <a:buNone/>
              <a:defRPr sz="675"/>
            </a:lvl2pPr>
            <a:lvl3pPr marL="685749" indent="0" algn="ctr">
              <a:buFontTx/>
              <a:buNone/>
              <a:defRPr sz="675"/>
            </a:lvl3pPr>
            <a:lvl4pPr marL="1028624" indent="0" algn="ctr">
              <a:buFontTx/>
              <a:buNone/>
              <a:defRPr sz="675"/>
            </a:lvl4pPr>
            <a:lvl5pPr marL="1371498" indent="0" algn="ctr">
              <a:buFontTx/>
              <a:buNone/>
              <a:defRPr sz="675"/>
            </a:lvl5pPr>
          </a:lstStyle>
          <a:p>
            <a:pPr marL="0" marR="0" lvl="0" indent="0" algn="ctr" defTabSz="342875" rtl="0" eaLnBrk="1" fontAlgn="auto" latinLnBrk="0" hangingPunct="1">
              <a:lnSpc>
                <a:spcPct val="100000"/>
              </a:lnSpc>
              <a:spcBef>
                <a:spcPct val="20000"/>
              </a:spcBef>
              <a:spcAft>
                <a:spcPts val="0"/>
              </a:spcAft>
              <a:buClr>
                <a:srgbClr val="E1061C"/>
              </a:buClr>
              <a:buSzTx/>
              <a:buFontTx/>
              <a:buNone/>
              <a:tabLst/>
              <a:defRPr/>
            </a:pPr>
            <a:r>
              <a:rPr lang="en-GB" noProof="0" dirty="0"/>
              <a:t>[Insert legal entity - classification level]</a:t>
            </a:r>
          </a:p>
        </p:txBody>
      </p:sp>
      <p:sp>
        <p:nvSpPr>
          <p:cNvPr id="10" name="Footer"/>
          <p:cNvSpPr>
            <a:spLocks noGrp="1"/>
          </p:cNvSpPr>
          <p:nvPr>
            <p:ph type="body" sz="quarter" idx="17" hasCustomPrompt="1"/>
          </p:nvPr>
        </p:nvSpPr>
        <p:spPr>
          <a:xfrm>
            <a:off x="720000" y="4603750"/>
            <a:ext cx="7704000" cy="360000"/>
          </a:xfrm>
        </p:spPr>
        <p:txBody>
          <a:bodyPr>
            <a:noAutofit/>
          </a:bodyPr>
          <a:lstStyle>
            <a:lvl1pPr marL="0" indent="0">
              <a:buNone/>
              <a:defRPr sz="800">
                <a:latin typeface="+mn-lt"/>
                <a:cs typeface="Arial" panose="020B0604020202020204" pitchFamily="34" charset="0"/>
              </a:defRPr>
            </a:lvl1pPr>
            <a:lvl2pPr marL="342882" indent="0">
              <a:buNone/>
              <a:defRPr sz="700">
                <a:latin typeface="Arial" panose="020B0604020202020204" pitchFamily="34" charset="0"/>
                <a:cs typeface="Arial" panose="020B0604020202020204" pitchFamily="34" charset="0"/>
              </a:defRPr>
            </a:lvl2pPr>
            <a:lvl3pPr marL="685766" indent="0">
              <a:buNone/>
              <a:defRPr sz="700">
                <a:latin typeface="Arial" panose="020B0604020202020204" pitchFamily="34" charset="0"/>
                <a:cs typeface="Arial" panose="020B0604020202020204" pitchFamily="34" charset="0"/>
              </a:defRPr>
            </a:lvl3pPr>
            <a:lvl4pPr marL="1028648" indent="0">
              <a:buNone/>
              <a:defRPr sz="700">
                <a:latin typeface="Arial" panose="020B0604020202020204" pitchFamily="34" charset="0"/>
                <a:cs typeface="Arial" panose="020B0604020202020204" pitchFamily="34" charset="0"/>
              </a:defRPr>
            </a:lvl4pPr>
            <a:lvl5pPr marL="1371532" indent="0">
              <a:buNone/>
              <a:defRPr sz="700">
                <a:latin typeface="Arial" panose="020B0604020202020204" pitchFamily="34" charset="0"/>
                <a:cs typeface="Arial" panose="020B0604020202020204" pitchFamily="34" charset="0"/>
              </a:defRPr>
            </a:lvl5pPr>
          </a:lstStyle>
          <a:p>
            <a:pPr lvl="0"/>
            <a:r>
              <a:rPr lang="en-GB" noProof="0" dirty="0"/>
              <a:t>Insert notes</a:t>
            </a:r>
          </a:p>
        </p:txBody>
      </p:sp>
      <p:sp>
        <p:nvSpPr>
          <p:cNvPr id="4" name="SlideNumber"/>
          <p:cNvSpPr>
            <a:spLocks noGrp="1"/>
          </p:cNvSpPr>
          <p:nvPr>
            <p:ph type="sldNum" sz="quarter" idx="11"/>
          </p:nvPr>
        </p:nvSpPr>
        <p:spPr/>
        <p:txBody>
          <a:bodyPr/>
          <a:lstStyle/>
          <a:p>
            <a:fld id="{9E8169F0-646E-455B-AF5A-6D6C02EAEAF6}" type="slidenum">
              <a:rPr lang="en-GB" noProof="1" dirty="0" smtClean="0"/>
              <a:t>‹#›</a:t>
            </a:fld>
            <a:endParaRPr lang="en-GB" noProof="1"/>
          </a:p>
        </p:txBody>
      </p:sp>
      <p:sp>
        <p:nvSpPr>
          <p:cNvPr id="8" name="ContentColumn2"/>
          <p:cNvSpPr>
            <a:spLocks noGrp="1"/>
          </p:cNvSpPr>
          <p:nvPr>
            <p:ph sz="quarter" idx="16" hasCustomPrompt="1"/>
          </p:nvPr>
        </p:nvSpPr>
        <p:spPr>
          <a:xfrm>
            <a:off x="4777200" y="946800"/>
            <a:ext cx="4176000" cy="3312000"/>
          </a:xfrm>
        </p:spPr>
        <p:txBody>
          <a:bodyPr/>
          <a:lstStyle>
            <a:lvl1pPr marL="132151" marR="0" indent="-132151" algn="l" defTabSz="342875" rtl="0" eaLnBrk="1" fontAlgn="auto" latinLnBrk="0" hangingPunct="1">
              <a:lnSpc>
                <a:spcPct val="100000"/>
              </a:lnSpc>
              <a:spcBef>
                <a:spcPct val="20000"/>
              </a:spcBef>
              <a:spcAft>
                <a:spcPts val="0"/>
              </a:spcAft>
              <a:buClr>
                <a:srgbClr val="E1061C"/>
              </a:buClr>
              <a:buSzTx/>
              <a:buFont typeface="Arial"/>
              <a:buChar char="•"/>
              <a:tabLst/>
              <a:defRPr/>
            </a:lvl1pPr>
            <a:lvl2pPr marL="470261" marR="0" indent="-127388" algn="l" defTabSz="342875" rtl="0" eaLnBrk="1" fontAlgn="auto" latinLnBrk="0" hangingPunct="1">
              <a:lnSpc>
                <a:spcPct val="100000"/>
              </a:lnSpc>
              <a:spcBef>
                <a:spcPct val="20000"/>
              </a:spcBef>
              <a:spcAft>
                <a:spcPts val="0"/>
              </a:spcAft>
              <a:buClr>
                <a:srgbClr val="E1061C"/>
              </a:buClr>
              <a:buSzTx/>
              <a:buFont typeface="Arial"/>
              <a:buChar char="•"/>
              <a:tabLst/>
              <a:defRPr/>
            </a:lvl2pPr>
            <a:lvl3pPr marL="809565" marR="0" indent="-123816" algn="l" defTabSz="342875" rtl="0" eaLnBrk="1" fontAlgn="auto" latinLnBrk="0" hangingPunct="1">
              <a:lnSpc>
                <a:spcPct val="100000"/>
              </a:lnSpc>
              <a:spcBef>
                <a:spcPct val="20000"/>
              </a:spcBef>
              <a:spcAft>
                <a:spcPts val="0"/>
              </a:spcAft>
              <a:buClr>
                <a:srgbClr val="E1061C"/>
              </a:buClr>
              <a:buSzTx/>
              <a:buFont typeface="Arial"/>
              <a:buChar char="•"/>
              <a:tabLst/>
              <a:defRPr/>
            </a:lvl3pPr>
            <a:lvl4pPr marL="1141724" marR="0" indent="-113102" algn="l" defTabSz="342875" rtl="0" eaLnBrk="1" fontAlgn="auto" latinLnBrk="0" hangingPunct="1">
              <a:lnSpc>
                <a:spcPct val="100000"/>
              </a:lnSpc>
              <a:spcBef>
                <a:spcPct val="20000"/>
              </a:spcBef>
              <a:spcAft>
                <a:spcPts val="0"/>
              </a:spcAft>
              <a:buClr>
                <a:srgbClr val="E1061C"/>
              </a:buClr>
              <a:buSzTx/>
              <a:buFont typeface="Arial"/>
              <a:buChar char="•"/>
              <a:tabLst/>
              <a:defRPr/>
            </a:lvl4pPr>
            <a:lvl5pPr marL="1479836" marR="0" indent="-108338" algn="l" defTabSz="342875" rtl="0" eaLnBrk="1" fontAlgn="auto" latinLnBrk="0" hangingPunct="1">
              <a:lnSpc>
                <a:spcPct val="100000"/>
              </a:lnSpc>
              <a:spcBef>
                <a:spcPct val="20000"/>
              </a:spcBef>
              <a:spcAft>
                <a:spcPts val="0"/>
              </a:spcAft>
              <a:buClr>
                <a:srgbClr val="E1061C"/>
              </a:buClr>
              <a:buSzTx/>
              <a:buFont typeface="Arial"/>
              <a:buChar char="•"/>
              <a:tabLst/>
              <a:defRPr/>
            </a:lvl5pPr>
          </a:lstStyle>
          <a:p>
            <a:pPr lvl="0"/>
            <a:r>
              <a:rPr lang="en-GB" noProof="0" dirty="0"/>
              <a:t>Insert text</a:t>
            </a:r>
          </a:p>
          <a:p>
            <a:pPr lvl="1"/>
            <a:r>
              <a:rPr lang="en-GB" noProof="0" dirty="0"/>
              <a:t>2° level</a:t>
            </a:r>
          </a:p>
          <a:p>
            <a:pPr lvl="2"/>
            <a:r>
              <a:rPr lang="en-GB" noProof="0" dirty="0"/>
              <a:t>3° level</a:t>
            </a:r>
          </a:p>
          <a:p>
            <a:pPr lvl="3"/>
            <a:r>
              <a:rPr lang="en-GB" noProof="0" dirty="0"/>
              <a:t>4° level</a:t>
            </a:r>
          </a:p>
          <a:p>
            <a:pPr lvl="4"/>
            <a:r>
              <a:rPr lang="en-GB" noProof="0" dirty="0"/>
              <a:t>5° level</a:t>
            </a:r>
          </a:p>
        </p:txBody>
      </p:sp>
      <p:sp>
        <p:nvSpPr>
          <p:cNvPr id="5" name="ContentColumn1"/>
          <p:cNvSpPr>
            <a:spLocks noGrp="1"/>
          </p:cNvSpPr>
          <p:nvPr>
            <p:ph sz="quarter" idx="15" hasCustomPrompt="1"/>
          </p:nvPr>
        </p:nvSpPr>
        <p:spPr>
          <a:xfrm>
            <a:off x="269875" y="946800"/>
            <a:ext cx="4176000" cy="3312000"/>
          </a:xfrm>
        </p:spPr>
        <p:txBody>
          <a:bodyPr/>
          <a:lstStyle>
            <a:lvl1pPr marL="132151" marR="0" indent="-132151" algn="l" defTabSz="342875" rtl="0" eaLnBrk="1" fontAlgn="auto" latinLnBrk="0" hangingPunct="1">
              <a:lnSpc>
                <a:spcPct val="100000"/>
              </a:lnSpc>
              <a:spcBef>
                <a:spcPct val="20000"/>
              </a:spcBef>
              <a:spcAft>
                <a:spcPts val="0"/>
              </a:spcAft>
              <a:buClr>
                <a:srgbClr val="E1061C"/>
              </a:buClr>
              <a:buSzTx/>
              <a:buFont typeface="Arial"/>
              <a:buChar char="•"/>
              <a:tabLst/>
              <a:defRPr/>
            </a:lvl1pPr>
            <a:lvl2pPr marL="470261" marR="0" indent="-127388" algn="l" defTabSz="342875" rtl="0" eaLnBrk="1" fontAlgn="auto" latinLnBrk="0" hangingPunct="1">
              <a:lnSpc>
                <a:spcPct val="100000"/>
              </a:lnSpc>
              <a:spcBef>
                <a:spcPct val="20000"/>
              </a:spcBef>
              <a:spcAft>
                <a:spcPts val="0"/>
              </a:spcAft>
              <a:buClr>
                <a:srgbClr val="E1061C"/>
              </a:buClr>
              <a:buSzTx/>
              <a:buFont typeface="Arial"/>
              <a:buChar char="•"/>
              <a:tabLst/>
              <a:defRPr/>
            </a:lvl2pPr>
            <a:lvl3pPr marL="809565" marR="0" indent="-123816" algn="l" defTabSz="342875" rtl="0" eaLnBrk="1" fontAlgn="auto" latinLnBrk="0" hangingPunct="1">
              <a:lnSpc>
                <a:spcPct val="100000"/>
              </a:lnSpc>
              <a:spcBef>
                <a:spcPct val="20000"/>
              </a:spcBef>
              <a:spcAft>
                <a:spcPts val="0"/>
              </a:spcAft>
              <a:buClr>
                <a:srgbClr val="E1061C"/>
              </a:buClr>
              <a:buSzTx/>
              <a:buFont typeface="Arial"/>
              <a:buChar char="•"/>
              <a:tabLst/>
              <a:defRPr/>
            </a:lvl3pPr>
            <a:lvl4pPr marL="1141724" marR="0" indent="-113102" algn="l" defTabSz="342875" rtl="0" eaLnBrk="1" fontAlgn="auto" latinLnBrk="0" hangingPunct="1">
              <a:lnSpc>
                <a:spcPct val="100000"/>
              </a:lnSpc>
              <a:spcBef>
                <a:spcPct val="20000"/>
              </a:spcBef>
              <a:spcAft>
                <a:spcPts val="0"/>
              </a:spcAft>
              <a:buClr>
                <a:srgbClr val="E1061C"/>
              </a:buClr>
              <a:buSzTx/>
              <a:buFont typeface="Arial"/>
              <a:buChar char="•"/>
              <a:tabLst/>
              <a:defRPr/>
            </a:lvl4pPr>
            <a:lvl5pPr marL="1479836" marR="0" indent="-108338" algn="l" defTabSz="342875" rtl="0" eaLnBrk="1" fontAlgn="auto" latinLnBrk="0" hangingPunct="1">
              <a:lnSpc>
                <a:spcPct val="100000"/>
              </a:lnSpc>
              <a:spcBef>
                <a:spcPct val="20000"/>
              </a:spcBef>
              <a:spcAft>
                <a:spcPts val="0"/>
              </a:spcAft>
              <a:buClr>
                <a:srgbClr val="E1061C"/>
              </a:buClr>
              <a:buSzTx/>
              <a:buFont typeface="Arial"/>
              <a:buChar char="•"/>
              <a:tabLst/>
              <a:defRPr/>
            </a:lvl5pPr>
          </a:lstStyle>
          <a:p>
            <a:pPr lvl="0"/>
            <a:r>
              <a:rPr lang="en-GB" noProof="0" dirty="0"/>
              <a:t>Insert text</a:t>
            </a:r>
          </a:p>
          <a:p>
            <a:pPr lvl="1"/>
            <a:r>
              <a:rPr lang="en-GB" noProof="0" dirty="0"/>
              <a:t>2° level</a:t>
            </a:r>
          </a:p>
          <a:p>
            <a:pPr lvl="2"/>
            <a:r>
              <a:rPr lang="en-GB" noProof="0" dirty="0"/>
              <a:t>3° level</a:t>
            </a:r>
          </a:p>
          <a:p>
            <a:pPr lvl="3"/>
            <a:r>
              <a:rPr lang="en-GB" noProof="0" dirty="0"/>
              <a:t>4° level</a:t>
            </a:r>
          </a:p>
          <a:p>
            <a:pPr lvl="4"/>
            <a:r>
              <a:rPr lang="en-GB" noProof="0" dirty="0"/>
              <a:t>5° level</a:t>
            </a:r>
          </a:p>
        </p:txBody>
      </p:sp>
      <p:sp>
        <p:nvSpPr>
          <p:cNvPr id="2" name="Title"/>
          <p:cNvSpPr>
            <a:spLocks noGrp="1"/>
          </p:cNvSpPr>
          <p:nvPr>
            <p:ph type="title" hasCustomPrompt="1"/>
          </p:nvPr>
        </p:nvSpPr>
        <p:spPr/>
        <p:txBody>
          <a:bodyPr vert="horz" lIns="0" tIns="0" rIns="0" bIns="0" rtlCol="0" anchor="ctr">
            <a:noAutofit/>
          </a:bodyPr>
          <a:lstStyle>
            <a:lvl1pPr>
              <a:defRPr lang="en-GB" noProof="0" dirty="0"/>
            </a:lvl1pPr>
          </a:lstStyle>
          <a:p>
            <a:pPr lvl="0">
              <a:lnSpc>
                <a:spcPts val="2400"/>
              </a:lnSpc>
            </a:pPr>
            <a:r>
              <a:rPr lang="en-GB" noProof="0" dirty="0"/>
              <a:t>Insert title</a:t>
            </a:r>
          </a:p>
        </p:txBody>
      </p:sp>
    </p:spTree>
    <p:extLst>
      <p:ext uri="{BB962C8B-B14F-4D97-AF65-F5344CB8AC3E}">
        <p14:creationId xmlns:p14="http://schemas.microsoft.com/office/powerpoint/2010/main" val="225791213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7" name="LegalEntity"/>
          <p:cNvSpPr>
            <a:spLocks noGrp="1"/>
          </p:cNvSpPr>
          <p:nvPr>
            <p:ph type="body" sz="quarter" idx="12" hasCustomPrompt="1"/>
          </p:nvPr>
        </p:nvSpPr>
        <p:spPr>
          <a:xfrm>
            <a:off x="3312000" y="4964400"/>
            <a:ext cx="2520000" cy="144000"/>
          </a:xfrm>
        </p:spPr>
        <p:txBody>
          <a:bodyPr>
            <a:noAutofit/>
          </a:bodyPr>
          <a:lstStyle>
            <a:lvl1pPr marL="0" marR="0" indent="0" algn="ctr" defTabSz="342875" rtl="0" eaLnBrk="1" fontAlgn="auto" latinLnBrk="0" hangingPunct="1">
              <a:lnSpc>
                <a:spcPct val="100000"/>
              </a:lnSpc>
              <a:spcBef>
                <a:spcPct val="20000"/>
              </a:spcBef>
              <a:spcAft>
                <a:spcPts val="0"/>
              </a:spcAft>
              <a:buClr>
                <a:srgbClr val="E1061C"/>
              </a:buClr>
              <a:buSzTx/>
              <a:buFontTx/>
              <a:buNone/>
              <a:tabLst/>
              <a:defRPr sz="1000">
                <a:latin typeface="+mn-lt"/>
              </a:defRPr>
            </a:lvl1pPr>
            <a:lvl2pPr marL="342875" indent="0" algn="ctr">
              <a:buFontTx/>
              <a:buNone/>
              <a:defRPr sz="675"/>
            </a:lvl2pPr>
            <a:lvl3pPr marL="685749" indent="0" algn="ctr">
              <a:buFontTx/>
              <a:buNone/>
              <a:defRPr sz="675"/>
            </a:lvl3pPr>
            <a:lvl4pPr marL="1028624" indent="0" algn="ctr">
              <a:buFontTx/>
              <a:buNone/>
              <a:defRPr sz="675"/>
            </a:lvl4pPr>
            <a:lvl5pPr marL="1371498" indent="0" algn="ctr">
              <a:buFontTx/>
              <a:buNone/>
              <a:defRPr sz="675"/>
            </a:lvl5pPr>
          </a:lstStyle>
          <a:p>
            <a:pPr marL="0" marR="0" lvl="0" indent="0" algn="ctr" defTabSz="342875" rtl="0" eaLnBrk="1" fontAlgn="auto" latinLnBrk="0" hangingPunct="1">
              <a:lnSpc>
                <a:spcPct val="100000"/>
              </a:lnSpc>
              <a:spcBef>
                <a:spcPct val="20000"/>
              </a:spcBef>
              <a:spcAft>
                <a:spcPts val="0"/>
              </a:spcAft>
              <a:buClr>
                <a:srgbClr val="E1061C"/>
              </a:buClr>
              <a:buSzTx/>
              <a:buFontTx/>
              <a:buNone/>
              <a:tabLst/>
              <a:defRPr/>
            </a:pPr>
            <a:r>
              <a:rPr lang="en-GB" noProof="0" dirty="0"/>
              <a:t>[Insert legal entity - classification level]</a:t>
            </a:r>
          </a:p>
        </p:txBody>
      </p:sp>
      <p:sp>
        <p:nvSpPr>
          <p:cNvPr id="8" name="Footer"/>
          <p:cNvSpPr>
            <a:spLocks noGrp="1"/>
          </p:cNvSpPr>
          <p:nvPr>
            <p:ph type="body" sz="quarter" idx="16" hasCustomPrompt="1"/>
          </p:nvPr>
        </p:nvSpPr>
        <p:spPr>
          <a:xfrm>
            <a:off x="720000" y="4603750"/>
            <a:ext cx="7704000" cy="360000"/>
          </a:xfrm>
        </p:spPr>
        <p:txBody>
          <a:bodyPr>
            <a:noAutofit/>
          </a:bodyPr>
          <a:lstStyle>
            <a:lvl1pPr marL="0" indent="0">
              <a:buNone/>
              <a:defRPr sz="800">
                <a:latin typeface="+mn-lt"/>
                <a:cs typeface="Arial" panose="020B0604020202020204" pitchFamily="34" charset="0"/>
              </a:defRPr>
            </a:lvl1pPr>
            <a:lvl2pPr marL="342882" indent="0">
              <a:buNone/>
              <a:defRPr sz="700">
                <a:latin typeface="Arial" panose="020B0604020202020204" pitchFamily="34" charset="0"/>
                <a:cs typeface="Arial" panose="020B0604020202020204" pitchFamily="34" charset="0"/>
              </a:defRPr>
            </a:lvl2pPr>
            <a:lvl3pPr marL="685766" indent="0">
              <a:buNone/>
              <a:defRPr sz="700">
                <a:latin typeface="Arial" panose="020B0604020202020204" pitchFamily="34" charset="0"/>
                <a:cs typeface="Arial" panose="020B0604020202020204" pitchFamily="34" charset="0"/>
              </a:defRPr>
            </a:lvl3pPr>
            <a:lvl4pPr marL="1028648" indent="0">
              <a:buNone/>
              <a:defRPr sz="700">
                <a:latin typeface="Arial" panose="020B0604020202020204" pitchFamily="34" charset="0"/>
                <a:cs typeface="Arial" panose="020B0604020202020204" pitchFamily="34" charset="0"/>
              </a:defRPr>
            </a:lvl4pPr>
            <a:lvl5pPr marL="1371532" indent="0">
              <a:buNone/>
              <a:defRPr sz="700">
                <a:latin typeface="Arial" panose="020B0604020202020204" pitchFamily="34" charset="0"/>
                <a:cs typeface="Arial" panose="020B0604020202020204" pitchFamily="34" charset="0"/>
              </a:defRPr>
            </a:lvl5pPr>
          </a:lstStyle>
          <a:p>
            <a:pPr lvl="0"/>
            <a:r>
              <a:rPr lang="en-GB" noProof="0" dirty="0"/>
              <a:t>Insert notes</a:t>
            </a:r>
          </a:p>
        </p:txBody>
      </p:sp>
      <p:sp>
        <p:nvSpPr>
          <p:cNvPr id="4" name="SlideNumber"/>
          <p:cNvSpPr>
            <a:spLocks noGrp="1"/>
          </p:cNvSpPr>
          <p:nvPr>
            <p:ph type="sldNum" sz="quarter" idx="11"/>
          </p:nvPr>
        </p:nvSpPr>
        <p:spPr/>
        <p:txBody>
          <a:bodyPr/>
          <a:lstStyle/>
          <a:p>
            <a:fld id="{9E8169F0-646E-455B-AF5A-6D6C02EAEAF6}" type="slidenum">
              <a:rPr lang="en-GB" noProof="1" dirty="0" smtClean="0"/>
              <a:t>‹#›</a:t>
            </a:fld>
            <a:endParaRPr lang="en-GB" noProof="1"/>
          </a:p>
        </p:txBody>
      </p:sp>
      <p:sp>
        <p:nvSpPr>
          <p:cNvPr id="5" name="Text"/>
          <p:cNvSpPr>
            <a:spLocks noGrp="1"/>
          </p:cNvSpPr>
          <p:nvPr>
            <p:ph type="body" sz="quarter" idx="15" hasCustomPrompt="1"/>
          </p:nvPr>
        </p:nvSpPr>
        <p:spPr>
          <a:xfrm>
            <a:off x="270000" y="946800"/>
            <a:ext cx="8683200" cy="3312000"/>
          </a:xfrm>
        </p:spPr>
        <p:txBody>
          <a:bodyPr anchor="ctr">
            <a:noAutofit/>
          </a:bodyPr>
          <a:lstStyle>
            <a:lvl1pPr marL="266393" indent="-266393">
              <a:spcBef>
                <a:spcPts val="432"/>
              </a:spcBef>
              <a:defRPr sz="1800"/>
            </a:lvl1pPr>
            <a:lvl2pPr>
              <a:spcBef>
                <a:spcPts val="432"/>
              </a:spcBef>
              <a:defRPr sz="1800"/>
            </a:lvl2pPr>
            <a:lvl3pPr>
              <a:spcBef>
                <a:spcPts val="432"/>
              </a:spcBef>
              <a:defRPr sz="1800"/>
            </a:lvl3pPr>
            <a:lvl4pPr>
              <a:spcBef>
                <a:spcPts val="432"/>
              </a:spcBef>
              <a:defRPr sz="1800"/>
            </a:lvl4pPr>
            <a:lvl5pPr>
              <a:spcBef>
                <a:spcPts val="432"/>
              </a:spcBef>
              <a:defRPr sz="1800"/>
            </a:lvl5pPr>
          </a:lstStyle>
          <a:p>
            <a:pPr lvl="0"/>
            <a:r>
              <a:rPr lang="en-GB" noProof="0" dirty="0"/>
              <a:t>Insert text</a:t>
            </a:r>
          </a:p>
          <a:p>
            <a:pPr lvl="1"/>
            <a:r>
              <a:rPr lang="en-GB" noProof="0" dirty="0"/>
              <a:t>2° level</a:t>
            </a:r>
          </a:p>
          <a:p>
            <a:pPr lvl="2"/>
            <a:r>
              <a:rPr lang="en-GB" noProof="0" dirty="0"/>
              <a:t>3° level</a:t>
            </a:r>
          </a:p>
          <a:p>
            <a:pPr lvl="3"/>
            <a:r>
              <a:rPr lang="en-GB" noProof="0" dirty="0"/>
              <a:t>4° level</a:t>
            </a:r>
          </a:p>
          <a:p>
            <a:pPr lvl="4"/>
            <a:r>
              <a:rPr lang="en-GB" noProof="0" dirty="0"/>
              <a:t>5° level</a:t>
            </a:r>
          </a:p>
        </p:txBody>
      </p:sp>
      <p:sp>
        <p:nvSpPr>
          <p:cNvPr id="2" name="Title"/>
          <p:cNvSpPr>
            <a:spLocks noGrp="1"/>
          </p:cNvSpPr>
          <p:nvPr>
            <p:ph type="title" hasCustomPrompt="1"/>
          </p:nvPr>
        </p:nvSpPr>
        <p:spPr>
          <a:xfrm>
            <a:off x="270000" y="0"/>
            <a:ext cx="8679600" cy="702000"/>
          </a:xfrm>
        </p:spPr>
        <p:txBody>
          <a:bodyPr vert="horz" lIns="0" tIns="0" rIns="0" bIns="0" rtlCol="0" anchor="ctr">
            <a:noAutofit/>
          </a:bodyPr>
          <a:lstStyle>
            <a:lvl1pPr>
              <a:defRPr lang="en-GB" noProof="0" dirty="0"/>
            </a:lvl1pPr>
          </a:lstStyle>
          <a:p>
            <a:pPr lvl="0">
              <a:lnSpc>
                <a:spcPts val="2400"/>
              </a:lnSpc>
            </a:pPr>
            <a:r>
              <a:rPr lang="en-GB" noProof="0" dirty="0"/>
              <a:t>Insert agenda</a:t>
            </a:r>
          </a:p>
        </p:txBody>
      </p:sp>
    </p:spTree>
    <p:extLst>
      <p:ext uri="{BB962C8B-B14F-4D97-AF65-F5344CB8AC3E}">
        <p14:creationId xmlns:p14="http://schemas.microsoft.com/office/powerpoint/2010/main" val="308656198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page - Text - One Bank">
    <p:spTree>
      <p:nvGrpSpPr>
        <p:cNvPr id="1" name=""/>
        <p:cNvGrpSpPr/>
        <p:nvPr/>
      </p:nvGrpSpPr>
      <p:grpSpPr>
        <a:xfrm>
          <a:off x="0" y="0"/>
          <a:ext cx="0" cy="0"/>
          <a:chOff x="0" y="0"/>
          <a:chExt cx="0" cy="0"/>
        </a:xfrm>
      </p:grpSpPr>
      <p:sp>
        <p:nvSpPr>
          <p:cNvPr id="5" name="BlueGradient"/>
          <p:cNvSpPr/>
          <p:nvPr/>
        </p:nvSpPr>
        <p:spPr bwMode="gray">
          <a:xfrm>
            <a:off x="0" y="2876400"/>
            <a:ext cx="9144000" cy="2268000"/>
          </a:xfrm>
          <a:prstGeom prst="rect">
            <a:avLst/>
          </a:prstGeom>
          <a:gradFill flip="none" rotWithShape="1">
            <a:gsLst>
              <a:gs pos="11000">
                <a:schemeClr val="bg1">
                  <a:alpha val="78000"/>
                </a:schemeClr>
              </a:gs>
              <a:gs pos="100000">
                <a:srgbClr val="2EAEDA">
                  <a:alpha val="78000"/>
                </a:srgbClr>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 noProof="1">
              <a:noFill/>
              <a:latin typeface="UniCredit" panose="02000506040000020004" pitchFamily="2" charset="0"/>
              <a:cs typeface="Arial" panose="020B0604020202020204" pitchFamily="34" charset="0"/>
            </a:endParaRPr>
          </a:p>
        </p:txBody>
      </p:sp>
      <p:sp>
        <p:nvSpPr>
          <p:cNvPr id="4" name="LegalEntity"/>
          <p:cNvSpPr>
            <a:spLocks noGrp="1"/>
          </p:cNvSpPr>
          <p:nvPr>
            <p:ph type="body" sz="quarter" idx="13" hasCustomPrompt="1"/>
          </p:nvPr>
        </p:nvSpPr>
        <p:spPr>
          <a:xfrm>
            <a:off x="5943600" y="3128400"/>
            <a:ext cx="2880000" cy="208800"/>
          </a:xfrm>
          <a:prstGeom prst="rect">
            <a:avLst/>
          </a:prstGeom>
        </p:spPr>
        <p:txBody>
          <a:bodyPr lIns="0" tIns="0" rIns="0" bIns="0">
            <a:noAutofit/>
          </a:bodyPr>
          <a:lstStyle>
            <a:lvl1pPr marL="0" indent="0" algn="r">
              <a:buFontTx/>
              <a:buNone/>
              <a:defRPr sz="1200"/>
            </a:lvl1pPr>
            <a:lvl2pPr marL="356373" indent="0" algn="r">
              <a:buFontTx/>
              <a:buNone/>
              <a:defRPr sz="900"/>
            </a:lvl2pPr>
            <a:lvl3pPr algn="r">
              <a:buFontTx/>
              <a:buNone/>
              <a:defRPr sz="900"/>
            </a:lvl3pPr>
            <a:lvl4pPr marL="1069119" indent="0" algn="r">
              <a:buFontTx/>
              <a:buNone/>
              <a:defRPr sz="900"/>
            </a:lvl4pPr>
            <a:lvl5pPr marL="1501088" indent="0" algn="r">
              <a:buFontTx/>
              <a:buNone/>
              <a:defRPr sz="900"/>
            </a:lvl5pPr>
          </a:lstStyle>
          <a:p>
            <a:pPr lvl="0"/>
            <a:r>
              <a:rPr lang="en-GB" noProof="0" dirty="0"/>
              <a:t>[Insert legal entity - classification level]</a:t>
            </a:r>
          </a:p>
        </p:txBody>
      </p:sp>
      <p:sp>
        <p:nvSpPr>
          <p:cNvPr id="10" name="CityDate"/>
          <p:cNvSpPr>
            <a:spLocks noGrp="1"/>
          </p:cNvSpPr>
          <p:nvPr>
            <p:ph type="body" sz="quarter" idx="18" hasCustomPrompt="1"/>
          </p:nvPr>
        </p:nvSpPr>
        <p:spPr>
          <a:xfrm>
            <a:off x="540000" y="3398400"/>
            <a:ext cx="5040000" cy="208800"/>
          </a:xfrm>
        </p:spPr>
        <p:txBody>
          <a:bodyPr anchor="b">
            <a:normAutofit/>
          </a:bodyPr>
          <a:lstStyle>
            <a:lvl1pPr marL="0" indent="0" fontAlgn="auto">
              <a:spcBef>
                <a:spcPts val="0"/>
              </a:spcBef>
              <a:spcAft>
                <a:spcPts val="0"/>
              </a:spcAft>
              <a:buNone/>
              <a:defRPr sz="1200" b="1">
                <a:latin typeface="+mn-lt"/>
              </a:defRPr>
            </a:lvl1pPr>
          </a:lstStyle>
          <a:p>
            <a:pPr fontAlgn="auto">
              <a:spcBef>
                <a:spcPts val="0"/>
              </a:spcBef>
              <a:spcAft>
                <a:spcPts val="0"/>
              </a:spcAft>
            </a:pPr>
            <a:r>
              <a:rPr lang="en-GB" noProof="0" dirty="0"/>
              <a:t>Insert city and date</a:t>
            </a:r>
          </a:p>
        </p:txBody>
      </p:sp>
      <p:sp>
        <p:nvSpPr>
          <p:cNvPr id="9" name="NameFunction"/>
          <p:cNvSpPr>
            <a:spLocks noGrp="1"/>
          </p:cNvSpPr>
          <p:nvPr>
            <p:ph type="body" sz="quarter" idx="17" hasCustomPrompt="1"/>
          </p:nvPr>
        </p:nvSpPr>
        <p:spPr>
          <a:xfrm>
            <a:off x="539750" y="3103200"/>
            <a:ext cx="5040000" cy="208800"/>
          </a:xfrm>
        </p:spPr>
        <p:txBody>
          <a:bodyPr>
            <a:noAutofit/>
          </a:bodyPr>
          <a:lstStyle>
            <a:lvl1pPr marL="0" indent="0">
              <a:spcBef>
                <a:spcPts val="0"/>
              </a:spcBef>
              <a:buNone/>
              <a:defRPr sz="1400" b="1">
                <a:latin typeface="+mn-lt"/>
              </a:defRPr>
            </a:lvl1pPr>
            <a:lvl2pPr marL="457188" indent="0">
              <a:buNone/>
              <a:defRPr sz="1200" b="1">
                <a:latin typeface="UniCredit" panose="02000506040000020004" pitchFamily="2" charset="0"/>
              </a:defRPr>
            </a:lvl2pPr>
            <a:lvl3pPr marL="914377" indent="0">
              <a:buNone/>
              <a:defRPr sz="1200" b="1">
                <a:latin typeface="UniCredit" panose="02000506040000020004" pitchFamily="2" charset="0"/>
              </a:defRPr>
            </a:lvl3pPr>
            <a:lvl4pPr marL="1371566" indent="0">
              <a:buNone/>
              <a:defRPr sz="1200" b="1">
                <a:latin typeface="UniCredit" panose="02000506040000020004" pitchFamily="2" charset="0"/>
              </a:defRPr>
            </a:lvl4pPr>
            <a:lvl5pPr marL="1828755" indent="0">
              <a:buNone/>
              <a:defRPr sz="1200" b="1">
                <a:latin typeface="UniCredit" panose="02000506040000020004" pitchFamily="2" charset="0"/>
              </a:defRPr>
            </a:lvl5pPr>
          </a:lstStyle>
          <a:p>
            <a:pPr>
              <a:defRPr/>
            </a:pPr>
            <a:r>
              <a:rPr lang="en-GB" noProof="0" dirty="0"/>
              <a:t>Insert name and function</a:t>
            </a:r>
          </a:p>
        </p:txBody>
      </p:sp>
      <p:sp>
        <p:nvSpPr>
          <p:cNvPr id="24" name="Subtitle"/>
          <p:cNvSpPr>
            <a:spLocks noGrp="1"/>
          </p:cNvSpPr>
          <p:nvPr>
            <p:ph type="body" sz="quarter" idx="12" hasCustomPrompt="1"/>
          </p:nvPr>
        </p:nvSpPr>
        <p:spPr>
          <a:xfrm>
            <a:off x="539749" y="2116800"/>
            <a:ext cx="8287200" cy="626400"/>
          </a:xfrm>
          <a:prstGeom prst="rect">
            <a:avLst/>
          </a:prstGeom>
        </p:spPr>
        <p:txBody>
          <a:bodyPr lIns="0" tIns="0" rIns="0" bIns="0" anchor="b" anchorCtr="0">
            <a:normAutofit/>
          </a:bodyPr>
          <a:lstStyle>
            <a:lvl1pPr marL="0" indent="0">
              <a:lnSpc>
                <a:spcPts val="2600"/>
              </a:lnSpc>
              <a:spcBef>
                <a:spcPts val="0"/>
              </a:spcBef>
              <a:buNone/>
              <a:defRPr sz="2600"/>
            </a:lvl1pPr>
          </a:lstStyle>
          <a:p>
            <a:pPr lvl="0"/>
            <a:r>
              <a:rPr lang="en-GB" noProof="0" dirty="0"/>
              <a:t>Insert subtitle</a:t>
            </a:r>
          </a:p>
        </p:txBody>
      </p:sp>
      <p:sp>
        <p:nvSpPr>
          <p:cNvPr id="21" name="Title"/>
          <p:cNvSpPr>
            <a:spLocks noGrp="1"/>
          </p:cNvSpPr>
          <p:nvPr>
            <p:ph type="title" hasCustomPrompt="1"/>
          </p:nvPr>
        </p:nvSpPr>
        <p:spPr>
          <a:xfrm>
            <a:off x="540000" y="669600"/>
            <a:ext cx="5760000" cy="13680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nSpc>
                <a:spcPts val="3400"/>
              </a:lnSpc>
              <a:defRPr lang="en-GB" sz="3600" noProof="0" dirty="0">
                <a:latin typeface="+mj-lt"/>
                <a:cs typeface="Arial" panose="020B0604020202020204" pitchFamily="34" charset="0"/>
              </a:defRPr>
            </a:lvl1pPr>
          </a:lstStyle>
          <a:p>
            <a:pPr lvl="0" defTabSz="725037"/>
            <a:r>
              <a:rPr lang="en-GB" noProof="0" dirty="0"/>
              <a:t>Insert title</a:t>
            </a:r>
          </a:p>
        </p:txBody>
      </p:sp>
      <p:sp>
        <p:nvSpPr>
          <p:cNvPr id="3" name="CompositeLogo"/>
          <p:cNvSpPr>
            <a:spLocks noGrp="1" noChangeAspect="1"/>
          </p:cNvSpPr>
          <p:nvPr>
            <p:ph type="body" sz="quarter" idx="16"/>
          </p:nvPr>
        </p:nvSpPr>
        <p:spPr bwMode="gray">
          <a:xfrm>
            <a:off x="6584400" y="324000"/>
            <a:ext cx="2235600" cy="1164827"/>
          </a:xfrm>
          <a:blipFill>
            <a:blip r:embed="rId2"/>
            <a:stretch>
              <a:fillRect/>
            </a:stretch>
          </a:blipFill>
        </p:spPr>
        <p:txBody>
          <a:bodyPr>
            <a:normAutofit/>
          </a:bodyPr>
          <a:lstStyle>
            <a:lvl1pPr marL="0" indent="0">
              <a:buNone/>
              <a:defRPr sz="100">
                <a:noFill/>
                <a:latin typeface="UniCredit" panose="02000506040000020004" pitchFamily="2" charset="0"/>
              </a:defRPr>
            </a:lvl1pPr>
          </a:lstStyle>
          <a:p>
            <a:pPr lvl="0"/>
            <a:r>
              <a:rPr lang="en-US" noProof="1"/>
              <a:t>Click to edit Master text styles</a:t>
            </a:r>
          </a:p>
        </p:txBody>
      </p:sp>
      <p:pic>
        <p:nvPicPr>
          <p:cNvPr id="6" name="Logo">
            <a:extLst>
              <a:ext uri="{FF2B5EF4-FFF2-40B4-BE49-F238E27FC236}">
                <a16:creationId xmlns:a16="http://schemas.microsoft.com/office/drawing/2014/main" id="{2D835DE5-411B-4A93-954F-19286A7EF36D}"/>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90974" y="4414901"/>
            <a:ext cx="4383033" cy="402337"/>
          </a:xfrm>
          <a:prstGeom prst="rect">
            <a:avLst/>
          </a:prstGeom>
        </p:spPr>
      </p:pic>
    </p:spTree>
    <p:extLst>
      <p:ext uri="{BB962C8B-B14F-4D97-AF65-F5344CB8AC3E}">
        <p14:creationId xmlns:p14="http://schemas.microsoft.com/office/powerpoint/2010/main" val="81089047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page - Picture - Standard">
    <p:spTree>
      <p:nvGrpSpPr>
        <p:cNvPr id="1" name=""/>
        <p:cNvGrpSpPr/>
        <p:nvPr/>
      </p:nvGrpSpPr>
      <p:grpSpPr>
        <a:xfrm>
          <a:off x="0" y="0"/>
          <a:ext cx="0" cy="0"/>
          <a:chOff x="0" y="0"/>
          <a:chExt cx="0" cy="0"/>
        </a:xfrm>
      </p:grpSpPr>
      <p:sp>
        <p:nvSpPr>
          <p:cNvPr id="16" name="BlueGradient"/>
          <p:cNvSpPr/>
          <p:nvPr/>
        </p:nvSpPr>
        <p:spPr bwMode="gray">
          <a:xfrm>
            <a:off x="0" y="2876400"/>
            <a:ext cx="9144000" cy="2268000"/>
          </a:xfrm>
          <a:prstGeom prst="rect">
            <a:avLst/>
          </a:prstGeom>
          <a:gradFill flip="none" rotWithShape="1">
            <a:gsLst>
              <a:gs pos="11000">
                <a:schemeClr val="bg1">
                  <a:alpha val="78000"/>
                </a:schemeClr>
              </a:gs>
              <a:gs pos="100000">
                <a:srgbClr val="2EAEDA">
                  <a:alpha val="78000"/>
                </a:srgbClr>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 noProof="1">
              <a:noFill/>
              <a:latin typeface="UniCredit" panose="02000506040000020004" pitchFamily="2" charset="0"/>
              <a:cs typeface="Arial" panose="020B0604020202020204" pitchFamily="34" charset="0"/>
            </a:endParaRPr>
          </a:p>
        </p:txBody>
      </p:sp>
      <p:sp>
        <p:nvSpPr>
          <p:cNvPr id="8" name="TitlePicture"/>
          <p:cNvSpPr>
            <a:spLocks noGrp="1"/>
          </p:cNvSpPr>
          <p:nvPr>
            <p:ph type="pic" sz="quarter" idx="13" hasCustomPrompt="1"/>
          </p:nvPr>
        </p:nvSpPr>
        <p:spPr>
          <a:xfrm>
            <a:off x="0" y="0"/>
            <a:ext cx="9144000" cy="2876400"/>
          </a:xfrm>
          <a:prstGeom prst="rect">
            <a:avLst/>
          </a:prstGeom>
        </p:spPr>
        <p:txBody>
          <a:bodyPr lIns="0" tIns="0" rIns="0" bIns="0" anchor="ctr" anchorCtr="1">
            <a:normAutofit/>
          </a:bodyPr>
          <a:lstStyle>
            <a:lvl1pPr marL="0" indent="0">
              <a:buNone/>
              <a:defRPr sz="100">
                <a:noFill/>
                <a:latin typeface="UniCredit" panose="02000506040000020004" pitchFamily="2" charset="0"/>
              </a:defRPr>
            </a:lvl1pPr>
          </a:lstStyle>
          <a:p>
            <a:r>
              <a:rPr lang="en-GB" noProof="1"/>
              <a:t>Insert picture</a:t>
            </a:r>
          </a:p>
        </p:txBody>
      </p:sp>
      <p:sp>
        <p:nvSpPr>
          <p:cNvPr id="13" name="LegalEntity"/>
          <p:cNvSpPr>
            <a:spLocks noGrp="1"/>
          </p:cNvSpPr>
          <p:nvPr>
            <p:ph type="body" sz="quarter" idx="14" hasCustomPrompt="1"/>
          </p:nvPr>
        </p:nvSpPr>
        <p:spPr>
          <a:xfrm>
            <a:off x="5943600" y="3128400"/>
            <a:ext cx="2880000" cy="208800"/>
          </a:xfrm>
          <a:prstGeom prst="rect">
            <a:avLst/>
          </a:prstGeom>
        </p:spPr>
        <p:txBody>
          <a:bodyPr lIns="0" tIns="0" rIns="0" bIns="0">
            <a:noAutofit/>
          </a:bodyPr>
          <a:lstStyle>
            <a:lvl1pPr marL="0" indent="0" algn="r">
              <a:buFontTx/>
              <a:buNone/>
              <a:defRPr sz="1200">
                <a:latin typeface="+mn-lt"/>
              </a:defRPr>
            </a:lvl1pPr>
            <a:lvl2pPr marL="356373" indent="0" algn="r">
              <a:buFontTx/>
              <a:buNone/>
              <a:defRPr sz="900"/>
            </a:lvl2pPr>
            <a:lvl3pPr algn="r">
              <a:buFontTx/>
              <a:buNone/>
              <a:defRPr sz="900"/>
            </a:lvl3pPr>
            <a:lvl4pPr marL="1069119" indent="0" algn="r">
              <a:buFontTx/>
              <a:buNone/>
              <a:defRPr sz="900"/>
            </a:lvl4pPr>
            <a:lvl5pPr marL="1501088" indent="0" algn="r">
              <a:buFontTx/>
              <a:buNone/>
              <a:defRPr sz="900"/>
            </a:lvl5pPr>
          </a:lstStyle>
          <a:p>
            <a:pPr lvl="0"/>
            <a:r>
              <a:rPr lang="en-GB" noProof="0" dirty="0"/>
              <a:t>[Insert legal entity - classification level]</a:t>
            </a:r>
          </a:p>
        </p:txBody>
      </p:sp>
      <p:sp>
        <p:nvSpPr>
          <p:cNvPr id="10" name="CityDate"/>
          <p:cNvSpPr>
            <a:spLocks noGrp="1"/>
          </p:cNvSpPr>
          <p:nvPr>
            <p:ph type="body" sz="quarter" idx="18" hasCustomPrompt="1"/>
          </p:nvPr>
        </p:nvSpPr>
        <p:spPr>
          <a:xfrm>
            <a:off x="540000" y="3398400"/>
            <a:ext cx="5040000" cy="208800"/>
          </a:xfrm>
        </p:spPr>
        <p:txBody>
          <a:bodyPr anchor="b">
            <a:normAutofit/>
          </a:bodyPr>
          <a:lstStyle>
            <a:lvl1pPr marL="0" indent="0" fontAlgn="auto">
              <a:spcBef>
                <a:spcPts val="0"/>
              </a:spcBef>
              <a:spcAft>
                <a:spcPts val="0"/>
              </a:spcAft>
              <a:buNone/>
              <a:defRPr sz="1200" b="1">
                <a:latin typeface="+mn-lt"/>
              </a:defRPr>
            </a:lvl1pPr>
          </a:lstStyle>
          <a:p>
            <a:pPr fontAlgn="auto">
              <a:spcBef>
                <a:spcPts val="0"/>
              </a:spcBef>
              <a:spcAft>
                <a:spcPts val="0"/>
              </a:spcAft>
            </a:pPr>
            <a:r>
              <a:rPr lang="en-GB" noProof="0" dirty="0"/>
              <a:t>Insert city and date</a:t>
            </a:r>
          </a:p>
        </p:txBody>
      </p:sp>
      <p:sp>
        <p:nvSpPr>
          <p:cNvPr id="11" name="NameFunction"/>
          <p:cNvSpPr>
            <a:spLocks noGrp="1"/>
          </p:cNvSpPr>
          <p:nvPr>
            <p:ph type="body" sz="quarter" idx="17" hasCustomPrompt="1"/>
          </p:nvPr>
        </p:nvSpPr>
        <p:spPr>
          <a:xfrm>
            <a:off x="539750" y="3103200"/>
            <a:ext cx="5040000" cy="208800"/>
          </a:xfrm>
        </p:spPr>
        <p:txBody>
          <a:bodyPr>
            <a:noAutofit/>
          </a:bodyPr>
          <a:lstStyle>
            <a:lvl1pPr marL="0" indent="0">
              <a:spcBef>
                <a:spcPts val="0"/>
              </a:spcBef>
              <a:buNone/>
              <a:defRPr sz="1400" b="1">
                <a:latin typeface="+mn-lt"/>
              </a:defRPr>
            </a:lvl1pPr>
            <a:lvl2pPr marL="457188" indent="0">
              <a:buNone/>
              <a:defRPr sz="1200" b="1">
                <a:latin typeface="UniCredit" panose="02000506040000020004" pitchFamily="2" charset="0"/>
              </a:defRPr>
            </a:lvl2pPr>
            <a:lvl3pPr marL="914377" indent="0">
              <a:buNone/>
              <a:defRPr sz="1200" b="1">
                <a:latin typeface="UniCredit" panose="02000506040000020004" pitchFamily="2" charset="0"/>
              </a:defRPr>
            </a:lvl3pPr>
            <a:lvl4pPr marL="1371566" indent="0">
              <a:buNone/>
              <a:defRPr sz="1200" b="1">
                <a:latin typeface="UniCredit" panose="02000506040000020004" pitchFamily="2" charset="0"/>
              </a:defRPr>
            </a:lvl4pPr>
            <a:lvl5pPr marL="1828755" indent="0">
              <a:buNone/>
              <a:defRPr sz="1200" b="1">
                <a:latin typeface="UniCredit" panose="02000506040000020004" pitchFamily="2" charset="0"/>
              </a:defRPr>
            </a:lvl5pPr>
          </a:lstStyle>
          <a:p>
            <a:pPr>
              <a:defRPr/>
            </a:pPr>
            <a:r>
              <a:rPr lang="en-GB" noProof="0" dirty="0"/>
              <a:t>Insert name and function</a:t>
            </a:r>
          </a:p>
        </p:txBody>
      </p:sp>
      <p:sp>
        <p:nvSpPr>
          <p:cNvPr id="12" name="Subtitle"/>
          <p:cNvSpPr>
            <a:spLocks noGrp="1"/>
          </p:cNvSpPr>
          <p:nvPr>
            <p:ph type="body" sz="quarter" idx="12" hasCustomPrompt="1"/>
          </p:nvPr>
        </p:nvSpPr>
        <p:spPr>
          <a:xfrm>
            <a:off x="539749" y="2116800"/>
            <a:ext cx="8283600" cy="626400"/>
          </a:xfrm>
          <a:prstGeom prst="rect">
            <a:avLst/>
          </a:prstGeom>
        </p:spPr>
        <p:txBody>
          <a:bodyPr lIns="0" tIns="0" rIns="0" bIns="0" anchor="b" anchorCtr="0">
            <a:normAutofit/>
          </a:bodyPr>
          <a:lstStyle>
            <a:lvl1pPr marL="0" indent="0">
              <a:lnSpc>
                <a:spcPts val="2600"/>
              </a:lnSpc>
              <a:spcBef>
                <a:spcPts val="0"/>
              </a:spcBef>
              <a:buNone/>
              <a:defRPr sz="2600"/>
            </a:lvl1pPr>
          </a:lstStyle>
          <a:p>
            <a:pPr lvl="0"/>
            <a:r>
              <a:rPr lang="en-GB" noProof="0" dirty="0"/>
              <a:t>Insert subtitle</a:t>
            </a:r>
          </a:p>
        </p:txBody>
      </p:sp>
      <p:sp>
        <p:nvSpPr>
          <p:cNvPr id="9" name="Title"/>
          <p:cNvSpPr>
            <a:spLocks noGrp="1"/>
          </p:cNvSpPr>
          <p:nvPr>
            <p:ph type="title" hasCustomPrompt="1"/>
          </p:nvPr>
        </p:nvSpPr>
        <p:spPr>
          <a:xfrm>
            <a:off x="540000" y="669600"/>
            <a:ext cx="6663600" cy="727200"/>
          </a:xfrm>
          <a:prstGeom prst="rect">
            <a:avLst/>
          </a:prstGeom>
        </p:spPr>
        <p:txBody>
          <a:bodyPr lIns="0" tIns="0" rIns="0" bIns="0" anchor="t" anchorCtr="0">
            <a:noAutofit/>
          </a:bodyPr>
          <a:lstStyle>
            <a:lvl1pPr algn="l">
              <a:lnSpc>
                <a:spcPts val="3400"/>
              </a:lnSpc>
              <a:defRPr sz="3600" b="1"/>
            </a:lvl1pPr>
          </a:lstStyle>
          <a:p>
            <a:r>
              <a:rPr lang="en-GB" noProof="0" dirty="0"/>
              <a:t>Insert title</a:t>
            </a:r>
          </a:p>
        </p:txBody>
      </p:sp>
      <p:pic>
        <p:nvPicPr>
          <p:cNvPr id="3" name="Logo">
            <a:extLst>
              <a:ext uri="{FF2B5EF4-FFF2-40B4-BE49-F238E27FC236}">
                <a16:creationId xmlns:a16="http://schemas.microsoft.com/office/drawing/2014/main" id="{19CEE7F5-795F-42AE-B464-9786ABDDDDE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490974" y="4414901"/>
            <a:ext cx="4383033" cy="402337"/>
          </a:xfrm>
          <a:prstGeom prst="rect">
            <a:avLst/>
          </a:prstGeom>
        </p:spPr>
      </p:pic>
    </p:spTree>
    <p:extLst>
      <p:ext uri="{BB962C8B-B14F-4D97-AF65-F5344CB8AC3E}">
        <p14:creationId xmlns:p14="http://schemas.microsoft.com/office/powerpoint/2010/main" val="189946069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page - Picture - One Bank Black">
    <p:spTree>
      <p:nvGrpSpPr>
        <p:cNvPr id="1" name=""/>
        <p:cNvGrpSpPr/>
        <p:nvPr/>
      </p:nvGrpSpPr>
      <p:grpSpPr>
        <a:xfrm>
          <a:off x="0" y="0"/>
          <a:ext cx="0" cy="0"/>
          <a:chOff x="0" y="0"/>
          <a:chExt cx="0" cy="0"/>
        </a:xfrm>
      </p:grpSpPr>
      <p:sp>
        <p:nvSpPr>
          <p:cNvPr id="16" name="BlueGradient"/>
          <p:cNvSpPr/>
          <p:nvPr/>
        </p:nvSpPr>
        <p:spPr bwMode="gray">
          <a:xfrm>
            <a:off x="0" y="2876400"/>
            <a:ext cx="9144000" cy="2268000"/>
          </a:xfrm>
          <a:prstGeom prst="rect">
            <a:avLst/>
          </a:prstGeom>
          <a:gradFill flip="none" rotWithShape="1">
            <a:gsLst>
              <a:gs pos="11000">
                <a:schemeClr val="bg1">
                  <a:alpha val="78000"/>
                </a:schemeClr>
              </a:gs>
              <a:gs pos="100000">
                <a:srgbClr val="2EAEDA">
                  <a:alpha val="78000"/>
                </a:srgbClr>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 noProof="1">
              <a:noFill/>
              <a:latin typeface="UniCredit" panose="02000506040000020004" pitchFamily="2" charset="0"/>
              <a:cs typeface="Arial" panose="020B0604020202020204" pitchFamily="34" charset="0"/>
            </a:endParaRPr>
          </a:p>
        </p:txBody>
      </p:sp>
      <p:sp>
        <p:nvSpPr>
          <p:cNvPr id="8" name="TitlePicture"/>
          <p:cNvSpPr>
            <a:spLocks noGrp="1"/>
          </p:cNvSpPr>
          <p:nvPr>
            <p:ph type="pic" sz="quarter" idx="13" hasCustomPrompt="1"/>
          </p:nvPr>
        </p:nvSpPr>
        <p:spPr>
          <a:xfrm>
            <a:off x="0" y="0"/>
            <a:ext cx="9144000" cy="2876400"/>
          </a:xfrm>
          <a:prstGeom prst="rect">
            <a:avLst/>
          </a:prstGeom>
        </p:spPr>
        <p:txBody>
          <a:bodyPr lIns="0" tIns="0" rIns="0" bIns="0" anchor="ctr" anchorCtr="1">
            <a:normAutofit/>
          </a:bodyPr>
          <a:lstStyle>
            <a:lvl1pPr marL="0" indent="0">
              <a:buNone/>
              <a:defRPr sz="100">
                <a:noFill/>
                <a:latin typeface="UniCredit" panose="02000506040000020004" pitchFamily="2" charset="0"/>
              </a:defRPr>
            </a:lvl1pPr>
          </a:lstStyle>
          <a:p>
            <a:r>
              <a:rPr lang="en-GB" noProof="1"/>
              <a:t>Insert picture</a:t>
            </a:r>
          </a:p>
        </p:txBody>
      </p:sp>
      <p:sp>
        <p:nvSpPr>
          <p:cNvPr id="13" name="LegalEntity"/>
          <p:cNvSpPr>
            <a:spLocks noGrp="1"/>
          </p:cNvSpPr>
          <p:nvPr>
            <p:ph type="body" sz="quarter" idx="14" hasCustomPrompt="1"/>
          </p:nvPr>
        </p:nvSpPr>
        <p:spPr>
          <a:xfrm>
            <a:off x="5943600" y="3128400"/>
            <a:ext cx="2880000" cy="208800"/>
          </a:xfrm>
          <a:prstGeom prst="rect">
            <a:avLst/>
          </a:prstGeom>
        </p:spPr>
        <p:txBody>
          <a:bodyPr lIns="0" tIns="0" rIns="0" bIns="0">
            <a:noAutofit/>
          </a:bodyPr>
          <a:lstStyle>
            <a:lvl1pPr marL="0" indent="0" algn="r">
              <a:buFontTx/>
              <a:buNone/>
              <a:defRPr sz="1200">
                <a:latin typeface="+mn-lt"/>
              </a:defRPr>
            </a:lvl1pPr>
            <a:lvl2pPr marL="356373" indent="0" algn="r">
              <a:buFontTx/>
              <a:buNone/>
              <a:defRPr sz="900"/>
            </a:lvl2pPr>
            <a:lvl3pPr algn="r">
              <a:buFontTx/>
              <a:buNone/>
              <a:defRPr sz="900"/>
            </a:lvl3pPr>
            <a:lvl4pPr marL="1069119" indent="0" algn="r">
              <a:buFontTx/>
              <a:buNone/>
              <a:defRPr sz="900"/>
            </a:lvl4pPr>
            <a:lvl5pPr marL="1501088" indent="0" algn="r">
              <a:buFontTx/>
              <a:buNone/>
              <a:defRPr sz="900"/>
            </a:lvl5pPr>
          </a:lstStyle>
          <a:p>
            <a:pPr lvl="0"/>
            <a:r>
              <a:rPr lang="en-GB" noProof="0" dirty="0"/>
              <a:t>[Insert legal entity - classification level]</a:t>
            </a:r>
          </a:p>
        </p:txBody>
      </p:sp>
      <p:sp>
        <p:nvSpPr>
          <p:cNvPr id="10" name="CityDate"/>
          <p:cNvSpPr>
            <a:spLocks noGrp="1"/>
          </p:cNvSpPr>
          <p:nvPr>
            <p:ph type="body" sz="quarter" idx="18" hasCustomPrompt="1"/>
          </p:nvPr>
        </p:nvSpPr>
        <p:spPr>
          <a:xfrm>
            <a:off x="540000" y="3398400"/>
            <a:ext cx="5040000" cy="208800"/>
          </a:xfrm>
        </p:spPr>
        <p:txBody>
          <a:bodyPr anchor="b">
            <a:normAutofit/>
          </a:bodyPr>
          <a:lstStyle>
            <a:lvl1pPr marL="0" indent="0" fontAlgn="auto">
              <a:spcBef>
                <a:spcPts val="0"/>
              </a:spcBef>
              <a:spcAft>
                <a:spcPts val="0"/>
              </a:spcAft>
              <a:buNone/>
              <a:defRPr sz="1200" b="1">
                <a:latin typeface="+mn-lt"/>
              </a:defRPr>
            </a:lvl1pPr>
          </a:lstStyle>
          <a:p>
            <a:pPr fontAlgn="auto">
              <a:spcBef>
                <a:spcPts val="0"/>
              </a:spcBef>
              <a:spcAft>
                <a:spcPts val="0"/>
              </a:spcAft>
            </a:pPr>
            <a:r>
              <a:rPr lang="en-GB" noProof="0" dirty="0"/>
              <a:t>Insert city and date</a:t>
            </a:r>
          </a:p>
        </p:txBody>
      </p:sp>
      <p:sp>
        <p:nvSpPr>
          <p:cNvPr id="11" name="NameFunction"/>
          <p:cNvSpPr>
            <a:spLocks noGrp="1"/>
          </p:cNvSpPr>
          <p:nvPr>
            <p:ph type="body" sz="quarter" idx="17" hasCustomPrompt="1"/>
          </p:nvPr>
        </p:nvSpPr>
        <p:spPr>
          <a:xfrm>
            <a:off x="539750" y="3103200"/>
            <a:ext cx="5040000" cy="208800"/>
          </a:xfrm>
        </p:spPr>
        <p:txBody>
          <a:bodyPr>
            <a:noAutofit/>
          </a:bodyPr>
          <a:lstStyle>
            <a:lvl1pPr marL="0" indent="0">
              <a:spcBef>
                <a:spcPts val="0"/>
              </a:spcBef>
              <a:buNone/>
              <a:defRPr sz="1400" b="1">
                <a:latin typeface="+mn-lt"/>
              </a:defRPr>
            </a:lvl1pPr>
            <a:lvl2pPr marL="457188" indent="0">
              <a:buNone/>
              <a:defRPr sz="1200" b="1">
                <a:latin typeface="UniCredit" panose="02000506040000020004" pitchFamily="2" charset="0"/>
              </a:defRPr>
            </a:lvl2pPr>
            <a:lvl3pPr marL="914377" indent="0">
              <a:buNone/>
              <a:defRPr sz="1200" b="1">
                <a:latin typeface="UniCredit" panose="02000506040000020004" pitchFamily="2" charset="0"/>
              </a:defRPr>
            </a:lvl3pPr>
            <a:lvl4pPr marL="1371566" indent="0">
              <a:buNone/>
              <a:defRPr sz="1200" b="1">
                <a:latin typeface="UniCredit" panose="02000506040000020004" pitchFamily="2" charset="0"/>
              </a:defRPr>
            </a:lvl4pPr>
            <a:lvl5pPr marL="1828755" indent="0">
              <a:buNone/>
              <a:defRPr sz="1200" b="1">
                <a:latin typeface="UniCredit" panose="02000506040000020004" pitchFamily="2" charset="0"/>
              </a:defRPr>
            </a:lvl5pPr>
          </a:lstStyle>
          <a:p>
            <a:pPr>
              <a:defRPr/>
            </a:pPr>
            <a:r>
              <a:rPr lang="en-GB" noProof="0" dirty="0"/>
              <a:t>Insert name and function</a:t>
            </a:r>
          </a:p>
        </p:txBody>
      </p:sp>
      <p:sp>
        <p:nvSpPr>
          <p:cNvPr id="12" name="Subtitle"/>
          <p:cNvSpPr>
            <a:spLocks noGrp="1"/>
          </p:cNvSpPr>
          <p:nvPr>
            <p:ph type="body" sz="quarter" idx="12" hasCustomPrompt="1"/>
          </p:nvPr>
        </p:nvSpPr>
        <p:spPr>
          <a:xfrm>
            <a:off x="539749" y="2116800"/>
            <a:ext cx="8283600" cy="626400"/>
          </a:xfrm>
          <a:prstGeom prst="rect">
            <a:avLst/>
          </a:prstGeom>
        </p:spPr>
        <p:txBody>
          <a:bodyPr lIns="0" tIns="0" rIns="0" bIns="0" anchor="b" anchorCtr="0">
            <a:normAutofit/>
          </a:bodyPr>
          <a:lstStyle>
            <a:lvl1pPr marL="0" indent="0">
              <a:lnSpc>
                <a:spcPts val="2600"/>
              </a:lnSpc>
              <a:spcBef>
                <a:spcPts val="0"/>
              </a:spcBef>
              <a:buNone/>
              <a:defRPr sz="2600"/>
            </a:lvl1pPr>
          </a:lstStyle>
          <a:p>
            <a:pPr lvl="0"/>
            <a:r>
              <a:rPr lang="en-GB" noProof="0" dirty="0"/>
              <a:t>Insert subtitle</a:t>
            </a:r>
          </a:p>
        </p:txBody>
      </p:sp>
      <p:sp>
        <p:nvSpPr>
          <p:cNvPr id="9" name="Title"/>
          <p:cNvSpPr>
            <a:spLocks noGrp="1"/>
          </p:cNvSpPr>
          <p:nvPr>
            <p:ph type="title" hasCustomPrompt="1"/>
          </p:nvPr>
        </p:nvSpPr>
        <p:spPr>
          <a:xfrm>
            <a:off x="540000" y="669600"/>
            <a:ext cx="5760000" cy="727200"/>
          </a:xfrm>
          <a:prstGeom prst="rect">
            <a:avLst/>
          </a:prstGeom>
        </p:spPr>
        <p:txBody>
          <a:bodyPr lIns="0" tIns="0" rIns="0" bIns="0" anchor="t" anchorCtr="0">
            <a:noAutofit/>
          </a:bodyPr>
          <a:lstStyle>
            <a:lvl1pPr algn="l">
              <a:lnSpc>
                <a:spcPts val="3400"/>
              </a:lnSpc>
              <a:defRPr sz="3600" b="1"/>
            </a:lvl1pPr>
          </a:lstStyle>
          <a:p>
            <a:r>
              <a:rPr lang="en-GB" noProof="0" dirty="0"/>
              <a:t>Insert title</a:t>
            </a:r>
          </a:p>
        </p:txBody>
      </p:sp>
      <p:sp>
        <p:nvSpPr>
          <p:cNvPr id="4" name="CompositeLogo"/>
          <p:cNvSpPr>
            <a:spLocks noGrp="1" noChangeAspect="1"/>
          </p:cNvSpPr>
          <p:nvPr>
            <p:ph type="body" sz="quarter" idx="16"/>
          </p:nvPr>
        </p:nvSpPr>
        <p:spPr bwMode="gray">
          <a:xfrm>
            <a:off x="6584400" y="324000"/>
            <a:ext cx="2235600" cy="1164827"/>
          </a:xfrm>
          <a:blipFill>
            <a:blip r:embed="rId2"/>
            <a:stretch>
              <a:fillRect/>
            </a:stretch>
          </a:blipFill>
        </p:spPr>
        <p:txBody>
          <a:bodyPr>
            <a:normAutofit/>
          </a:bodyPr>
          <a:lstStyle>
            <a:lvl1pPr marL="0" indent="0">
              <a:buNone/>
              <a:defRPr sz="100">
                <a:noFill/>
                <a:latin typeface="UniCredit" panose="02000506040000020004" pitchFamily="2" charset="0"/>
              </a:defRPr>
            </a:lvl1pPr>
          </a:lstStyle>
          <a:p>
            <a:pPr lvl="0"/>
            <a:r>
              <a:rPr lang="en-US" noProof="1"/>
              <a:t>Click to edit Master text styles</a:t>
            </a:r>
          </a:p>
        </p:txBody>
      </p:sp>
      <p:pic>
        <p:nvPicPr>
          <p:cNvPr id="3" name="Logo">
            <a:extLst>
              <a:ext uri="{FF2B5EF4-FFF2-40B4-BE49-F238E27FC236}">
                <a16:creationId xmlns:a16="http://schemas.microsoft.com/office/drawing/2014/main" id="{66755EAC-3BAE-4428-BA17-47894DBC6FD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90974" y="4414901"/>
            <a:ext cx="4383033" cy="402337"/>
          </a:xfrm>
          <a:prstGeom prst="rect">
            <a:avLst/>
          </a:prstGeom>
        </p:spPr>
      </p:pic>
    </p:spTree>
    <p:extLst>
      <p:ext uri="{BB962C8B-B14F-4D97-AF65-F5344CB8AC3E}">
        <p14:creationId xmlns:p14="http://schemas.microsoft.com/office/powerpoint/2010/main" val="44741665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18" Type="http://schemas.openxmlformats.org/officeDocument/2006/relationships/slideLayout" Target="../slideLayouts/slideLayout33.xml"/><Relationship Id="rId26" Type="http://schemas.openxmlformats.org/officeDocument/2006/relationships/image" Target="../media/image2.png"/><Relationship Id="rId3" Type="http://schemas.openxmlformats.org/officeDocument/2006/relationships/slideLayout" Target="../slideLayouts/slideLayout18.xml"/><Relationship Id="rId21" Type="http://schemas.openxmlformats.org/officeDocument/2006/relationships/vmlDrawing" Target="../drawings/vmlDrawing3.v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5" Type="http://schemas.openxmlformats.org/officeDocument/2006/relationships/image" Target="../media/image1.emf"/><Relationship Id="rId2" Type="http://schemas.openxmlformats.org/officeDocument/2006/relationships/slideLayout" Target="../slideLayouts/slideLayout17.xml"/><Relationship Id="rId16" Type="http://schemas.openxmlformats.org/officeDocument/2006/relationships/slideLayout" Target="../slideLayouts/slideLayout31.xml"/><Relationship Id="rId20" Type="http://schemas.openxmlformats.org/officeDocument/2006/relationships/theme" Target="../theme/theme2.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24" Type="http://schemas.openxmlformats.org/officeDocument/2006/relationships/oleObject" Target="../embeddings/oleObject3.bin"/><Relationship Id="rId5" Type="http://schemas.openxmlformats.org/officeDocument/2006/relationships/slideLayout" Target="../slideLayouts/slideLayout20.xml"/><Relationship Id="rId15" Type="http://schemas.openxmlformats.org/officeDocument/2006/relationships/slideLayout" Target="../slideLayouts/slideLayout30.xml"/><Relationship Id="rId23" Type="http://schemas.openxmlformats.org/officeDocument/2006/relationships/tags" Target="../tags/tag7.xml"/><Relationship Id="rId10" Type="http://schemas.openxmlformats.org/officeDocument/2006/relationships/slideLayout" Target="../slideLayouts/slideLayout25.xml"/><Relationship Id="rId19" Type="http://schemas.openxmlformats.org/officeDocument/2006/relationships/slideLayout" Target="../slideLayouts/slideLayout34.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 Id="rId22" Type="http://schemas.openxmlformats.org/officeDocument/2006/relationships/tags" Target="../tags/tag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FD58AB0-43F1-4750-8D10-2CE545757E74}"/>
              </a:ext>
            </a:extLst>
          </p:cNvPr>
          <p:cNvGraphicFramePr>
            <a:graphicFrameLocks noChangeAspect="1"/>
          </p:cNvGraphicFramePr>
          <p:nvPr userDrawn="1">
            <p:custDataLst>
              <p:tags r:id="rId18"/>
            </p:custDataLst>
            <p:extLst>
              <p:ext uri="{D42A27DB-BD31-4B8C-83A1-F6EECF244321}">
                <p14:modId xmlns:p14="http://schemas.microsoft.com/office/powerpoint/2010/main" val="12033413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40" name="think-cell Slide" r:id="rId20" imgW="360" imgH="360" progId="TCLayout.ActiveDocument.1">
                  <p:embed/>
                </p:oleObj>
              </mc:Choice>
              <mc:Fallback>
                <p:oleObj name="think-cell Slide" r:id="rId20" imgW="360" imgH="360" progId="TCLayout.ActiveDocument.1">
                  <p:embed/>
                  <p:pic>
                    <p:nvPicPr>
                      <p:cNvPr id="0" name=""/>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65B3355-15A9-4D53-976D-73720B7EFD0D}"/>
              </a:ext>
            </a:extLst>
          </p:cNvPr>
          <p:cNvSpPr/>
          <p:nvPr userDrawn="1">
            <p:custDataLst>
              <p:tags r:id="rId19"/>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2400" b="1" i="0" baseline="0" dirty="0">
              <a:latin typeface="UniCredit" panose="02000506040000020004" pitchFamily="2" charset="0"/>
              <a:ea typeface="+mj-ea"/>
              <a:cs typeface="Arial" panose="020B0604020202020204" pitchFamily="34" charset="0"/>
              <a:sym typeface="UniCredit" panose="02000506040000020004" pitchFamily="2" charset="0"/>
            </a:endParaRPr>
          </a:p>
        </p:txBody>
      </p:sp>
      <p:pic>
        <p:nvPicPr>
          <p:cNvPr id="12" name="UCOne" descr="sfere 2D.png"/>
          <p:cNvPicPr>
            <a:picLocks noChangeAspect="1"/>
          </p:cNvPicPr>
          <p:nvPr userDrawn="1"/>
        </p:nvPicPr>
        <p:blipFill>
          <a:blip r:embed="rId22" cstate="print">
            <a:extLst>
              <a:ext uri="{28A0092B-C50C-407E-A947-70E740481C1C}">
                <a14:useLocalDpi xmlns:a14="http://schemas.microsoft.com/office/drawing/2010/main" val="0"/>
              </a:ext>
            </a:extLst>
          </a:blip>
          <a:stretch>
            <a:fillRect/>
          </a:stretch>
        </p:blipFill>
        <p:spPr>
          <a:xfrm>
            <a:off x="8593200" y="4603824"/>
            <a:ext cx="359676" cy="359676"/>
          </a:xfrm>
          <a:prstGeom prst="rect">
            <a:avLst/>
          </a:prstGeom>
        </p:spPr>
      </p:pic>
      <p:sp>
        <p:nvSpPr>
          <p:cNvPr id="8" name="Headline"/>
          <p:cNvSpPr>
            <a:spLocks noChangeShapeType="1"/>
          </p:cNvSpPr>
          <p:nvPr/>
        </p:nvSpPr>
        <p:spPr bwMode="auto">
          <a:xfrm>
            <a:off x="0" y="720000"/>
            <a:ext cx="9144000" cy="0"/>
          </a:xfrm>
          <a:prstGeom prst="line">
            <a:avLst/>
          </a:prstGeom>
          <a:noFill/>
          <a:ln w="19050">
            <a:solidFill>
              <a:srgbClr val="00AFD0"/>
            </a:solidFill>
            <a:round/>
            <a:headEnd/>
            <a:tailEnd type="none" w="med" len="med"/>
          </a:ln>
          <a:extLst>
            <a:ext uri="{909E8E84-426E-40DD-AFC4-6F175D3DCCD1}">
              <a14:hiddenFill xmlns:a14="http://schemas.microsoft.com/office/drawing/2010/main">
                <a:noFill/>
              </a14:hiddenFill>
            </a:ext>
          </a:extLst>
        </p:spPr>
        <p:txBody>
          <a:bodyPr lIns="0" tIns="0" rIns="0" bIns="0" anchor="ctr">
            <a:spAutoFit/>
          </a:bodyPr>
          <a:lstStyle/>
          <a:p>
            <a:endParaRPr lang="en-GB" sz="100" noProof="0" dirty="0">
              <a:latin typeface="UniCredit" panose="02000506040000020004" pitchFamily="2" charset="0"/>
              <a:cs typeface="Arial" panose="020B0604020202020204" pitchFamily="34" charset="0"/>
            </a:endParaRPr>
          </a:p>
        </p:txBody>
      </p:sp>
      <p:sp>
        <p:nvSpPr>
          <p:cNvPr id="6" name="SlideNumber"/>
          <p:cNvSpPr>
            <a:spLocks noGrp="1"/>
          </p:cNvSpPr>
          <p:nvPr>
            <p:ph type="sldNum" sz="quarter" idx="4"/>
          </p:nvPr>
        </p:nvSpPr>
        <p:spPr>
          <a:xfrm>
            <a:off x="270000" y="4604400"/>
            <a:ext cx="270000" cy="360000"/>
          </a:xfrm>
          <a:prstGeom prst="rect">
            <a:avLst/>
          </a:prstGeom>
        </p:spPr>
        <p:txBody>
          <a:bodyPr vert="horz" lIns="0" tIns="0" rIns="0" bIns="0" rtlCol="0" anchor="ctr"/>
          <a:lstStyle>
            <a:lvl1pPr algn="l" fontAlgn="auto">
              <a:spcBef>
                <a:spcPts val="0"/>
              </a:spcBef>
              <a:spcAft>
                <a:spcPts val="0"/>
              </a:spcAft>
              <a:defRPr sz="900" baseline="0" smtClean="0">
                <a:solidFill>
                  <a:srgbClr val="00AFD0"/>
                </a:solidFill>
                <a:latin typeface="+mn-lt"/>
                <a:cs typeface="Arial" panose="020B0604020202020204" pitchFamily="34" charset="0"/>
              </a:defRPr>
            </a:lvl1pPr>
          </a:lstStyle>
          <a:p>
            <a:fld id="{9E8169F0-646E-455B-AF5A-6D6C02EAEAF6}" type="slidenum">
              <a:rPr lang="en-GB" noProof="1" smtClean="0"/>
              <a:pPr/>
              <a:t>‹#›</a:t>
            </a:fld>
            <a:endParaRPr lang="en-GB" noProof="1"/>
          </a:p>
        </p:txBody>
      </p:sp>
      <p:sp>
        <p:nvSpPr>
          <p:cNvPr id="3" name="Text"/>
          <p:cNvSpPr>
            <a:spLocks noGrp="1"/>
          </p:cNvSpPr>
          <p:nvPr>
            <p:ph type="body" idx="1"/>
          </p:nvPr>
        </p:nvSpPr>
        <p:spPr>
          <a:xfrm>
            <a:off x="270000" y="946800"/>
            <a:ext cx="8679600" cy="3312000"/>
          </a:xfrm>
          <a:prstGeom prst="rect">
            <a:avLst/>
          </a:prstGeom>
        </p:spPr>
        <p:txBody>
          <a:bodyPr vert="horz" lIns="0" tIns="0" rIns="0" bIns="0" rtlCol="0">
            <a:normAutofit/>
          </a:bodyPr>
          <a:lstStyle/>
          <a:p>
            <a:pPr lvl="0"/>
            <a:r>
              <a:rPr lang="en-GB" noProof="0" dirty="0"/>
              <a:t>Insert text</a:t>
            </a:r>
          </a:p>
          <a:p>
            <a:pPr lvl="1"/>
            <a:r>
              <a:rPr lang="en-GB" noProof="0" dirty="0"/>
              <a:t>2° level</a:t>
            </a:r>
          </a:p>
          <a:p>
            <a:pPr lvl="2"/>
            <a:r>
              <a:rPr lang="en-GB" noProof="0" dirty="0"/>
              <a:t>3° level</a:t>
            </a:r>
          </a:p>
          <a:p>
            <a:pPr lvl="3"/>
            <a:r>
              <a:rPr lang="en-GB" noProof="0" dirty="0"/>
              <a:t>4° level</a:t>
            </a:r>
          </a:p>
          <a:p>
            <a:pPr lvl="4"/>
            <a:r>
              <a:rPr lang="en-GB" noProof="0" dirty="0"/>
              <a:t>5° level</a:t>
            </a:r>
          </a:p>
        </p:txBody>
      </p:sp>
      <p:sp>
        <p:nvSpPr>
          <p:cNvPr id="2" name="Title"/>
          <p:cNvSpPr>
            <a:spLocks noGrp="1"/>
          </p:cNvSpPr>
          <p:nvPr>
            <p:ph type="title"/>
          </p:nvPr>
        </p:nvSpPr>
        <p:spPr>
          <a:xfrm>
            <a:off x="270000" y="0"/>
            <a:ext cx="8679600" cy="702000"/>
          </a:xfrm>
          <a:prstGeom prst="rect">
            <a:avLst/>
          </a:prstGeom>
        </p:spPr>
        <p:txBody>
          <a:bodyPr vert="horz" lIns="0" tIns="0" rIns="0" bIns="0" rtlCol="0" anchor="ctr">
            <a:noAutofit/>
          </a:bodyPr>
          <a:lstStyle/>
          <a:p>
            <a:pPr lvl="0">
              <a:lnSpc>
                <a:spcPts val="2400"/>
              </a:lnSpc>
            </a:pPr>
            <a:r>
              <a:rPr lang="en-GB" noProof="0" dirty="0"/>
              <a:t>Insert title</a:t>
            </a:r>
          </a:p>
        </p:txBody>
      </p:sp>
    </p:spTree>
    <p:extLst>
      <p:ext uri="{BB962C8B-B14F-4D97-AF65-F5344CB8AC3E}">
        <p14:creationId xmlns:p14="http://schemas.microsoft.com/office/powerpoint/2010/main" val="4121725331"/>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7" r:id="rId6"/>
    <p:sldLayoutId id="2147483710" r:id="rId7"/>
    <p:sldLayoutId id="2147483706" r:id="rId8"/>
    <p:sldLayoutId id="2147483711" r:id="rId9"/>
    <p:sldLayoutId id="2147483712" r:id="rId10"/>
    <p:sldLayoutId id="2147483702" r:id="rId11"/>
    <p:sldLayoutId id="2147483703" r:id="rId12"/>
    <p:sldLayoutId id="2147483704" r:id="rId13"/>
    <p:sldLayoutId id="2147483709" r:id="rId14"/>
    <p:sldLayoutId id="2147483715" r:id="rId15"/>
  </p:sldLayoutIdLst>
  <p:hf hdr="0" dt="0"/>
  <p:txStyles>
    <p:titleStyle>
      <a:lvl1pPr algn="l" rtl="0" eaLnBrk="1" fontAlgn="base" hangingPunct="1">
        <a:spcBef>
          <a:spcPct val="0"/>
        </a:spcBef>
        <a:spcAft>
          <a:spcPct val="0"/>
        </a:spcAft>
        <a:defRPr lang="en-GB" sz="2400" b="1" kern="1200" noProof="0" dirty="0">
          <a:solidFill>
            <a:schemeClr val="tx1"/>
          </a:solidFill>
          <a:latin typeface="+mj-lt"/>
          <a:ea typeface="+mj-ea"/>
          <a:cs typeface="Arial" panose="020B0604020202020204" pitchFamily="34" charset="0"/>
        </a:defRPr>
      </a:lvl1pPr>
      <a:lvl2pPr algn="ctr" rtl="0" eaLnBrk="1" fontAlgn="base" hangingPunct="1">
        <a:spcBef>
          <a:spcPct val="0"/>
        </a:spcBef>
        <a:spcAft>
          <a:spcPct val="0"/>
        </a:spcAft>
        <a:defRPr sz="3300">
          <a:solidFill>
            <a:schemeClr val="tx1"/>
          </a:solidFill>
          <a:latin typeface="Arial" charset="0"/>
        </a:defRPr>
      </a:lvl2pPr>
      <a:lvl3pPr algn="ctr" rtl="0" eaLnBrk="1" fontAlgn="base" hangingPunct="1">
        <a:spcBef>
          <a:spcPct val="0"/>
        </a:spcBef>
        <a:spcAft>
          <a:spcPct val="0"/>
        </a:spcAft>
        <a:defRPr sz="3300">
          <a:solidFill>
            <a:schemeClr val="tx1"/>
          </a:solidFill>
          <a:latin typeface="Arial" charset="0"/>
        </a:defRPr>
      </a:lvl3pPr>
      <a:lvl4pPr algn="ctr" rtl="0" eaLnBrk="1" fontAlgn="base" hangingPunct="1">
        <a:spcBef>
          <a:spcPct val="0"/>
        </a:spcBef>
        <a:spcAft>
          <a:spcPct val="0"/>
        </a:spcAft>
        <a:defRPr sz="3300">
          <a:solidFill>
            <a:schemeClr val="tx1"/>
          </a:solidFill>
          <a:latin typeface="Arial" charset="0"/>
        </a:defRPr>
      </a:lvl4pPr>
      <a:lvl5pPr algn="ctr" rtl="0" eaLnBrk="1" fontAlgn="base" hangingPunct="1">
        <a:spcBef>
          <a:spcPct val="0"/>
        </a:spcBef>
        <a:spcAft>
          <a:spcPct val="0"/>
        </a:spcAft>
        <a:defRPr sz="3300">
          <a:solidFill>
            <a:schemeClr val="tx1"/>
          </a:solidFill>
          <a:latin typeface="Arial" charset="0"/>
        </a:defRPr>
      </a:lvl5pPr>
      <a:lvl6pPr marL="342875" algn="ctr" rtl="0" eaLnBrk="1" fontAlgn="base" hangingPunct="1">
        <a:spcBef>
          <a:spcPct val="0"/>
        </a:spcBef>
        <a:spcAft>
          <a:spcPct val="0"/>
        </a:spcAft>
        <a:defRPr sz="3300">
          <a:solidFill>
            <a:schemeClr val="tx1"/>
          </a:solidFill>
          <a:latin typeface="Arial" charset="0"/>
        </a:defRPr>
      </a:lvl6pPr>
      <a:lvl7pPr marL="685749" algn="ctr" rtl="0" eaLnBrk="1" fontAlgn="base" hangingPunct="1">
        <a:spcBef>
          <a:spcPct val="0"/>
        </a:spcBef>
        <a:spcAft>
          <a:spcPct val="0"/>
        </a:spcAft>
        <a:defRPr sz="3300">
          <a:solidFill>
            <a:schemeClr val="tx1"/>
          </a:solidFill>
          <a:latin typeface="Arial" charset="0"/>
        </a:defRPr>
      </a:lvl7pPr>
      <a:lvl8pPr marL="1028624" algn="ctr" rtl="0" eaLnBrk="1" fontAlgn="base" hangingPunct="1">
        <a:spcBef>
          <a:spcPct val="0"/>
        </a:spcBef>
        <a:spcAft>
          <a:spcPct val="0"/>
        </a:spcAft>
        <a:defRPr sz="3300">
          <a:solidFill>
            <a:schemeClr val="tx1"/>
          </a:solidFill>
          <a:latin typeface="Arial" charset="0"/>
        </a:defRPr>
      </a:lvl8pPr>
      <a:lvl9pPr marL="1371498" algn="ctr" rtl="0" eaLnBrk="1" fontAlgn="base" hangingPunct="1">
        <a:spcBef>
          <a:spcPct val="0"/>
        </a:spcBef>
        <a:spcAft>
          <a:spcPct val="0"/>
        </a:spcAft>
        <a:defRPr sz="3300">
          <a:solidFill>
            <a:schemeClr val="tx1"/>
          </a:solidFill>
          <a:latin typeface="Arial" charset="0"/>
        </a:defRPr>
      </a:lvl9pPr>
    </p:titleStyle>
    <p:bodyStyle>
      <a:lvl1pPr marL="176396" marR="0" indent="-176396" algn="l" defTabSz="342875" rtl="0" eaLnBrk="1" fontAlgn="auto" latinLnBrk="0" hangingPunct="1">
        <a:lnSpc>
          <a:spcPct val="100000"/>
        </a:lnSpc>
        <a:spcBef>
          <a:spcPct val="20000"/>
        </a:spcBef>
        <a:spcAft>
          <a:spcPts val="0"/>
        </a:spcAft>
        <a:buClr>
          <a:srgbClr val="E1061C"/>
        </a:buClr>
        <a:buSzTx/>
        <a:buFont typeface="Arial"/>
        <a:buChar char="•"/>
        <a:tabLst/>
        <a:defRPr sz="1600" kern="1200" baseline="0">
          <a:solidFill>
            <a:schemeClr val="tx1"/>
          </a:solidFill>
          <a:latin typeface="+mn-lt"/>
          <a:ea typeface="+mn-ea"/>
          <a:cs typeface="Arial" panose="020B0604020202020204" pitchFamily="34" charset="0"/>
        </a:defRPr>
      </a:lvl1pPr>
      <a:lvl2pPr marL="626384" marR="0" indent="-169196" algn="l" defTabSz="342875" rtl="0" eaLnBrk="1" fontAlgn="auto" latinLnBrk="0" hangingPunct="1">
        <a:lnSpc>
          <a:spcPct val="100000"/>
        </a:lnSpc>
        <a:spcBef>
          <a:spcPct val="20000"/>
        </a:spcBef>
        <a:spcAft>
          <a:spcPts val="0"/>
        </a:spcAft>
        <a:buClr>
          <a:srgbClr val="E1061C"/>
        </a:buClr>
        <a:buSzTx/>
        <a:buFont typeface="Arial"/>
        <a:buChar char="•"/>
        <a:tabLst/>
        <a:defRPr sz="1600" kern="1200" baseline="0">
          <a:solidFill>
            <a:schemeClr val="tx1"/>
          </a:solidFill>
          <a:latin typeface="+mn-lt"/>
          <a:ea typeface="+mn-ea"/>
          <a:cs typeface="Arial" panose="020B0604020202020204" pitchFamily="34" charset="0"/>
        </a:defRPr>
      </a:lvl2pPr>
      <a:lvl3pPr marL="1079973" marR="0" indent="-165596" algn="l" defTabSz="342875" rtl="0" eaLnBrk="1" fontAlgn="auto" latinLnBrk="0" hangingPunct="1">
        <a:lnSpc>
          <a:spcPct val="100000"/>
        </a:lnSpc>
        <a:spcBef>
          <a:spcPct val="20000"/>
        </a:spcBef>
        <a:spcAft>
          <a:spcPts val="0"/>
        </a:spcAft>
        <a:buClr>
          <a:srgbClr val="E1061C"/>
        </a:buClr>
        <a:buSzTx/>
        <a:buFont typeface="Arial"/>
        <a:buChar char="•"/>
        <a:tabLst/>
        <a:defRPr sz="1600" kern="1200" baseline="0">
          <a:solidFill>
            <a:schemeClr val="tx1"/>
          </a:solidFill>
          <a:latin typeface="+mn-lt"/>
          <a:ea typeface="+mn-ea"/>
          <a:cs typeface="Arial" panose="020B0604020202020204" pitchFamily="34" charset="0"/>
        </a:defRPr>
      </a:lvl3pPr>
      <a:lvl4pPr marL="1522762" marR="0" indent="-151196" algn="l" defTabSz="342875" rtl="0" eaLnBrk="1" fontAlgn="auto" latinLnBrk="0" hangingPunct="1">
        <a:lnSpc>
          <a:spcPct val="100000"/>
        </a:lnSpc>
        <a:spcBef>
          <a:spcPct val="20000"/>
        </a:spcBef>
        <a:spcAft>
          <a:spcPts val="0"/>
        </a:spcAft>
        <a:buClr>
          <a:srgbClr val="E1061C"/>
        </a:buClr>
        <a:buSzTx/>
        <a:buFont typeface="Arial"/>
        <a:buChar char="•"/>
        <a:tabLst/>
        <a:defRPr sz="1600" kern="1200" baseline="0">
          <a:solidFill>
            <a:schemeClr val="tx1"/>
          </a:solidFill>
          <a:latin typeface="+mn-lt"/>
          <a:ea typeface="+mn-ea"/>
          <a:cs typeface="Arial" panose="020B0604020202020204" pitchFamily="34" charset="0"/>
        </a:defRPr>
      </a:lvl4pPr>
      <a:lvl5pPr marL="1972751" marR="0" indent="-143996" algn="l" defTabSz="342875" rtl="0" eaLnBrk="1" fontAlgn="auto" latinLnBrk="0" hangingPunct="1">
        <a:lnSpc>
          <a:spcPct val="100000"/>
        </a:lnSpc>
        <a:spcBef>
          <a:spcPct val="20000"/>
        </a:spcBef>
        <a:spcAft>
          <a:spcPts val="0"/>
        </a:spcAft>
        <a:buClr>
          <a:srgbClr val="E1061C"/>
        </a:buClr>
        <a:buSzTx/>
        <a:buFont typeface="Arial"/>
        <a:buChar char="•"/>
        <a:tabLst/>
        <a:defRPr sz="1600" kern="1200" baseline="0">
          <a:solidFill>
            <a:schemeClr val="tx1"/>
          </a:solidFill>
          <a:latin typeface="+mn-lt"/>
          <a:ea typeface="+mn-ea"/>
          <a:cs typeface="Arial" panose="020B0604020202020204" pitchFamily="34" charset="0"/>
        </a:defRPr>
      </a:lvl5pPr>
      <a:lvl6pPr marL="1885809" indent="-171438" algn="l" defTabSz="685749"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684" indent="-171438" algn="l" defTabSz="685749"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558" indent="-171438" algn="l" defTabSz="685749"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433" indent="-171438" algn="l" defTabSz="685749"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de-DE"/>
      </a:defPPr>
      <a:lvl1pPr marL="0" algn="l" defTabSz="685749" rtl="0" eaLnBrk="1" latinLnBrk="0" hangingPunct="1">
        <a:defRPr sz="1350" kern="1200">
          <a:solidFill>
            <a:schemeClr val="tx1"/>
          </a:solidFill>
          <a:latin typeface="+mn-lt"/>
          <a:ea typeface="+mn-ea"/>
          <a:cs typeface="+mn-cs"/>
        </a:defRPr>
      </a:lvl1pPr>
      <a:lvl2pPr marL="342875" algn="l" defTabSz="685749" rtl="0" eaLnBrk="1" latinLnBrk="0" hangingPunct="1">
        <a:defRPr sz="1350" kern="1200">
          <a:solidFill>
            <a:schemeClr val="tx1"/>
          </a:solidFill>
          <a:latin typeface="+mn-lt"/>
          <a:ea typeface="+mn-ea"/>
          <a:cs typeface="+mn-cs"/>
        </a:defRPr>
      </a:lvl2pPr>
      <a:lvl3pPr marL="685749" algn="l" defTabSz="685749" rtl="0" eaLnBrk="1" latinLnBrk="0" hangingPunct="1">
        <a:defRPr sz="1350" kern="1200">
          <a:solidFill>
            <a:schemeClr val="tx1"/>
          </a:solidFill>
          <a:latin typeface="+mn-lt"/>
          <a:ea typeface="+mn-ea"/>
          <a:cs typeface="+mn-cs"/>
        </a:defRPr>
      </a:lvl3pPr>
      <a:lvl4pPr marL="1028624" algn="l" defTabSz="685749" rtl="0" eaLnBrk="1" latinLnBrk="0" hangingPunct="1">
        <a:defRPr sz="1350" kern="1200">
          <a:solidFill>
            <a:schemeClr val="tx1"/>
          </a:solidFill>
          <a:latin typeface="+mn-lt"/>
          <a:ea typeface="+mn-ea"/>
          <a:cs typeface="+mn-cs"/>
        </a:defRPr>
      </a:lvl4pPr>
      <a:lvl5pPr marL="1371498" algn="l" defTabSz="685749" rtl="0" eaLnBrk="1" latinLnBrk="0" hangingPunct="1">
        <a:defRPr sz="1350" kern="1200">
          <a:solidFill>
            <a:schemeClr val="tx1"/>
          </a:solidFill>
          <a:latin typeface="+mn-lt"/>
          <a:ea typeface="+mn-ea"/>
          <a:cs typeface="+mn-cs"/>
        </a:defRPr>
      </a:lvl5pPr>
      <a:lvl6pPr marL="1714373" algn="l" defTabSz="685749" rtl="0" eaLnBrk="1" latinLnBrk="0" hangingPunct="1">
        <a:defRPr sz="1350" kern="1200">
          <a:solidFill>
            <a:schemeClr val="tx1"/>
          </a:solidFill>
          <a:latin typeface="+mn-lt"/>
          <a:ea typeface="+mn-ea"/>
          <a:cs typeface="+mn-cs"/>
        </a:defRPr>
      </a:lvl6pPr>
      <a:lvl7pPr marL="2057246" algn="l" defTabSz="685749" rtl="0" eaLnBrk="1" latinLnBrk="0" hangingPunct="1">
        <a:defRPr sz="1350" kern="1200">
          <a:solidFill>
            <a:schemeClr val="tx1"/>
          </a:solidFill>
          <a:latin typeface="+mn-lt"/>
          <a:ea typeface="+mn-ea"/>
          <a:cs typeface="+mn-cs"/>
        </a:defRPr>
      </a:lvl7pPr>
      <a:lvl8pPr marL="2400120" algn="l" defTabSz="685749" rtl="0" eaLnBrk="1" latinLnBrk="0" hangingPunct="1">
        <a:defRPr sz="1350" kern="1200">
          <a:solidFill>
            <a:schemeClr val="tx1"/>
          </a:solidFill>
          <a:latin typeface="+mn-lt"/>
          <a:ea typeface="+mn-ea"/>
          <a:cs typeface="+mn-cs"/>
        </a:defRPr>
      </a:lvl8pPr>
      <a:lvl9pPr marL="2742995" algn="l" defTabSz="685749"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FD58AB0-43F1-4750-8D10-2CE545757E74}"/>
              </a:ext>
            </a:extLst>
          </p:cNvPr>
          <p:cNvGraphicFramePr>
            <a:graphicFrameLocks noChangeAspect="1"/>
          </p:cNvGraphicFramePr>
          <p:nvPr userDrawn="1">
            <p:custDataLst>
              <p:tags r:id="rId2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26" name="think-cell Slide" r:id="rId24" imgW="360" imgH="360" progId="TCLayout.ActiveDocument.1">
                  <p:embed/>
                </p:oleObj>
              </mc:Choice>
              <mc:Fallback>
                <p:oleObj name="think-cell Slide" r:id="rId24" imgW="360" imgH="360" progId="TCLayout.ActiveDocument.1">
                  <p:embed/>
                  <p:pic>
                    <p:nvPicPr>
                      <p:cNvPr id="5" name="Object 4" hidden="1">
                        <a:extLst>
                          <a:ext uri="{FF2B5EF4-FFF2-40B4-BE49-F238E27FC236}">
                            <a16:creationId xmlns:a16="http://schemas.microsoft.com/office/drawing/2014/main" id="{BFD58AB0-43F1-4750-8D10-2CE545757E74}"/>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65B3355-15A9-4D53-976D-73720B7EFD0D}"/>
              </a:ext>
            </a:extLst>
          </p:cNvPr>
          <p:cNvSpPr/>
          <p:nvPr userDrawn="1">
            <p:custDataLst>
              <p:tags r:id="rId2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2400" b="1" i="0" baseline="0" dirty="0">
              <a:latin typeface="UniCredit" panose="02000506040000020004" pitchFamily="2" charset="0"/>
              <a:ea typeface="+mj-ea"/>
              <a:cs typeface="Arial" panose="020B0604020202020204" pitchFamily="34" charset="0"/>
              <a:sym typeface="UniCredit" panose="02000506040000020004" pitchFamily="2" charset="0"/>
            </a:endParaRPr>
          </a:p>
        </p:txBody>
      </p:sp>
      <p:pic>
        <p:nvPicPr>
          <p:cNvPr id="12" name="UCOne" descr="sfere 2D.png"/>
          <p:cNvPicPr>
            <a:picLocks noChangeAspect="1"/>
          </p:cNvPicPr>
          <p:nvPr userDrawn="1"/>
        </p:nvPicPr>
        <p:blipFill>
          <a:blip r:embed="rId26" cstate="print">
            <a:extLst>
              <a:ext uri="{28A0092B-C50C-407E-A947-70E740481C1C}">
                <a14:useLocalDpi xmlns:a14="http://schemas.microsoft.com/office/drawing/2010/main" val="0"/>
              </a:ext>
            </a:extLst>
          </a:blip>
          <a:stretch>
            <a:fillRect/>
          </a:stretch>
        </p:blipFill>
        <p:spPr>
          <a:xfrm>
            <a:off x="8593200" y="4603824"/>
            <a:ext cx="359676" cy="359676"/>
          </a:xfrm>
          <a:prstGeom prst="rect">
            <a:avLst/>
          </a:prstGeom>
        </p:spPr>
      </p:pic>
      <p:sp>
        <p:nvSpPr>
          <p:cNvPr id="8" name="Headline"/>
          <p:cNvSpPr>
            <a:spLocks noChangeShapeType="1"/>
          </p:cNvSpPr>
          <p:nvPr/>
        </p:nvSpPr>
        <p:spPr bwMode="auto">
          <a:xfrm>
            <a:off x="0" y="720000"/>
            <a:ext cx="9144000" cy="0"/>
          </a:xfrm>
          <a:prstGeom prst="line">
            <a:avLst/>
          </a:prstGeom>
          <a:noFill/>
          <a:ln w="19050">
            <a:solidFill>
              <a:srgbClr val="00AFD0"/>
            </a:solidFill>
            <a:round/>
            <a:headEnd/>
            <a:tailEnd type="none" w="med" len="med"/>
          </a:ln>
          <a:extLst>
            <a:ext uri="{909E8E84-426E-40DD-AFC4-6F175D3DCCD1}">
              <a14:hiddenFill xmlns:a14="http://schemas.microsoft.com/office/drawing/2010/main">
                <a:noFill/>
              </a14:hiddenFill>
            </a:ext>
          </a:extLst>
        </p:spPr>
        <p:txBody>
          <a:bodyPr lIns="0" tIns="0" rIns="0" bIns="0" anchor="ctr">
            <a:spAutoFit/>
          </a:bodyPr>
          <a:lstStyle/>
          <a:p>
            <a:endParaRPr lang="en-GB" sz="100" noProof="0" dirty="0">
              <a:latin typeface="UniCredit" panose="02000506040000020004" pitchFamily="2" charset="0"/>
              <a:cs typeface="Arial" panose="020B0604020202020204" pitchFamily="34" charset="0"/>
            </a:endParaRPr>
          </a:p>
        </p:txBody>
      </p:sp>
      <p:sp>
        <p:nvSpPr>
          <p:cNvPr id="6" name="SlideNumber"/>
          <p:cNvSpPr>
            <a:spLocks noGrp="1"/>
          </p:cNvSpPr>
          <p:nvPr>
            <p:ph type="sldNum" sz="quarter" idx="4"/>
          </p:nvPr>
        </p:nvSpPr>
        <p:spPr>
          <a:xfrm>
            <a:off x="270000" y="4604400"/>
            <a:ext cx="270000" cy="360000"/>
          </a:xfrm>
          <a:prstGeom prst="rect">
            <a:avLst/>
          </a:prstGeom>
        </p:spPr>
        <p:txBody>
          <a:bodyPr vert="horz" lIns="0" tIns="0" rIns="0" bIns="0" rtlCol="0" anchor="ctr"/>
          <a:lstStyle>
            <a:lvl1pPr algn="l" fontAlgn="auto">
              <a:spcBef>
                <a:spcPts val="0"/>
              </a:spcBef>
              <a:spcAft>
                <a:spcPts val="0"/>
              </a:spcAft>
              <a:defRPr sz="900" baseline="0" smtClean="0">
                <a:solidFill>
                  <a:srgbClr val="00AFD0"/>
                </a:solidFill>
                <a:latin typeface="+mn-lt"/>
                <a:cs typeface="Arial" panose="020B0604020202020204" pitchFamily="34" charset="0"/>
              </a:defRPr>
            </a:lvl1pPr>
          </a:lstStyle>
          <a:p>
            <a:fld id="{9E8169F0-646E-455B-AF5A-6D6C02EAEAF6}" type="slidenum">
              <a:rPr lang="en-GB" noProof="1" smtClean="0"/>
              <a:pPr/>
              <a:t>‹#›</a:t>
            </a:fld>
            <a:endParaRPr lang="en-GB" noProof="1"/>
          </a:p>
        </p:txBody>
      </p:sp>
      <p:sp>
        <p:nvSpPr>
          <p:cNvPr id="3" name="Text"/>
          <p:cNvSpPr>
            <a:spLocks noGrp="1"/>
          </p:cNvSpPr>
          <p:nvPr>
            <p:ph type="body" idx="1"/>
          </p:nvPr>
        </p:nvSpPr>
        <p:spPr>
          <a:xfrm>
            <a:off x="270000" y="946800"/>
            <a:ext cx="8679600" cy="3312000"/>
          </a:xfrm>
          <a:prstGeom prst="rect">
            <a:avLst/>
          </a:prstGeom>
        </p:spPr>
        <p:txBody>
          <a:bodyPr vert="horz" lIns="0" tIns="0" rIns="0" bIns="0" rtlCol="0">
            <a:normAutofit/>
          </a:bodyPr>
          <a:lstStyle/>
          <a:p>
            <a:pPr lvl="0"/>
            <a:r>
              <a:rPr lang="en-GB" noProof="0" dirty="0"/>
              <a:t>Insert text</a:t>
            </a:r>
          </a:p>
          <a:p>
            <a:pPr lvl="1"/>
            <a:r>
              <a:rPr lang="en-GB" noProof="0" dirty="0"/>
              <a:t>2° level</a:t>
            </a:r>
          </a:p>
          <a:p>
            <a:pPr lvl="2"/>
            <a:r>
              <a:rPr lang="en-GB" noProof="0" dirty="0"/>
              <a:t>3° level</a:t>
            </a:r>
          </a:p>
          <a:p>
            <a:pPr lvl="3"/>
            <a:r>
              <a:rPr lang="en-GB" noProof="0" dirty="0"/>
              <a:t>4° level</a:t>
            </a:r>
          </a:p>
          <a:p>
            <a:pPr lvl="4"/>
            <a:r>
              <a:rPr lang="en-GB" noProof="0" dirty="0"/>
              <a:t>5° level</a:t>
            </a:r>
          </a:p>
        </p:txBody>
      </p:sp>
      <p:sp>
        <p:nvSpPr>
          <p:cNvPr id="2" name="Title"/>
          <p:cNvSpPr>
            <a:spLocks noGrp="1"/>
          </p:cNvSpPr>
          <p:nvPr>
            <p:ph type="title"/>
          </p:nvPr>
        </p:nvSpPr>
        <p:spPr>
          <a:xfrm>
            <a:off x="270000" y="0"/>
            <a:ext cx="8679600" cy="702000"/>
          </a:xfrm>
          <a:prstGeom prst="rect">
            <a:avLst/>
          </a:prstGeom>
        </p:spPr>
        <p:txBody>
          <a:bodyPr vert="horz" lIns="0" tIns="0" rIns="0" bIns="0" rtlCol="0" anchor="ctr">
            <a:noAutofit/>
          </a:bodyPr>
          <a:lstStyle/>
          <a:p>
            <a:pPr lvl="0">
              <a:lnSpc>
                <a:spcPts val="2400"/>
              </a:lnSpc>
            </a:pPr>
            <a:r>
              <a:rPr lang="en-GB" noProof="0" dirty="0"/>
              <a:t>Insert title</a:t>
            </a:r>
          </a:p>
        </p:txBody>
      </p:sp>
    </p:spTree>
    <p:extLst>
      <p:ext uri="{BB962C8B-B14F-4D97-AF65-F5344CB8AC3E}">
        <p14:creationId xmlns:p14="http://schemas.microsoft.com/office/powerpoint/2010/main" val="3014700259"/>
      </p:ext>
    </p:extLst>
  </p:cSld>
  <p:clrMap bg1="lt1" tx1="dk1" bg2="lt2" tx2="dk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 id="2147483732" r:id="rId12"/>
    <p:sldLayoutId id="2147483733" r:id="rId13"/>
    <p:sldLayoutId id="2147483734" r:id="rId14"/>
    <p:sldLayoutId id="2147483735" r:id="rId15"/>
    <p:sldLayoutId id="2147483736" r:id="rId16"/>
    <p:sldLayoutId id="2147483737" r:id="rId17"/>
    <p:sldLayoutId id="2147483738" r:id="rId18"/>
    <p:sldLayoutId id="2147483739" r:id="rId19"/>
  </p:sldLayoutIdLst>
  <p:hf hdr="0" dt="0"/>
  <p:txStyles>
    <p:titleStyle>
      <a:lvl1pPr algn="l" rtl="0" eaLnBrk="1" fontAlgn="base" hangingPunct="1">
        <a:spcBef>
          <a:spcPct val="0"/>
        </a:spcBef>
        <a:spcAft>
          <a:spcPct val="0"/>
        </a:spcAft>
        <a:defRPr lang="en-GB" sz="2400" b="1" kern="1200" noProof="0" dirty="0">
          <a:solidFill>
            <a:schemeClr val="tx1"/>
          </a:solidFill>
          <a:latin typeface="+mj-lt"/>
          <a:ea typeface="+mj-ea"/>
          <a:cs typeface="Arial" panose="020B0604020202020204" pitchFamily="34" charset="0"/>
        </a:defRPr>
      </a:lvl1pPr>
      <a:lvl2pPr algn="ctr" rtl="0" eaLnBrk="1" fontAlgn="base" hangingPunct="1">
        <a:spcBef>
          <a:spcPct val="0"/>
        </a:spcBef>
        <a:spcAft>
          <a:spcPct val="0"/>
        </a:spcAft>
        <a:defRPr sz="3300">
          <a:solidFill>
            <a:schemeClr val="tx1"/>
          </a:solidFill>
          <a:latin typeface="Arial" charset="0"/>
        </a:defRPr>
      </a:lvl2pPr>
      <a:lvl3pPr algn="ctr" rtl="0" eaLnBrk="1" fontAlgn="base" hangingPunct="1">
        <a:spcBef>
          <a:spcPct val="0"/>
        </a:spcBef>
        <a:spcAft>
          <a:spcPct val="0"/>
        </a:spcAft>
        <a:defRPr sz="3300">
          <a:solidFill>
            <a:schemeClr val="tx1"/>
          </a:solidFill>
          <a:latin typeface="Arial" charset="0"/>
        </a:defRPr>
      </a:lvl3pPr>
      <a:lvl4pPr algn="ctr" rtl="0" eaLnBrk="1" fontAlgn="base" hangingPunct="1">
        <a:spcBef>
          <a:spcPct val="0"/>
        </a:spcBef>
        <a:spcAft>
          <a:spcPct val="0"/>
        </a:spcAft>
        <a:defRPr sz="3300">
          <a:solidFill>
            <a:schemeClr val="tx1"/>
          </a:solidFill>
          <a:latin typeface="Arial" charset="0"/>
        </a:defRPr>
      </a:lvl4pPr>
      <a:lvl5pPr algn="ctr" rtl="0" eaLnBrk="1" fontAlgn="base" hangingPunct="1">
        <a:spcBef>
          <a:spcPct val="0"/>
        </a:spcBef>
        <a:spcAft>
          <a:spcPct val="0"/>
        </a:spcAft>
        <a:defRPr sz="3300">
          <a:solidFill>
            <a:schemeClr val="tx1"/>
          </a:solidFill>
          <a:latin typeface="Arial" charset="0"/>
        </a:defRPr>
      </a:lvl5pPr>
      <a:lvl6pPr marL="342875" algn="ctr" rtl="0" eaLnBrk="1" fontAlgn="base" hangingPunct="1">
        <a:spcBef>
          <a:spcPct val="0"/>
        </a:spcBef>
        <a:spcAft>
          <a:spcPct val="0"/>
        </a:spcAft>
        <a:defRPr sz="3300">
          <a:solidFill>
            <a:schemeClr val="tx1"/>
          </a:solidFill>
          <a:latin typeface="Arial" charset="0"/>
        </a:defRPr>
      </a:lvl6pPr>
      <a:lvl7pPr marL="685749" algn="ctr" rtl="0" eaLnBrk="1" fontAlgn="base" hangingPunct="1">
        <a:spcBef>
          <a:spcPct val="0"/>
        </a:spcBef>
        <a:spcAft>
          <a:spcPct val="0"/>
        </a:spcAft>
        <a:defRPr sz="3300">
          <a:solidFill>
            <a:schemeClr val="tx1"/>
          </a:solidFill>
          <a:latin typeface="Arial" charset="0"/>
        </a:defRPr>
      </a:lvl7pPr>
      <a:lvl8pPr marL="1028624" algn="ctr" rtl="0" eaLnBrk="1" fontAlgn="base" hangingPunct="1">
        <a:spcBef>
          <a:spcPct val="0"/>
        </a:spcBef>
        <a:spcAft>
          <a:spcPct val="0"/>
        </a:spcAft>
        <a:defRPr sz="3300">
          <a:solidFill>
            <a:schemeClr val="tx1"/>
          </a:solidFill>
          <a:latin typeface="Arial" charset="0"/>
        </a:defRPr>
      </a:lvl8pPr>
      <a:lvl9pPr marL="1371498" algn="ctr" rtl="0" eaLnBrk="1" fontAlgn="base" hangingPunct="1">
        <a:spcBef>
          <a:spcPct val="0"/>
        </a:spcBef>
        <a:spcAft>
          <a:spcPct val="0"/>
        </a:spcAft>
        <a:defRPr sz="3300">
          <a:solidFill>
            <a:schemeClr val="tx1"/>
          </a:solidFill>
          <a:latin typeface="Arial" charset="0"/>
        </a:defRPr>
      </a:lvl9pPr>
    </p:titleStyle>
    <p:bodyStyle>
      <a:lvl1pPr marL="176396" marR="0" indent="-176396" algn="l" defTabSz="342875" rtl="0" eaLnBrk="1" fontAlgn="auto" latinLnBrk="0" hangingPunct="1">
        <a:lnSpc>
          <a:spcPct val="100000"/>
        </a:lnSpc>
        <a:spcBef>
          <a:spcPct val="20000"/>
        </a:spcBef>
        <a:spcAft>
          <a:spcPts val="0"/>
        </a:spcAft>
        <a:buClr>
          <a:srgbClr val="E1061C"/>
        </a:buClr>
        <a:buSzTx/>
        <a:buFont typeface="Arial"/>
        <a:buChar char="•"/>
        <a:tabLst/>
        <a:defRPr sz="1600" kern="1200" baseline="0">
          <a:solidFill>
            <a:schemeClr val="tx1"/>
          </a:solidFill>
          <a:latin typeface="+mn-lt"/>
          <a:ea typeface="+mn-ea"/>
          <a:cs typeface="Arial" panose="020B0604020202020204" pitchFamily="34" charset="0"/>
        </a:defRPr>
      </a:lvl1pPr>
      <a:lvl2pPr marL="626384" marR="0" indent="-169196" algn="l" defTabSz="342875" rtl="0" eaLnBrk="1" fontAlgn="auto" latinLnBrk="0" hangingPunct="1">
        <a:lnSpc>
          <a:spcPct val="100000"/>
        </a:lnSpc>
        <a:spcBef>
          <a:spcPct val="20000"/>
        </a:spcBef>
        <a:spcAft>
          <a:spcPts val="0"/>
        </a:spcAft>
        <a:buClr>
          <a:srgbClr val="E1061C"/>
        </a:buClr>
        <a:buSzTx/>
        <a:buFont typeface="Arial"/>
        <a:buChar char="•"/>
        <a:tabLst/>
        <a:defRPr sz="1600" kern="1200" baseline="0">
          <a:solidFill>
            <a:schemeClr val="tx1"/>
          </a:solidFill>
          <a:latin typeface="+mn-lt"/>
          <a:ea typeface="+mn-ea"/>
          <a:cs typeface="Arial" panose="020B0604020202020204" pitchFamily="34" charset="0"/>
        </a:defRPr>
      </a:lvl2pPr>
      <a:lvl3pPr marL="1079973" marR="0" indent="-165596" algn="l" defTabSz="342875" rtl="0" eaLnBrk="1" fontAlgn="auto" latinLnBrk="0" hangingPunct="1">
        <a:lnSpc>
          <a:spcPct val="100000"/>
        </a:lnSpc>
        <a:spcBef>
          <a:spcPct val="20000"/>
        </a:spcBef>
        <a:spcAft>
          <a:spcPts val="0"/>
        </a:spcAft>
        <a:buClr>
          <a:srgbClr val="E1061C"/>
        </a:buClr>
        <a:buSzTx/>
        <a:buFont typeface="Arial"/>
        <a:buChar char="•"/>
        <a:tabLst/>
        <a:defRPr sz="1600" kern="1200" baseline="0">
          <a:solidFill>
            <a:schemeClr val="tx1"/>
          </a:solidFill>
          <a:latin typeface="+mn-lt"/>
          <a:ea typeface="+mn-ea"/>
          <a:cs typeface="Arial" panose="020B0604020202020204" pitchFamily="34" charset="0"/>
        </a:defRPr>
      </a:lvl3pPr>
      <a:lvl4pPr marL="1522762" marR="0" indent="-151196" algn="l" defTabSz="342875" rtl="0" eaLnBrk="1" fontAlgn="auto" latinLnBrk="0" hangingPunct="1">
        <a:lnSpc>
          <a:spcPct val="100000"/>
        </a:lnSpc>
        <a:spcBef>
          <a:spcPct val="20000"/>
        </a:spcBef>
        <a:spcAft>
          <a:spcPts val="0"/>
        </a:spcAft>
        <a:buClr>
          <a:srgbClr val="E1061C"/>
        </a:buClr>
        <a:buSzTx/>
        <a:buFont typeface="Arial"/>
        <a:buChar char="•"/>
        <a:tabLst/>
        <a:defRPr sz="1600" kern="1200" baseline="0">
          <a:solidFill>
            <a:schemeClr val="tx1"/>
          </a:solidFill>
          <a:latin typeface="+mn-lt"/>
          <a:ea typeface="+mn-ea"/>
          <a:cs typeface="Arial" panose="020B0604020202020204" pitchFamily="34" charset="0"/>
        </a:defRPr>
      </a:lvl4pPr>
      <a:lvl5pPr marL="1972751" marR="0" indent="-143996" algn="l" defTabSz="342875" rtl="0" eaLnBrk="1" fontAlgn="auto" latinLnBrk="0" hangingPunct="1">
        <a:lnSpc>
          <a:spcPct val="100000"/>
        </a:lnSpc>
        <a:spcBef>
          <a:spcPct val="20000"/>
        </a:spcBef>
        <a:spcAft>
          <a:spcPts val="0"/>
        </a:spcAft>
        <a:buClr>
          <a:srgbClr val="E1061C"/>
        </a:buClr>
        <a:buSzTx/>
        <a:buFont typeface="Arial"/>
        <a:buChar char="•"/>
        <a:tabLst/>
        <a:defRPr sz="1600" kern="1200" baseline="0">
          <a:solidFill>
            <a:schemeClr val="tx1"/>
          </a:solidFill>
          <a:latin typeface="+mn-lt"/>
          <a:ea typeface="+mn-ea"/>
          <a:cs typeface="Arial" panose="020B0604020202020204" pitchFamily="34" charset="0"/>
        </a:defRPr>
      </a:lvl5pPr>
      <a:lvl6pPr marL="1885809" indent="-171438" algn="l" defTabSz="685749"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684" indent="-171438" algn="l" defTabSz="685749"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558" indent="-171438" algn="l" defTabSz="685749"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433" indent="-171438" algn="l" defTabSz="685749"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de-DE"/>
      </a:defPPr>
      <a:lvl1pPr marL="0" algn="l" defTabSz="685749" rtl="0" eaLnBrk="1" latinLnBrk="0" hangingPunct="1">
        <a:defRPr sz="1350" kern="1200">
          <a:solidFill>
            <a:schemeClr val="tx1"/>
          </a:solidFill>
          <a:latin typeface="+mn-lt"/>
          <a:ea typeface="+mn-ea"/>
          <a:cs typeface="+mn-cs"/>
        </a:defRPr>
      </a:lvl1pPr>
      <a:lvl2pPr marL="342875" algn="l" defTabSz="685749" rtl="0" eaLnBrk="1" latinLnBrk="0" hangingPunct="1">
        <a:defRPr sz="1350" kern="1200">
          <a:solidFill>
            <a:schemeClr val="tx1"/>
          </a:solidFill>
          <a:latin typeface="+mn-lt"/>
          <a:ea typeface="+mn-ea"/>
          <a:cs typeface="+mn-cs"/>
        </a:defRPr>
      </a:lvl2pPr>
      <a:lvl3pPr marL="685749" algn="l" defTabSz="685749" rtl="0" eaLnBrk="1" latinLnBrk="0" hangingPunct="1">
        <a:defRPr sz="1350" kern="1200">
          <a:solidFill>
            <a:schemeClr val="tx1"/>
          </a:solidFill>
          <a:latin typeface="+mn-lt"/>
          <a:ea typeface="+mn-ea"/>
          <a:cs typeface="+mn-cs"/>
        </a:defRPr>
      </a:lvl3pPr>
      <a:lvl4pPr marL="1028624" algn="l" defTabSz="685749" rtl="0" eaLnBrk="1" latinLnBrk="0" hangingPunct="1">
        <a:defRPr sz="1350" kern="1200">
          <a:solidFill>
            <a:schemeClr val="tx1"/>
          </a:solidFill>
          <a:latin typeface="+mn-lt"/>
          <a:ea typeface="+mn-ea"/>
          <a:cs typeface="+mn-cs"/>
        </a:defRPr>
      </a:lvl4pPr>
      <a:lvl5pPr marL="1371498" algn="l" defTabSz="685749" rtl="0" eaLnBrk="1" latinLnBrk="0" hangingPunct="1">
        <a:defRPr sz="1350" kern="1200">
          <a:solidFill>
            <a:schemeClr val="tx1"/>
          </a:solidFill>
          <a:latin typeface="+mn-lt"/>
          <a:ea typeface="+mn-ea"/>
          <a:cs typeface="+mn-cs"/>
        </a:defRPr>
      </a:lvl5pPr>
      <a:lvl6pPr marL="1714373" algn="l" defTabSz="685749" rtl="0" eaLnBrk="1" latinLnBrk="0" hangingPunct="1">
        <a:defRPr sz="1350" kern="1200">
          <a:solidFill>
            <a:schemeClr val="tx1"/>
          </a:solidFill>
          <a:latin typeface="+mn-lt"/>
          <a:ea typeface="+mn-ea"/>
          <a:cs typeface="+mn-cs"/>
        </a:defRPr>
      </a:lvl6pPr>
      <a:lvl7pPr marL="2057246" algn="l" defTabSz="685749" rtl="0" eaLnBrk="1" latinLnBrk="0" hangingPunct="1">
        <a:defRPr sz="1350" kern="1200">
          <a:solidFill>
            <a:schemeClr val="tx1"/>
          </a:solidFill>
          <a:latin typeface="+mn-lt"/>
          <a:ea typeface="+mn-ea"/>
          <a:cs typeface="+mn-cs"/>
        </a:defRPr>
      </a:lvl7pPr>
      <a:lvl8pPr marL="2400120" algn="l" defTabSz="685749" rtl="0" eaLnBrk="1" latinLnBrk="0" hangingPunct="1">
        <a:defRPr sz="1350" kern="1200">
          <a:solidFill>
            <a:schemeClr val="tx1"/>
          </a:solidFill>
          <a:latin typeface="+mn-lt"/>
          <a:ea typeface="+mn-ea"/>
          <a:cs typeface="+mn-cs"/>
        </a:defRPr>
      </a:lvl8pPr>
      <a:lvl9pPr marL="2742995" algn="l" defTabSz="685749"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14.xml"/><Relationship Id="rId7" Type="http://schemas.openxmlformats.org/officeDocument/2006/relationships/image" Target="../media/image8.png"/><Relationship Id="rId2" Type="http://schemas.openxmlformats.org/officeDocument/2006/relationships/tags" Target="../tags/tag13.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8" Type="http://schemas.openxmlformats.org/officeDocument/2006/relationships/diagramLayout" Target="../diagrams/layout3.xml"/><Relationship Id="rId13" Type="http://schemas.openxmlformats.org/officeDocument/2006/relationships/diagramLayout" Target="../diagrams/layout4.xml"/><Relationship Id="rId18" Type="http://schemas.openxmlformats.org/officeDocument/2006/relationships/image" Target="../media/image20.png"/><Relationship Id="rId26" Type="http://schemas.openxmlformats.org/officeDocument/2006/relationships/image" Target="../media/image28.png"/><Relationship Id="rId3" Type="http://schemas.openxmlformats.org/officeDocument/2006/relationships/tags" Target="../tags/tag35.xml"/><Relationship Id="rId21" Type="http://schemas.openxmlformats.org/officeDocument/2006/relationships/image" Target="../media/image23.png"/><Relationship Id="rId34" Type="http://schemas.openxmlformats.org/officeDocument/2006/relationships/image" Target="../media/image36.png"/><Relationship Id="rId7" Type="http://schemas.openxmlformats.org/officeDocument/2006/relationships/diagramData" Target="../diagrams/data3.xml"/><Relationship Id="rId12" Type="http://schemas.openxmlformats.org/officeDocument/2006/relationships/diagramData" Target="../diagrams/data4.xml"/><Relationship Id="rId17" Type="http://schemas.openxmlformats.org/officeDocument/2006/relationships/image" Target="../media/image19.gif"/><Relationship Id="rId25" Type="http://schemas.openxmlformats.org/officeDocument/2006/relationships/image" Target="../media/image27.svg"/><Relationship Id="rId33" Type="http://schemas.openxmlformats.org/officeDocument/2006/relationships/image" Target="../media/image35.png"/><Relationship Id="rId2" Type="http://schemas.openxmlformats.org/officeDocument/2006/relationships/tags" Target="../tags/tag34.xml"/><Relationship Id="rId16" Type="http://schemas.microsoft.com/office/2007/relationships/diagramDrawing" Target="../diagrams/drawing4.xml"/><Relationship Id="rId20" Type="http://schemas.openxmlformats.org/officeDocument/2006/relationships/image" Target="../media/image22.png"/><Relationship Id="rId29" Type="http://schemas.openxmlformats.org/officeDocument/2006/relationships/image" Target="../media/image31.png"/><Relationship Id="rId1" Type="http://schemas.openxmlformats.org/officeDocument/2006/relationships/vmlDrawing" Target="../drawings/vmlDrawing15.vml"/><Relationship Id="rId6" Type="http://schemas.openxmlformats.org/officeDocument/2006/relationships/image" Target="../media/image10.emf"/><Relationship Id="rId11" Type="http://schemas.microsoft.com/office/2007/relationships/diagramDrawing" Target="../diagrams/drawing3.xml"/><Relationship Id="rId24" Type="http://schemas.openxmlformats.org/officeDocument/2006/relationships/image" Target="../media/image38.png"/><Relationship Id="rId32" Type="http://schemas.openxmlformats.org/officeDocument/2006/relationships/image" Target="../media/image34.png"/><Relationship Id="rId5" Type="http://schemas.openxmlformats.org/officeDocument/2006/relationships/oleObject" Target="../embeddings/oleObject15.bin"/><Relationship Id="rId15" Type="http://schemas.openxmlformats.org/officeDocument/2006/relationships/diagramColors" Target="../diagrams/colors4.xml"/><Relationship Id="rId23" Type="http://schemas.openxmlformats.org/officeDocument/2006/relationships/image" Target="../media/image25.png"/><Relationship Id="rId28" Type="http://schemas.openxmlformats.org/officeDocument/2006/relationships/image" Target="../media/image30.jpeg"/><Relationship Id="rId10" Type="http://schemas.openxmlformats.org/officeDocument/2006/relationships/diagramColors" Target="../diagrams/colors3.xml"/><Relationship Id="rId19" Type="http://schemas.openxmlformats.org/officeDocument/2006/relationships/image" Target="../media/image21.png"/><Relationship Id="rId31" Type="http://schemas.openxmlformats.org/officeDocument/2006/relationships/image" Target="../media/image33.png"/><Relationship Id="rId4" Type="http://schemas.openxmlformats.org/officeDocument/2006/relationships/slideLayout" Target="../slideLayouts/slideLayout2.xml"/><Relationship Id="rId9" Type="http://schemas.openxmlformats.org/officeDocument/2006/relationships/diagramQuickStyle" Target="../diagrams/quickStyle3.xml"/><Relationship Id="rId14" Type="http://schemas.openxmlformats.org/officeDocument/2006/relationships/diagramQuickStyle" Target="../diagrams/quickStyle4.xml"/><Relationship Id="rId22" Type="http://schemas.openxmlformats.org/officeDocument/2006/relationships/image" Target="../media/image24.png"/><Relationship Id="rId27" Type="http://schemas.openxmlformats.org/officeDocument/2006/relationships/image" Target="../media/image29.png"/><Relationship Id="rId30" Type="http://schemas.openxmlformats.org/officeDocument/2006/relationships/image" Target="../media/image32.png"/><Relationship Id="rId35" Type="http://schemas.openxmlformats.org/officeDocument/2006/relationships/image" Target="../media/image37.png"/></Relationships>
</file>

<file path=ppt/slides/_rels/slide11.xml.rels><?xml version="1.0" encoding="UTF-8" standalone="yes"?>
<Relationships xmlns="http://schemas.openxmlformats.org/package/2006/relationships"><Relationship Id="rId8" Type="http://schemas.openxmlformats.org/officeDocument/2006/relationships/image" Target="../media/image27.svg"/><Relationship Id="rId3" Type="http://schemas.openxmlformats.org/officeDocument/2006/relationships/tags" Target="../tags/tag37.xml"/><Relationship Id="rId7" Type="http://schemas.openxmlformats.org/officeDocument/2006/relationships/image" Target="../media/image26.png"/><Relationship Id="rId2" Type="http://schemas.openxmlformats.org/officeDocument/2006/relationships/tags" Target="../tags/tag36.xml"/><Relationship Id="rId1" Type="http://schemas.openxmlformats.org/officeDocument/2006/relationships/vmlDrawing" Target="../drawings/vmlDrawing16.vml"/><Relationship Id="rId6" Type="http://schemas.openxmlformats.org/officeDocument/2006/relationships/image" Target="../media/image10.emf"/><Relationship Id="rId5" Type="http://schemas.openxmlformats.org/officeDocument/2006/relationships/oleObject" Target="../embeddings/oleObject16.bin"/><Relationship Id="rId10" Type="http://schemas.openxmlformats.org/officeDocument/2006/relationships/hyperlink" Target="https://onboarding.devops.internal.unicreditgroup.eu/jira-integration/" TargetMode="External"/><Relationship Id="rId4" Type="http://schemas.openxmlformats.org/officeDocument/2006/relationships/slideLayout" Target="../slideLayouts/slideLayout2.xml"/><Relationship Id="rId9" Type="http://schemas.openxmlformats.org/officeDocument/2006/relationships/image" Target="../media/image28.png"/></Relationships>
</file>

<file path=ppt/slides/_rels/slide12.xml.rels><?xml version="1.0" encoding="UTF-8" standalone="yes"?>
<Relationships xmlns="http://schemas.openxmlformats.org/package/2006/relationships"><Relationship Id="rId8" Type="http://schemas.openxmlformats.org/officeDocument/2006/relationships/diagramLayout" Target="../diagrams/layout5.xml"/><Relationship Id="rId13" Type="http://schemas.openxmlformats.org/officeDocument/2006/relationships/diagramLayout" Target="../diagrams/layout6.xml"/><Relationship Id="rId18" Type="http://schemas.openxmlformats.org/officeDocument/2006/relationships/image" Target="../media/image20.png"/><Relationship Id="rId26" Type="http://schemas.openxmlformats.org/officeDocument/2006/relationships/image" Target="../media/image28.png"/><Relationship Id="rId3" Type="http://schemas.openxmlformats.org/officeDocument/2006/relationships/tags" Target="../tags/tag39.xml"/><Relationship Id="rId21" Type="http://schemas.openxmlformats.org/officeDocument/2006/relationships/image" Target="../media/image23.png"/><Relationship Id="rId34" Type="http://schemas.openxmlformats.org/officeDocument/2006/relationships/image" Target="../media/image36.png"/><Relationship Id="rId7" Type="http://schemas.openxmlformats.org/officeDocument/2006/relationships/diagramData" Target="../diagrams/data5.xml"/><Relationship Id="rId12" Type="http://schemas.openxmlformats.org/officeDocument/2006/relationships/diagramData" Target="../diagrams/data6.xml"/><Relationship Id="rId17" Type="http://schemas.openxmlformats.org/officeDocument/2006/relationships/image" Target="../media/image19.gif"/><Relationship Id="rId25" Type="http://schemas.openxmlformats.org/officeDocument/2006/relationships/image" Target="../media/image27.svg"/><Relationship Id="rId33" Type="http://schemas.openxmlformats.org/officeDocument/2006/relationships/image" Target="../media/image35.png"/><Relationship Id="rId2" Type="http://schemas.openxmlformats.org/officeDocument/2006/relationships/tags" Target="../tags/tag38.xml"/><Relationship Id="rId16" Type="http://schemas.microsoft.com/office/2007/relationships/diagramDrawing" Target="../diagrams/drawing6.xml"/><Relationship Id="rId20" Type="http://schemas.openxmlformats.org/officeDocument/2006/relationships/image" Target="../media/image22.png"/><Relationship Id="rId29" Type="http://schemas.openxmlformats.org/officeDocument/2006/relationships/image" Target="../media/image31.png"/><Relationship Id="rId1" Type="http://schemas.openxmlformats.org/officeDocument/2006/relationships/vmlDrawing" Target="../drawings/vmlDrawing17.vml"/><Relationship Id="rId6" Type="http://schemas.openxmlformats.org/officeDocument/2006/relationships/image" Target="../media/image10.emf"/><Relationship Id="rId11" Type="http://schemas.microsoft.com/office/2007/relationships/diagramDrawing" Target="../diagrams/drawing5.xml"/><Relationship Id="rId24" Type="http://schemas.openxmlformats.org/officeDocument/2006/relationships/image" Target="../media/image26.png"/><Relationship Id="rId32" Type="http://schemas.openxmlformats.org/officeDocument/2006/relationships/image" Target="../media/image34.png"/><Relationship Id="rId5" Type="http://schemas.openxmlformats.org/officeDocument/2006/relationships/oleObject" Target="../embeddings/oleObject17.bin"/><Relationship Id="rId15" Type="http://schemas.openxmlformats.org/officeDocument/2006/relationships/diagramColors" Target="../diagrams/colors6.xml"/><Relationship Id="rId23" Type="http://schemas.openxmlformats.org/officeDocument/2006/relationships/image" Target="../media/image25.png"/><Relationship Id="rId28" Type="http://schemas.openxmlformats.org/officeDocument/2006/relationships/image" Target="../media/image30.jpeg"/><Relationship Id="rId10" Type="http://schemas.openxmlformats.org/officeDocument/2006/relationships/diagramColors" Target="../diagrams/colors5.xml"/><Relationship Id="rId19" Type="http://schemas.openxmlformats.org/officeDocument/2006/relationships/image" Target="../media/image21.png"/><Relationship Id="rId31" Type="http://schemas.openxmlformats.org/officeDocument/2006/relationships/image" Target="../media/image33.png"/><Relationship Id="rId4" Type="http://schemas.openxmlformats.org/officeDocument/2006/relationships/slideLayout" Target="../slideLayouts/slideLayout2.xml"/><Relationship Id="rId9" Type="http://schemas.openxmlformats.org/officeDocument/2006/relationships/diagramQuickStyle" Target="../diagrams/quickStyle5.xml"/><Relationship Id="rId14" Type="http://schemas.openxmlformats.org/officeDocument/2006/relationships/diagramQuickStyle" Target="../diagrams/quickStyle6.xml"/><Relationship Id="rId22" Type="http://schemas.openxmlformats.org/officeDocument/2006/relationships/image" Target="../media/image24.png"/><Relationship Id="rId27" Type="http://schemas.openxmlformats.org/officeDocument/2006/relationships/image" Target="../media/image29.png"/><Relationship Id="rId30" Type="http://schemas.openxmlformats.org/officeDocument/2006/relationships/image" Target="../media/image32.png"/><Relationship Id="rId35" Type="http://schemas.openxmlformats.org/officeDocument/2006/relationships/image" Target="../media/image37.png"/></Relationships>
</file>

<file path=ppt/slides/_rels/slide13.xml.rels><?xml version="1.0" encoding="UTF-8" standalone="yes"?>
<Relationships xmlns="http://schemas.openxmlformats.org/package/2006/relationships"><Relationship Id="rId3" Type="http://schemas.openxmlformats.org/officeDocument/2006/relationships/tags" Target="../tags/tag41.xml"/><Relationship Id="rId7" Type="http://schemas.openxmlformats.org/officeDocument/2006/relationships/hyperlink" Target="https://onboarding.devops.internal.unicreditgroup.eu/svn-to-git/" TargetMode="External"/><Relationship Id="rId2" Type="http://schemas.openxmlformats.org/officeDocument/2006/relationships/tags" Target="../tags/tag40.xml"/><Relationship Id="rId1" Type="http://schemas.openxmlformats.org/officeDocument/2006/relationships/vmlDrawing" Target="../drawings/vmlDrawing18.vml"/><Relationship Id="rId6" Type="http://schemas.openxmlformats.org/officeDocument/2006/relationships/image" Target="../media/image10.emf"/><Relationship Id="rId5" Type="http://schemas.openxmlformats.org/officeDocument/2006/relationships/oleObject" Target="../embeddings/oleObject18.bin"/><Relationship Id="rId4"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8" Type="http://schemas.openxmlformats.org/officeDocument/2006/relationships/image" Target="../media/image40.png"/><Relationship Id="rId13" Type="http://schemas.openxmlformats.org/officeDocument/2006/relationships/hyperlink" Target="https://www.atlassian.com/git/tutorials/making-a-pull-request" TargetMode="External"/><Relationship Id="rId3" Type="http://schemas.openxmlformats.org/officeDocument/2006/relationships/tags" Target="../tags/tag43.xml"/><Relationship Id="rId7" Type="http://schemas.openxmlformats.org/officeDocument/2006/relationships/image" Target="../media/image39.png"/><Relationship Id="rId12" Type="http://schemas.openxmlformats.org/officeDocument/2006/relationships/hyperlink" Target="https://www.atlassian.com/git/tutorials/comparing-workflows" TargetMode="External"/><Relationship Id="rId2" Type="http://schemas.openxmlformats.org/officeDocument/2006/relationships/tags" Target="../tags/tag42.xml"/><Relationship Id="rId1" Type="http://schemas.openxmlformats.org/officeDocument/2006/relationships/vmlDrawing" Target="../drawings/vmlDrawing19.vml"/><Relationship Id="rId6" Type="http://schemas.openxmlformats.org/officeDocument/2006/relationships/image" Target="../media/image10.emf"/><Relationship Id="rId11" Type="http://schemas.openxmlformats.org/officeDocument/2006/relationships/image" Target="../media/image43.png"/><Relationship Id="rId5" Type="http://schemas.openxmlformats.org/officeDocument/2006/relationships/oleObject" Target="../embeddings/oleObject19.bin"/><Relationship Id="rId10" Type="http://schemas.openxmlformats.org/officeDocument/2006/relationships/image" Target="../media/image42.png"/><Relationship Id="rId4" Type="http://schemas.openxmlformats.org/officeDocument/2006/relationships/slideLayout" Target="../slideLayouts/slideLayout5.xml"/><Relationship Id="rId9" Type="http://schemas.openxmlformats.org/officeDocument/2006/relationships/image" Target="../media/image41.png"/></Relationships>
</file>

<file path=ppt/slides/_rels/slide15.xml.rels><?xml version="1.0" encoding="UTF-8" standalone="yes"?>
<Relationships xmlns="http://schemas.openxmlformats.org/package/2006/relationships"><Relationship Id="rId8" Type="http://schemas.openxmlformats.org/officeDocument/2006/relationships/diagramData" Target="../diagrams/data7.xml"/><Relationship Id="rId13" Type="http://schemas.openxmlformats.org/officeDocument/2006/relationships/diagramData" Target="../diagrams/data8.xml"/><Relationship Id="rId18" Type="http://schemas.openxmlformats.org/officeDocument/2006/relationships/image" Target="../media/image19.gif"/><Relationship Id="rId26" Type="http://schemas.openxmlformats.org/officeDocument/2006/relationships/image" Target="../media/image27.svg"/><Relationship Id="rId3" Type="http://schemas.openxmlformats.org/officeDocument/2006/relationships/tags" Target="../tags/tag45.xml"/><Relationship Id="rId21" Type="http://schemas.openxmlformats.org/officeDocument/2006/relationships/image" Target="../media/image22.png"/><Relationship Id="rId34" Type="http://schemas.openxmlformats.org/officeDocument/2006/relationships/image" Target="../media/image35.png"/><Relationship Id="rId7" Type="http://schemas.openxmlformats.org/officeDocument/2006/relationships/image" Target="../media/image10.emf"/><Relationship Id="rId12" Type="http://schemas.microsoft.com/office/2007/relationships/diagramDrawing" Target="../diagrams/drawing7.xml"/><Relationship Id="rId17" Type="http://schemas.microsoft.com/office/2007/relationships/diagramDrawing" Target="../diagrams/drawing8.xml"/><Relationship Id="rId25" Type="http://schemas.openxmlformats.org/officeDocument/2006/relationships/image" Target="../media/image26.png"/><Relationship Id="rId33" Type="http://schemas.openxmlformats.org/officeDocument/2006/relationships/image" Target="../media/image34.png"/><Relationship Id="rId2" Type="http://schemas.openxmlformats.org/officeDocument/2006/relationships/tags" Target="../tags/tag44.xml"/><Relationship Id="rId16" Type="http://schemas.openxmlformats.org/officeDocument/2006/relationships/diagramColors" Target="../diagrams/colors8.xml"/><Relationship Id="rId20" Type="http://schemas.openxmlformats.org/officeDocument/2006/relationships/image" Target="../media/image21.png"/><Relationship Id="rId29" Type="http://schemas.openxmlformats.org/officeDocument/2006/relationships/image" Target="../media/image30.jpeg"/><Relationship Id="rId1" Type="http://schemas.openxmlformats.org/officeDocument/2006/relationships/vmlDrawing" Target="../drawings/vmlDrawing20.vml"/><Relationship Id="rId6" Type="http://schemas.openxmlformats.org/officeDocument/2006/relationships/oleObject" Target="../embeddings/oleObject20.bin"/><Relationship Id="rId11" Type="http://schemas.openxmlformats.org/officeDocument/2006/relationships/diagramColors" Target="../diagrams/colors7.xml"/><Relationship Id="rId24" Type="http://schemas.openxmlformats.org/officeDocument/2006/relationships/image" Target="../media/image25.png"/><Relationship Id="rId32" Type="http://schemas.openxmlformats.org/officeDocument/2006/relationships/image" Target="../media/image33.png"/><Relationship Id="rId5" Type="http://schemas.openxmlformats.org/officeDocument/2006/relationships/notesSlide" Target="../notesSlides/notesSlide2.xml"/><Relationship Id="rId15" Type="http://schemas.openxmlformats.org/officeDocument/2006/relationships/diagramQuickStyle" Target="../diagrams/quickStyle8.xml"/><Relationship Id="rId23" Type="http://schemas.openxmlformats.org/officeDocument/2006/relationships/image" Target="../media/image24.png"/><Relationship Id="rId28" Type="http://schemas.openxmlformats.org/officeDocument/2006/relationships/image" Target="../media/image29.png"/><Relationship Id="rId36" Type="http://schemas.openxmlformats.org/officeDocument/2006/relationships/image" Target="../media/image37.png"/><Relationship Id="rId10" Type="http://schemas.openxmlformats.org/officeDocument/2006/relationships/diagramQuickStyle" Target="../diagrams/quickStyle7.xml"/><Relationship Id="rId19" Type="http://schemas.openxmlformats.org/officeDocument/2006/relationships/image" Target="../media/image20.png"/><Relationship Id="rId31" Type="http://schemas.openxmlformats.org/officeDocument/2006/relationships/image" Target="../media/image32.png"/><Relationship Id="rId4" Type="http://schemas.openxmlformats.org/officeDocument/2006/relationships/slideLayout" Target="../slideLayouts/slideLayout2.xml"/><Relationship Id="rId9" Type="http://schemas.openxmlformats.org/officeDocument/2006/relationships/diagramLayout" Target="../diagrams/layout7.xml"/><Relationship Id="rId14" Type="http://schemas.openxmlformats.org/officeDocument/2006/relationships/diagramLayout" Target="../diagrams/layout8.xml"/><Relationship Id="rId22" Type="http://schemas.openxmlformats.org/officeDocument/2006/relationships/image" Target="../media/image23.png"/><Relationship Id="rId27" Type="http://schemas.openxmlformats.org/officeDocument/2006/relationships/image" Target="../media/image28.png"/><Relationship Id="rId30" Type="http://schemas.openxmlformats.org/officeDocument/2006/relationships/image" Target="../media/image31.png"/><Relationship Id="rId35" Type="http://schemas.openxmlformats.org/officeDocument/2006/relationships/image" Target="../media/image36.png"/></Relationships>
</file>

<file path=ppt/slides/_rels/slide16.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tags" Target="../tags/tag47.xml"/><Relationship Id="rId7" Type="http://schemas.openxmlformats.org/officeDocument/2006/relationships/image" Target="../media/image44.png"/><Relationship Id="rId2" Type="http://schemas.openxmlformats.org/officeDocument/2006/relationships/tags" Target="../tags/tag46.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slideLayout" Target="../slideLayouts/slideLayout3.xml"/><Relationship Id="rId9" Type="http://schemas.openxmlformats.org/officeDocument/2006/relationships/image" Target="../media/image46.PNG"/></Relationships>
</file>

<file path=ppt/slides/_rels/slide17.xml.rels><?xml version="1.0" encoding="UTF-8" standalone="yes"?>
<Relationships xmlns="http://schemas.openxmlformats.org/package/2006/relationships"><Relationship Id="rId8" Type="http://schemas.openxmlformats.org/officeDocument/2006/relationships/diagramLayout" Target="../diagrams/layout9.xml"/><Relationship Id="rId13" Type="http://schemas.openxmlformats.org/officeDocument/2006/relationships/diagramLayout" Target="../diagrams/layout10.xml"/><Relationship Id="rId18" Type="http://schemas.openxmlformats.org/officeDocument/2006/relationships/image" Target="../media/image20.png"/><Relationship Id="rId26" Type="http://schemas.openxmlformats.org/officeDocument/2006/relationships/image" Target="../media/image28.png"/><Relationship Id="rId3" Type="http://schemas.openxmlformats.org/officeDocument/2006/relationships/tags" Target="../tags/tag49.xml"/><Relationship Id="rId21" Type="http://schemas.openxmlformats.org/officeDocument/2006/relationships/image" Target="../media/image23.png"/><Relationship Id="rId34" Type="http://schemas.openxmlformats.org/officeDocument/2006/relationships/image" Target="../media/image36.png"/><Relationship Id="rId7" Type="http://schemas.openxmlformats.org/officeDocument/2006/relationships/diagramData" Target="../diagrams/data9.xml"/><Relationship Id="rId12" Type="http://schemas.openxmlformats.org/officeDocument/2006/relationships/diagramData" Target="../diagrams/data10.xml"/><Relationship Id="rId17" Type="http://schemas.openxmlformats.org/officeDocument/2006/relationships/image" Target="../media/image19.gif"/><Relationship Id="rId25" Type="http://schemas.openxmlformats.org/officeDocument/2006/relationships/image" Target="../media/image27.svg"/><Relationship Id="rId33" Type="http://schemas.openxmlformats.org/officeDocument/2006/relationships/image" Target="../media/image35.png"/><Relationship Id="rId2" Type="http://schemas.openxmlformats.org/officeDocument/2006/relationships/tags" Target="../tags/tag48.xml"/><Relationship Id="rId16" Type="http://schemas.microsoft.com/office/2007/relationships/diagramDrawing" Target="../diagrams/drawing10.xml"/><Relationship Id="rId20" Type="http://schemas.openxmlformats.org/officeDocument/2006/relationships/image" Target="../media/image22.png"/><Relationship Id="rId29" Type="http://schemas.openxmlformats.org/officeDocument/2006/relationships/image" Target="../media/image31.png"/><Relationship Id="rId1" Type="http://schemas.openxmlformats.org/officeDocument/2006/relationships/vmlDrawing" Target="../drawings/vmlDrawing22.vml"/><Relationship Id="rId6" Type="http://schemas.openxmlformats.org/officeDocument/2006/relationships/image" Target="../media/image10.emf"/><Relationship Id="rId11" Type="http://schemas.microsoft.com/office/2007/relationships/diagramDrawing" Target="../diagrams/drawing9.xml"/><Relationship Id="rId24" Type="http://schemas.openxmlformats.org/officeDocument/2006/relationships/image" Target="../media/image38.png"/><Relationship Id="rId32" Type="http://schemas.openxmlformats.org/officeDocument/2006/relationships/image" Target="../media/image34.png"/><Relationship Id="rId5" Type="http://schemas.openxmlformats.org/officeDocument/2006/relationships/oleObject" Target="../embeddings/oleObject22.bin"/><Relationship Id="rId15" Type="http://schemas.openxmlformats.org/officeDocument/2006/relationships/diagramColors" Target="../diagrams/colors10.xml"/><Relationship Id="rId23" Type="http://schemas.openxmlformats.org/officeDocument/2006/relationships/image" Target="../media/image25.png"/><Relationship Id="rId28" Type="http://schemas.openxmlformats.org/officeDocument/2006/relationships/image" Target="../media/image30.jpeg"/><Relationship Id="rId10" Type="http://schemas.openxmlformats.org/officeDocument/2006/relationships/diagramColors" Target="../diagrams/colors9.xml"/><Relationship Id="rId19" Type="http://schemas.openxmlformats.org/officeDocument/2006/relationships/image" Target="../media/image21.png"/><Relationship Id="rId31" Type="http://schemas.openxmlformats.org/officeDocument/2006/relationships/image" Target="../media/image33.png"/><Relationship Id="rId4" Type="http://schemas.openxmlformats.org/officeDocument/2006/relationships/slideLayout" Target="../slideLayouts/slideLayout2.xml"/><Relationship Id="rId9" Type="http://schemas.openxmlformats.org/officeDocument/2006/relationships/diagramQuickStyle" Target="../diagrams/quickStyle9.xml"/><Relationship Id="rId14" Type="http://schemas.openxmlformats.org/officeDocument/2006/relationships/diagramQuickStyle" Target="../diagrams/quickStyle10.xml"/><Relationship Id="rId22" Type="http://schemas.openxmlformats.org/officeDocument/2006/relationships/image" Target="../media/image24.png"/><Relationship Id="rId27" Type="http://schemas.openxmlformats.org/officeDocument/2006/relationships/image" Target="../media/image29.png"/><Relationship Id="rId30" Type="http://schemas.openxmlformats.org/officeDocument/2006/relationships/image" Target="../media/image32.png"/><Relationship Id="rId35" Type="http://schemas.openxmlformats.org/officeDocument/2006/relationships/image" Target="../media/image37.png"/></Relationships>
</file>

<file path=ppt/slides/_rels/slide18.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tags" Target="../tags/tag51.xml"/><Relationship Id="rId7" Type="http://schemas.openxmlformats.org/officeDocument/2006/relationships/image" Target="../media/image47.png"/><Relationship Id="rId2" Type="http://schemas.openxmlformats.org/officeDocument/2006/relationships/tags" Target="../tags/tag50.xml"/><Relationship Id="rId1" Type="http://schemas.openxmlformats.org/officeDocument/2006/relationships/vmlDrawing" Target="../drawings/vmlDrawing23.vml"/><Relationship Id="rId6" Type="http://schemas.openxmlformats.org/officeDocument/2006/relationships/image" Target="../media/image10.emf"/><Relationship Id="rId5" Type="http://schemas.openxmlformats.org/officeDocument/2006/relationships/oleObject" Target="../embeddings/oleObject23.bin"/><Relationship Id="rId4"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8" Type="http://schemas.openxmlformats.org/officeDocument/2006/relationships/diagramLayout" Target="../diagrams/layout11.xml"/><Relationship Id="rId13" Type="http://schemas.openxmlformats.org/officeDocument/2006/relationships/diagramLayout" Target="../diagrams/layout12.xml"/><Relationship Id="rId18" Type="http://schemas.openxmlformats.org/officeDocument/2006/relationships/image" Target="../media/image20.png"/><Relationship Id="rId26" Type="http://schemas.openxmlformats.org/officeDocument/2006/relationships/image" Target="../media/image28.png"/><Relationship Id="rId3" Type="http://schemas.openxmlformats.org/officeDocument/2006/relationships/tags" Target="../tags/tag53.xml"/><Relationship Id="rId21" Type="http://schemas.openxmlformats.org/officeDocument/2006/relationships/image" Target="../media/image23.png"/><Relationship Id="rId34" Type="http://schemas.openxmlformats.org/officeDocument/2006/relationships/image" Target="../media/image36.png"/><Relationship Id="rId7" Type="http://schemas.openxmlformats.org/officeDocument/2006/relationships/diagramData" Target="../diagrams/data11.xml"/><Relationship Id="rId12" Type="http://schemas.openxmlformats.org/officeDocument/2006/relationships/diagramData" Target="../diagrams/data12.xml"/><Relationship Id="rId17" Type="http://schemas.openxmlformats.org/officeDocument/2006/relationships/image" Target="../media/image19.gif"/><Relationship Id="rId25" Type="http://schemas.openxmlformats.org/officeDocument/2006/relationships/image" Target="../media/image27.svg"/><Relationship Id="rId33" Type="http://schemas.openxmlformats.org/officeDocument/2006/relationships/image" Target="../media/image35.png"/><Relationship Id="rId2" Type="http://schemas.openxmlformats.org/officeDocument/2006/relationships/tags" Target="../tags/tag52.xml"/><Relationship Id="rId16" Type="http://schemas.microsoft.com/office/2007/relationships/diagramDrawing" Target="../diagrams/drawing12.xml"/><Relationship Id="rId20" Type="http://schemas.openxmlformats.org/officeDocument/2006/relationships/image" Target="../media/image22.png"/><Relationship Id="rId29" Type="http://schemas.openxmlformats.org/officeDocument/2006/relationships/image" Target="../media/image31.png"/><Relationship Id="rId1" Type="http://schemas.openxmlformats.org/officeDocument/2006/relationships/vmlDrawing" Target="../drawings/vmlDrawing24.vml"/><Relationship Id="rId6" Type="http://schemas.openxmlformats.org/officeDocument/2006/relationships/image" Target="../media/image10.emf"/><Relationship Id="rId11" Type="http://schemas.microsoft.com/office/2007/relationships/diagramDrawing" Target="../diagrams/drawing11.xml"/><Relationship Id="rId24" Type="http://schemas.openxmlformats.org/officeDocument/2006/relationships/image" Target="../media/image26.png"/><Relationship Id="rId32" Type="http://schemas.openxmlformats.org/officeDocument/2006/relationships/image" Target="../media/image34.png"/><Relationship Id="rId5" Type="http://schemas.openxmlformats.org/officeDocument/2006/relationships/oleObject" Target="../embeddings/oleObject24.bin"/><Relationship Id="rId15" Type="http://schemas.openxmlformats.org/officeDocument/2006/relationships/diagramColors" Target="../diagrams/colors12.xml"/><Relationship Id="rId23" Type="http://schemas.openxmlformats.org/officeDocument/2006/relationships/image" Target="../media/image25.png"/><Relationship Id="rId28" Type="http://schemas.openxmlformats.org/officeDocument/2006/relationships/image" Target="../media/image30.jpeg"/><Relationship Id="rId10" Type="http://schemas.openxmlformats.org/officeDocument/2006/relationships/diagramColors" Target="../diagrams/colors11.xml"/><Relationship Id="rId19" Type="http://schemas.openxmlformats.org/officeDocument/2006/relationships/image" Target="../media/image21.png"/><Relationship Id="rId31" Type="http://schemas.openxmlformats.org/officeDocument/2006/relationships/image" Target="../media/image33.png"/><Relationship Id="rId4" Type="http://schemas.openxmlformats.org/officeDocument/2006/relationships/slideLayout" Target="../slideLayouts/slideLayout2.xml"/><Relationship Id="rId9" Type="http://schemas.openxmlformats.org/officeDocument/2006/relationships/diagramQuickStyle" Target="../diagrams/quickStyle11.xml"/><Relationship Id="rId14" Type="http://schemas.openxmlformats.org/officeDocument/2006/relationships/diagramQuickStyle" Target="../diagrams/quickStyle12.xml"/><Relationship Id="rId22" Type="http://schemas.openxmlformats.org/officeDocument/2006/relationships/image" Target="../media/image24.png"/><Relationship Id="rId27" Type="http://schemas.openxmlformats.org/officeDocument/2006/relationships/image" Target="../media/image29.png"/><Relationship Id="rId30" Type="http://schemas.openxmlformats.org/officeDocument/2006/relationships/image" Target="../media/image32.png"/><Relationship Id="rId35" Type="http://schemas.openxmlformats.org/officeDocument/2006/relationships/image" Target="../media/image37.png"/></Relationships>
</file>

<file path=ppt/slides/_rels/slide2.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image" Target="../media/image11.png"/><Relationship Id="rId2" Type="http://schemas.openxmlformats.org/officeDocument/2006/relationships/tags" Target="../tags/tag15.xml"/><Relationship Id="rId1" Type="http://schemas.openxmlformats.org/officeDocument/2006/relationships/vmlDrawing" Target="../drawings/vmlDrawing7.vml"/><Relationship Id="rId6" Type="http://schemas.openxmlformats.org/officeDocument/2006/relationships/image" Target="../media/image10.emf"/><Relationship Id="rId5" Type="http://schemas.openxmlformats.org/officeDocument/2006/relationships/oleObject" Target="../embeddings/oleObject7.bin"/><Relationship Id="rId4"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tags" Target="../tags/tag55.xml"/><Relationship Id="rId2" Type="http://schemas.openxmlformats.org/officeDocument/2006/relationships/tags" Target="../tags/tag54.xml"/><Relationship Id="rId1" Type="http://schemas.openxmlformats.org/officeDocument/2006/relationships/vmlDrawing" Target="../drawings/vmlDrawing25.vml"/><Relationship Id="rId6" Type="http://schemas.openxmlformats.org/officeDocument/2006/relationships/image" Target="../media/image12.emf"/><Relationship Id="rId5" Type="http://schemas.openxmlformats.org/officeDocument/2006/relationships/oleObject" Target="../embeddings/oleObject25.bin"/><Relationship Id="rId4"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2.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tags" Target="../tags/tag57.xml"/><Relationship Id="rId7" Type="http://schemas.openxmlformats.org/officeDocument/2006/relationships/oleObject" Target="../embeddings/oleObject26.bin"/><Relationship Id="rId12" Type="http://schemas.openxmlformats.org/officeDocument/2006/relationships/image" Target="../media/image52.png"/><Relationship Id="rId2" Type="http://schemas.openxmlformats.org/officeDocument/2006/relationships/tags" Target="../tags/tag56.xml"/><Relationship Id="rId1" Type="http://schemas.openxmlformats.org/officeDocument/2006/relationships/vmlDrawing" Target="../drawings/vmlDrawing26.vml"/><Relationship Id="rId6" Type="http://schemas.openxmlformats.org/officeDocument/2006/relationships/notesSlide" Target="../notesSlides/notesSlide3.xml"/><Relationship Id="rId11" Type="http://schemas.openxmlformats.org/officeDocument/2006/relationships/image" Target="../media/image51.png"/><Relationship Id="rId5" Type="http://schemas.openxmlformats.org/officeDocument/2006/relationships/slideLayout" Target="../slideLayouts/slideLayout17.xml"/><Relationship Id="rId10" Type="http://schemas.openxmlformats.org/officeDocument/2006/relationships/image" Target="../media/image50.png"/><Relationship Id="rId4" Type="http://schemas.openxmlformats.org/officeDocument/2006/relationships/tags" Target="../tags/tag58.xml"/><Relationship Id="rId9" Type="http://schemas.openxmlformats.org/officeDocument/2006/relationships/image" Target="../media/image49.jpeg"/></Relationships>
</file>

<file path=ppt/slides/_rels/slide23.xml.rels><?xml version="1.0" encoding="UTF-8" standalone="yes"?>
<Relationships xmlns="http://schemas.openxmlformats.org/package/2006/relationships"><Relationship Id="rId8" Type="http://schemas.openxmlformats.org/officeDocument/2006/relationships/diagramLayout" Target="../diagrams/layout13.xml"/><Relationship Id="rId13" Type="http://schemas.openxmlformats.org/officeDocument/2006/relationships/diagramLayout" Target="../diagrams/layout14.xml"/><Relationship Id="rId18" Type="http://schemas.openxmlformats.org/officeDocument/2006/relationships/image" Target="../media/image20.png"/><Relationship Id="rId26" Type="http://schemas.openxmlformats.org/officeDocument/2006/relationships/image" Target="../media/image28.png"/><Relationship Id="rId3" Type="http://schemas.openxmlformats.org/officeDocument/2006/relationships/tags" Target="../tags/tag60.xml"/><Relationship Id="rId21" Type="http://schemas.openxmlformats.org/officeDocument/2006/relationships/image" Target="../media/image23.png"/><Relationship Id="rId34" Type="http://schemas.openxmlformats.org/officeDocument/2006/relationships/image" Target="../media/image36.png"/><Relationship Id="rId7" Type="http://schemas.openxmlformats.org/officeDocument/2006/relationships/diagramData" Target="../diagrams/data13.xml"/><Relationship Id="rId12" Type="http://schemas.openxmlformats.org/officeDocument/2006/relationships/diagramData" Target="../diagrams/data14.xml"/><Relationship Id="rId17" Type="http://schemas.openxmlformats.org/officeDocument/2006/relationships/image" Target="../media/image19.gif"/><Relationship Id="rId25" Type="http://schemas.openxmlformats.org/officeDocument/2006/relationships/image" Target="../media/image27.svg"/><Relationship Id="rId33" Type="http://schemas.openxmlformats.org/officeDocument/2006/relationships/image" Target="../media/image35.png"/><Relationship Id="rId2" Type="http://schemas.openxmlformats.org/officeDocument/2006/relationships/tags" Target="../tags/tag59.xml"/><Relationship Id="rId16" Type="http://schemas.microsoft.com/office/2007/relationships/diagramDrawing" Target="../diagrams/drawing14.xml"/><Relationship Id="rId20" Type="http://schemas.openxmlformats.org/officeDocument/2006/relationships/image" Target="../media/image22.png"/><Relationship Id="rId29" Type="http://schemas.openxmlformats.org/officeDocument/2006/relationships/image" Target="../media/image31.png"/><Relationship Id="rId1" Type="http://schemas.openxmlformats.org/officeDocument/2006/relationships/vmlDrawing" Target="../drawings/vmlDrawing27.vml"/><Relationship Id="rId6" Type="http://schemas.openxmlformats.org/officeDocument/2006/relationships/image" Target="../media/image10.emf"/><Relationship Id="rId11" Type="http://schemas.microsoft.com/office/2007/relationships/diagramDrawing" Target="../diagrams/drawing13.xml"/><Relationship Id="rId24" Type="http://schemas.openxmlformats.org/officeDocument/2006/relationships/image" Target="../media/image26.png"/><Relationship Id="rId32" Type="http://schemas.openxmlformats.org/officeDocument/2006/relationships/image" Target="../media/image34.png"/><Relationship Id="rId5" Type="http://schemas.openxmlformats.org/officeDocument/2006/relationships/oleObject" Target="../embeddings/oleObject27.bin"/><Relationship Id="rId15" Type="http://schemas.openxmlformats.org/officeDocument/2006/relationships/diagramColors" Target="../diagrams/colors14.xml"/><Relationship Id="rId23" Type="http://schemas.openxmlformats.org/officeDocument/2006/relationships/image" Target="../media/image25.png"/><Relationship Id="rId28" Type="http://schemas.openxmlformats.org/officeDocument/2006/relationships/image" Target="../media/image30.jpeg"/><Relationship Id="rId10" Type="http://schemas.openxmlformats.org/officeDocument/2006/relationships/diagramColors" Target="../diagrams/colors13.xml"/><Relationship Id="rId19" Type="http://schemas.openxmlformats.org/officeDocument/2006/relationships/image" Target="../media/image21.png"/><Relationship Id="rId31" Type="http://schemas.openxmlformats.org/officeDocument/2006/relationships/image" Target="../media/image33.png"/><Relationship Id="rId4" Type="http://schemas.openxmlformats.org/officeDocument/2006/relationships/slideLayout" Target="../slideLayouts/slideLayout2.xml"/><Relationship Id="rId9" Type="http://schemas.openxmlformats.org/officeDocument/2006/relationships/diagramQuickStyle" Target="../diagrams/quickStyle13.xml"/><Relationship Id="rId14" Type="http://schemas.openxmlformats.org/officeDocument/2006/relationships/diagramQuickStyle" Target="../diagrams/quickStyle14.xml"/><Relationship Id="rId22" Type="http://schemas.openxmlformats.org/officeDocument/2006/relationships/image" Target="../media/image24.png"/><Relationship Id="rId27" Type="http://schemas.openxmlformats.org/officeDocument/2006/relationships/image" Target="../media/image29.png"/><Relationship Id="rId30" Type="http://schemas.openxmlformats.org/officeDocument/2006/relationships/image" Target="../media/image32.png"/><Relationship Id="rId35" Type="http://schemas.openxmlformats.org/officeDocument/2006/relationships/image" Target="../media/image37.png"/></Relationships>
</file>

<file path=ppt/slides/_rels/slide24.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tags" Target="../tags/tag62.xml"/><Relationship Id="rId7" Type="http://schemas.openxmlformats.org/officeDocument/2006/relationships/hyperlink" Target="https://owasp.org/www-project-top-ten/" TargetMode="External"/><Relationship Id="rId2" Type="http://schemas.openxmlformats.org/officeDocument/2006/relationships/tags" Target="../tags/tag61.xml"/><Relationship Id="rId1" Type="http://schemas.openxmlformats.org/officeDocument/2006/relationships/vmlDrawing" Target="../drawings/vmlDrawing28.v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tags" Target="../tags/tag64.xml"/><Relationship Id="rId2" Type="http://schemas.openxmlformats.org/officeDocument/2006/relationships/tags" Target="../tags/tag63.xml"/><Relationship Id="rId1" Type="http://schemas.openxmlformats.org/officeDocument/2006/relationships/vmlDrawing" Target="../drawings/vmlDrawing29.vml"/><Relationship Id="rId6" Type="http://schemas.openxmlformats.org/officeDocument/2006/relationships/image" Target="../media/image10.emf"/><Relationship Id="rId5" Type="http://schemas.openxmlformats.org/officeDocument/2006/relationships/oleObject" Target="../embeddings/oleObject29.bin"/><Relationship Id="rId4"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8" Type="http://schemas.openxmlformats.org/officeDocument/2006/relationships/diagramLayout" Target="../diagrams/layout15.xml"/><Relationship Id="rId13" Type="http://schemas.openxmlformats.org/officeDocument/2006/relationships/diagramLayout" Target="../diagrams/layout16.xml"/><Relationship Id="rId18" Type="http://schemas.openxmlformats.org/officeDocument/2006/relationships/image" Target="../media/image20.png"/><Relationship Id="rId26" Type="http://schemas.openxmlformats.org/officeDocument/2006/relationships/image" Target="../media/image28.png"/><Relationship Id="rId3" Type="http://schemas.openxmlformats.org/officeDocument/2006/relationships/tags" Target="../tags/tag66.xml"/><Relationship Id="rId21" Type="http://schemas.openxmlformats.org/officeDocument/2006/relationships/image" Target="../media/image23.png"/><Relationship Id="rId34" Type="http://schemas.openxmlformats.org/officeDocument/2006/relationships/image" Target="../media/image36.png"/><Relationship Id="rId7" Type="http://schemas.openxmlformats.org/officeDocument/2006/relationships/diagramData" Target="../diagrams/data15.xml"/><Relationship Id="rId12" Type="http://schemas.openxmlformats.org/officeDocument/2006/relationships/diagramData" Target="../diagrams/data16.xml"/><Relationship Id="rId17" Type="http://schemas.openxmlformats.org/officeDocument/2006/relationships/image" Target="../media/image19.gif"/><Relationship Id="rId25" Type="http://schemas.openxmlformats.org/officeDocument/2006/relationships/image" Target="../media/image27.svg"/><Relationship Id="rId33" Type="http://schemas.openxmlformats.org/officeDocument/2006/relationships/image" Target="../media/image35.png"/><Relationship Id="rId2" Type="http://schemas.openxmlformats.org/officeDocument/2006/relationships/tags" Target="../tags/tag65.xml"/><Relationship Id="rId16" Type="http://schemas.microsoft.com/office/2007/relationships/diagramDrawing" Target="../diagrams/drawing16.xml"/><Relationship Id="rId20" Type="http://schemas.openxmlformats.org/officeDocument/2006/relationships/image" Target="../media/image22.png"/><Relationship Id="rId29" Type="http://schemas.openxmlformats.org/officeDocument/2006/relationships/image" Target="../media/image31.png"/><Relationship Id="rId1" Type="http://schemas.openxmlformats.org/officeDocument/2006/relationships/vmlDrawing" Target="../drawings/vmlDrawing30.vml"/><Relationship Id="rId6" Type="http://schemas.openxmlformats.org/officeDocument/2006/relationships/image" Target="../media/image10.emf"/><Relationship Id="rId11" Type="http://schemas.microsoft.com/office/2007/relationships/diagramDrawing" Target="../diagrams/drawing15.xml"/><Relationship Id="rId24" Type="http://schemas.openxmlformats.org/officeDocument/2006/relationships/image" Target="../media/image26.png"/><Relationship Id="rId32" Type="http://schemas.openxmlformats.org/officeDocument/2006/relationships/image" Target="../media/image34.png"/><Relationship Id="rId5" Type="http://schemas.openxmlformats.org/officeDocument/2006/relationships/oleObject" Target="../embeddings/oleObject30.bin"/><Relationship Id="rId15" Type="http://schemas.openxmlformats.org/officeDocument/2006/relationships/diagramColors" Target="../diagrams/colors16.xml"/><Relationship Id="rId23" Type="http://schemas.openxmlformats.org/officeDocument/2006/relationships/image" Target="../media/image25.png"/><Relationship Id="rId28" Type="http://schemas.openxmlformats.org/officeDocument/2006/relationships/image" Target="../media/image30.jpeg"/><Relationship Id="rId10" Type="http://schemas.openxmlformats.org/officeDocument/2006/relationships/diagramColors" Target="../diagrams/colors15.xml"/><Relationship Id="rId19" Type="http://schemas.openxmlformats.org/officeDocument/2006/relationships/image" Target="../media/image21.png"/><Relationship Id="rId31" Type="http://schemas.openxmlformats.org/officeDocument/2006/relationships/image" Target="../media/image33.png"/><Relationship Id="rId4" Type="http://schemas.openxmlformats.org/officeDocument/2006/relationships/slideLayout" Target="../slideLayouts/slideLayout17.xml"/><Relationship Id="rId9" Type="http://schemas.openxmlformats.org/officeDocument/2006/relationships/diagramQuickStyle" Target="../diagrams/quickStyle15.xml"/><Relationship Id="rId14" Type="http://schemas.openxmlformats.org/officeDocument/2006/relationships/diagramQuickStyle" Target="../diagrams/quickStyle16.xml"/><Relationship Id="rId22" Type="http://schemas.openxmlformats.org/officeDocument/2006/relationships/image" Target="../media/image24.png"/><Relationship Id="rId27" Type="http://schemas.openxmlformats.org/officeDocument/2006/relationships/image" Target="../media/image29.png"/><Relationship Id="rId30" Type="http://schemas.openxmlformats.org/officeDocument/2006/relationships/image" Target="../media/image32.png"/><Relationship Id="rId35" Type="http://schemas.openxmlformats.org/officeDocument/2006/relationships/image" Target="../media/image37.png"/></Relationships>
</file>

<file path=ppt/slides/_rels/slide27.xml.rels><?xml version="1.0" encoding="UTF-8" standalone="yes"?>
<Relationships xmlns="http://schemas.openxmlformats.org/package/2006/relationships"><Relationship Id="rId8" Type="http://schemas.openxmlformats.org/officeDocument/2006/relationships/image" Target="../media/image31.png"/><Relationship Id="rId13" Type="http://schemas.openxmlformats.org/officeDocument/2006/relationships/image" Target="../media/image43.png"/><Relationship Id="rId3" Type="http://schemas.openxmlformats.org/officeDocument/2006/relationships/tags" Target="../tags/tag68.xml"/><Relationship Id="rId7" Type="http://schemas.openxmlformats.org/officeDocument/2006/relationships/image" Target="../media/image54.png"/><Relationship Id="rId12" Type="http://schemas.openxmlformats.org/officeDocument/2006/relationships/image" Target="../media/image57.png"/><Relationship Id="rId2" Type="http://schemas.openxmlformats.org/officeDocument/2006/relationships/tags" Target="../tags/tag67.xml"/><Relationship Id="rId1" Type="http://schemas.openxmlformats.org/officeDocument/2006/relationships/vmlDrawing" Target="../drawings/vmlDrawing31.vml"/><Relationship Id="rId6" Type="http://schemas.openxmlformats.org/officeDocument/2006/relationships/image" Target="../media/image10.emf"/><Relationship Id="rId11" Type="http://schemas.openxmlformats.org/officeDocument/2006/relationships/image" Target="../media/image56.png"/><Relationship Id="rId5" Type="http://schemas.openxmlformats.org/officeDocument/2006/relationships/oleObject" Target="../embeddings/oleObject31.bin"/><Relationship Id="rId10" Type="http://schemas.openxmlformats.org/officeDocument/2006/relationships/image" Target="../media/image55.png"/><Relationship Id="rId4" Type="http://schemas.openxmlformats.org/officeDocument/2006/relationships/slideLayout" Target="../slideLayouts/slideLayout34.xml"/><Relationship Id="rId9" Type="http://schemas.openxmlformats.org/officeDocument/2006/relationships/chart" Target="../charts/chart1.xml"/></Relationships>
</file>

<file path=ppt/slides/_rels/slide28.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34.xml"/><Relationship Id="rId4" Type="http://schemas.openxmlformats.org/officeDocument/2006/relationships/image" Target="../media/image60.png"/></Relationships>
</file>

<file path=ppt/slides/_rels/slide29.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tags" Target="../tags/tag70.xml"/><Relationship Id="rId7" Type="http://schemas.openxmlformats.org/officeDocument/2006/relationships/image" Target="../media/image10.emf"/><Relationship Id="rId12" Type="http://schemas.openxmlformats.org/officeDocument/2006/relationships/image" Target="../media/image65.png"/><Relationship Id="rId2" Type="http://schemas.openxmlformats.org/officeDocument/2006/relationships/tags" Target="../tags/tag69.xml"/><Relationship Id="rId1" Type="http://schemas.openxmlformats.org/officeDocument/2006/relationships/vmlDrawing" Target="../drawings/vmlDrawing32.vml"/><Relationship Id="rId6" Type="http://schemas.openxmlformats.org/officeDocument/2006/relationships/oleObject" Target="../embeddings/oleObject32.bin"/><Relationship Id="rId11" Type="http://schemas.openxmlformats.org/officeDocument/2006/relationships/image" Target="../media/image64.png"/><Relationship Id="rId5" Type="http://schemas.openxmlformats.org/officeDocument/2006/relationships/notesSlide" Target="../notesSlides/notesSlide4.xml"/><Relationship Id="rId10" Type="http://schemas.openxmlformats.org/officeDocument/2006/relationships/image" Target="../media/image63.png"/><Relationship Id="rId4" Type="http://schemas.openxmlformats.org/officeDocument/2006/relationships/slideLayout" Target="../slideLayouts/slideLayout17.xml"/><Relationship Id="rId9" Type="http://schemas.openxmlformats.org/officeDocument/2006/relationships/image" Target="../media/image62.jpe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7.xml"/><Relationship Id="rId1" Type="http://schemas.openxmlformats.org/officeDocument/2006/relationships/vmlDrawing" Target="../drawings/vmlDrawing8.vml"/><Relationship Id="rId6" Type="http://schemas.openxmlformats.org/officeDocument/2006/relationships/image" Target="../media/image13.jpeg"/><Relationship Id="rId5" Type="http://schemas.openxmlformats.org/officeDocument/2006/relationships/image" Target="../media/image12.emf"/><Relationship Id="rId4" Type="http://schemas.openxmlformats.org/officeDocument/2006/relationships/oleObject" Target="../embeddings/oleObject8.bin"/></Relationships>
</file>

<file path=ppt/slides/_rels/slide30.xml.rels><?xml version="1.0" encoding="UTF-8" standalone="yes"?>
<Relationships xmlns="http://schemas.openxmlformats.org/package/2006/relationships"><Relationship Id="rId8" Type="http://schemas.openxmlformats.org/officeDocument/2006/relationships/image" Target="../media/image67.png"/><Relationship Id="rId13" Type="http://schemas.openxmlformats.org/officeDocument/2006/relationships/image" Target="../media/image57.png"/><Relationship Id="rId3" Type="http://schemas.openxmlformats.org/officeDocument/2006/relationships/tags" Target="../tags/tag72.xml"/><Relationship Id="rId7" Type="http://schemas.openxmlformats.org/officeDocument/2006/relationships/image" Target="../media/image66.png"/><Relationship Id="rId12" Type="http://schemas.openxmlformats.org/officeDocument/2006/relationships/image" Target="../media/image62.jpeg"/><Relationship Id="rId2" Type="http://schemas.openxmlformats.org/officeDocument/2006/relationships/tags" Target="../tags/tag71.xml"/><Relationship Id="rId1" Type="http://schemas.openxmlformats.org/officeDocument/2006/relationships/vmlDrawing" Target="../drawings/vmlDrawing33.vml"/><Relationship Id="rId6" Type="http://schemas.openxmlformats.org/officeDocument/2006/relationships/image" Target="../media/image10.emf"/><Relationship Id="rId11" Type="http://schemas.openxmlformats.org/officeDocument/2006/relationships/image" Target="../media/image69.png"/><Relationship Id="rId5" Type="http://schemas.openxmlformats.org/officeDocument/2006/relationships/oleObject" Target="../embeddings/oleObject33.bin"/><Relationship Id="rId10" Type="http://schemas.openxmlformats.org/officeDocument/2006/relationships/image" Target="../media/image68.jpeg"/><Relationship Id="rId4" Type="http://schemas.openxmlformats.org/officeDocument/2006/relationships/slideLayout" Target="../slideLayouts/slideLayout20.xml"/><Relationship Id="rId9" Type="http://schemas.openxmlformats.org/officeDocument/2006/relationships/image" Target="../media/image61.png"/><Relationship Id="rId14" Type="http://schemas.openxmlformats.org/officeDocument/2006/relationships/image" Target="../media/image70.png"/></Relationships>
</file>

<file path=ppt/slides/_rels/slide31.xml.rels><?xml version="1.0" encoding="UTF-8" standalone="yes"?>
<Relationships xmlns="http://schemas.openxmlformats.org/package/2006/relationships"><Relationship Id="rId8" Type="http://schemas.openxmlformats.org/officeDocument/2006/relationships/image" Target="../media/image71.png"/><Relationship Id="rId3" Type="http://schemas.openxmlformats.org/officeDocument/2006/relationships/tags" Target="../tags/tag74.xml"/><Relationship Id="rId7" Type="http://schemas.openxmlformats.org/officeDocument/2006/relationships/image" Target="../media/image2.png"/><Relationship Id="rId2" Type="http://schemas.openxmlformats.org/officeDocument/2006/relationships/tags" Target="../tags/tag73.xml"/><Relationship Id="rId1" Type="http://schemas.openxmlformats.org/officeDocument/2006/relationships/vmlDrawing" Target="../drawings/vmlDrawing34.vml"/><Relationship Id="rId6" Type="http://schemas.openxmlformats.org/officeDocument/2006/relationships/image" Target="../media/image10.emf"/><Relationship Id="rId11" Type="http://schemas.openxmlformats.org/officeDocument/2006/relationships/hyperlink" Target="https://youtu.be/x3MvZ8DFrpE" TargetMode="External"/><Relationship Id="rId5" Type="http://schemas.openxmlformats.org/officeDocument/2006/relationships/oleObject" Target="../embeddings/oleObject34.bin"/><Relationship Id="rId10" Type="http://schemas.openxmlformats.org/officeDocument/2006/relationships/hyperlink" Target="http://wiremock.org/docs/record-playback/" TargetMode="External"/><Relationship Id="rId4" Type="http://schemas.openxmlformats.org/officeDocument/2006/relationships/slideLayout" Target="../slideLayouts/slideLayout21.xml"/><Relationship Id="rId9" Type="http://schemas.openxmlformats.org/officeDocument/2006/relationships/image" Target="../media/image72.png"/></Relationships>
</file>

<file path=ppt/slides/_rels/slide32.xml.rels><?xml version="1.0" encoding="UTF-8" standalone="yes"?>
<Relationships xmlns="http://schemas.openxmlformats.org/package/2006/relationships"><Relationship Id="rId3" Type="http://schemas.openxmlformats.org/officeDocument/2006/relationships/tags" Target="../tags/tag76.xml"/><Relationship Id="rId2" Type="http://schemas.openxmlformats.org/officeDocument/2006/relationships/tags" Target="../tags/tag75.xml"/><Relationship Id="rId1" Type="http://schemas.openxmlformats.org/officeDocument/2006/relationships/vmlDrawing" Target="../drawings/vmlDrawing35.vml"/><Relationship Id="rId6" Type="http://schemas.openxmlformats.org/officeDocument/2006/relationships/image" Target="../media/image12.emf"/><Relationship Id="rId5" Type="http://schemas.openxmlformats.org/officeDocument/2006/relationships/oleObject" Target="../embeddings/oleObject35.bin"/><Relationship Id="rId4" Type="http://schemas.openxmlformats.org/officeDocument/2006/relationships/slideLayout" Target="../slideLayouts/slideLayout32.xml"/></Relationships>
</file>

<file path=ppt/slides/_rels/slide33.xml.rels><?xml version="1.0" encoding="UTF-8" standalone="yes"?>
<Relationships xmlns="http://schemas.openxmlformats.org/package/2006/relationships"><Relationship Id="rId3" Type="http://schemas.openxmlformats.org/officeDocument/2006/relationships/tags" Target="../tags/tag78.xml"/><Relationship Id="rId2" Type="http://schemas.openxmlformats.org/officeDocument/2006/relationships/tags" Target="../tags/tag77.xml"/><Relationship Id="rId1" Type="http://schemas.openxmlformats.org/officeDocument/2006/relationships/vmlDrawing" Target="../drawings/vmlDrawing36.vml"/><Relationship Id="rId6" Type="http://schemas.openxmlformats.org/officeDocument/2006/relationships/image" Target="../media/image10.emf"/><Relationship Id="rId5" Type="http://schemas.openxmlformats.org/officeDocument/2006/relationships/oleObject" Target="../embeddings/oleObject36.bin"/><Relationship Id="rId4" Type="http://schemas.openxmlformats.org/officeDocument/2006/relationships/slideLayout" Target="../slideLayouts/slideLayout18.xml"/></Relationships>
</file>

<file path=ppt/slides/_rels/slide34.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33.xml"/></Relationships>
</file>

<file path=ppt/slides/_rels/slide35.xml.rels><?xml version="1.0" encoding="UTF-8" standalone="yes"?>
<Relationships xmlns="http://schemas.openxmlformats.org/package/2006/relationships"><Relationship Id="rId8" Type="http://schemas.openxmlformats.org/officeDocument/2006/relationships/diagramLayout" Target="../diagrams/layout17.xml"/><Relationship Id="rId13" Type="http://schemas.openxmlformats.org/officeDocument/2006/relationships/diagramLayout" Target="../diagrams/layout18.xml"/><Relationship Id="rId18" Type="http://schemas.openxmlformats.org/officeDocument/2006/relationships/image" Target="../media/image20.png"/><Relationship Id="rId26" Type="http://schemas.openxmlformats.org/officeDocument/2006/relationships/image" Target="../media/image28.png"/><Relationship Id="rId3" Type="http://schemas.openxmlformats.org/officeDocument/2006/relationships/tags" Target="../tags/tag80.xml"/><Relationship Id="rId21" Type="http://schemas.openxmlformats.org/officeDocument/2006/relationships/image" Target="../media/image23.png"/><Relationship Id="rId34" Type="http://schemas.openxmlformats.org/officeDocument/2006/relationships/image" Target="../media/image36.png"/><Relationship Id="rId7" Type="http://schemas.openxmlformats.org/officeDocument/2006/relationships/diagramData" Target="../diagrams/data17.xml"/><Relationship Id="rId12" Type="http://schemas.openxmlformats.org/officeDocument/2006/relationships/diagramData" Target="../diagrams/data18.xml"/><Relationship Id="rId17" Type="http://schemas.openxmlformats.org/officeDocument/2006/relationships/image" Target="../media/image19.gif"/><Relationship Id="rId25" Type="http://schemas.openxmlformats.org/officeDocument/2006/relationships/image" Target="../media/image27.svg"/><Relationship Id="rId33" Type="http://schemas.openxmlformats.org/officeDocument/2006/relationships/image" Target="../media/image35.png"/><Relationship Id="rId2" Type="http://schemas.openxmlformats.org/officeDocument/2006/relationships/tags" Target="../tags/tag79.xml"/><Relationship Id="rId16" Type="http://schemas.microsoft.com/office/2007/relationships/diagramDrawing" Target="../diagrams/drawing18.xml"/><Relationship Id="rId20" Type="http://schemas.openxmlformats.org/officeDocument/2006/relationships/image" Target="../media/image22.png"/><Relationship Id="rId29" Type="http://schemas.openxmlformats.org/officeDocument/2006/relationships/image" Target="../media/image31.png"/><Relationship Id="rId1" Type="http://schemas.openxmlformats.org/officeDocument/2006/relationships/vmlDrawing" Target="../drawings/vmlDrawing37.vml"/><Relationship Id="rId6" Type="http://schemas.openxmlformats.org/officeDocument/2006/relationships/image" Target="../media/image10.emf"/><Relationship Id="rId11" Type="http://schemas.microsoft.com/office/2007/relationships/diagramDrawing" Target="../diagrams/drawing17.xml"/><Relationship Id="rId24" Type="http://schemas.openxmlformats.org/officeDocument/2006/relationships/image" Target="../media/image38.png"/><Relationship Id="rId32" Type="http://schemas.openxmlformats.org/officeDocument/2006/relationships/image" Target="../media/image34.png"/><Relationship Id="rId5" Type="http://schemas.openxmlformats.org/officeDocument/2006/relationships/oleObject" Target="../embeddings/oleObject37.bin"/><Relationship Id="rId15" Type="http://schemas.openxmlformats.org/officeDocument/2006/relationships/diagramColors" Target="../diagrams/colors18.xml"/><Relationship Id="rId23" Type="http://schemas.openxmlformats.org/officeDocument/2006/relationships/image" Target="../media/image25.png"/><Relationship Id="rId28" Type="http://schemas.openxmlformats.org/officeDocument/2006/relationships/image" Target="../media/image30.jpeg"/><Relationship Id="rId10" Type="http://schemas.openxmlformats.org/officeDocument/2006/relationships/diagramColors" Target="../diagrams/colors17.xml"/><Relationship Id="rId19" Type="http://schemas.openxmlformats.org/officeDocument/2006/relationships/image" Target="../media/image21.png"/><Relationship Id="rId31" Type="http://schemas.openxmlformats.org/officeDocument/2006/relationships/image" Target="../media/image33.png"/><Relationship Id="rId4" Type="http://schemas.openxmlformats.org/officeDocument/2006/relationships/slideLayout" Target="../slideLayouts/slideLayout2.xml"/><Relationship Id="rId9" Type="http://schemas.openxmlformats.org/officeDocument/2006/relationships/diagramQuickStyle" Target="../diagrams/quickStyle17.xml"/><Relationship Id="rId14" Type="http://schemas.openxmlformats.org/officeDocument/2006/relationships/diagramQuickStyle" Target="../diagrams/quickStyle18.xml"/><Relationship Id="rId22" Type="http://schemas.openxmlformats.org/officeDocument/2006/relationships/image" Target="../media/image24.png"/><Relationship Id="rId27" Type="http://schemas.openxmlformats.org/officeDocument/2006/relationships/image" Target="../media/image29.png"/><Relationship Id="rId30" Type="http://schemas.openxmlformats.org/officeDocument/2006/relationships/image" Target="../media/image32.png"/><Relationship Id="rId35" Type="http://schemas.openxmlformats.org/officeDocument/2006/relationships/image" Target="../media/image37.png"/></Relationships>
</file>

<file path=ppt/slides/_rels/slide36.xml.rels><?xml version="1.0" encoding="UTF-8" standalone="yes"?>
<Relationships xmlns="http://schemas.openxmlformats.org/package/2006/relationships"><Relationship Id="rId8" Type="http://schemas.openxmlformats.org/officeDocument/2006/relationships/image" Target="../media/image72.png"/><Relationship Id="rId3" Type="http://schemas.openxmlformats.org/officeDocument/2006/relationships/tags" Target="../tags/tag82.xml"/><Relationship Id="rId7" Type="http://schemas.openxmlformats.org/officeDocument/2006/relationships/hyperlink" Target="https://onboarding.devops.internal.unicreditgroup.eu/soapui-framework/" TargetMode="External"/><Relationship Id="rId2" Type="http://schemas.openxmlformats.org/officeDocument/2006/relationships/tags" Target="../tags/tag81.xml"/><Relationship Id="rId1" Type="http://schemas.openxmlformats.org/officeDocument/2006/relationships/vmlDrawing" Target="../drawings/vmlDrawing38.vml"/><Relationship Id="rId6" Type="http://schemas.openxmlformats.org/officeDocument/2006/relationships/image" Target="../media/image10.emf"/><Relationship Id="rId5" Type="http://schemas.openxmlformats.org/officeDocument/2006/relationships/oleObject" Target="../embeddings/oleObject38.bin"/><Relationship Id="rId10" Type="http://schemas.openxmlformats.org/officeDocument/2006/relationships/image" Target="../media/image74.JPG"/><Relationship Id="rId4" Type="http://schemas.openxmlformats.org/officeDocument/2006/relationships/slideLayout" Target="../slideLayouts/slideLayout2.xml"/><Relationship Id="rId9" Type="http://schemas.openxmlformats.org/officeDocument/2006/relationships/image" Target="../media/image21.png"/></Relationships>
</file>

<file path=ppt/slides/_rels/slide37.xml.rels><?xml version="1.0" encoding="UTF-8" standalone="yes"?>
<Relationships xmlns="http://schemas.openxmlformats.org/package/2006/relationships"><Relationship Id="rId8" Type="http://schemas.openxmlformats.org/officeDocument/2006/relationships/image" Target="../media/image75.png"/><Relationship Id="rId13" Type="http://schemas.openxmlformats.org/officeDocument/2006/relationships/image" Target="../media/image78.png"/><Relationship Id="rId3" Type="http://schemas.openxmlformats.org/officeDocument/2006/relationships/tags" Target="../tags/tag84.xml"/><Relationship Id="rId7" Type="http://schemas.openxmlformats.org/officeDocument/2006/relationships/hyperlink" Target="https://onboarding.devops.internal.unicreditgroup.eu/selenium/e2e-test-selenium/" TargetMode="External"/><Relationship Id="rId12" Type="http://schemas.openxmlformats.org/officeDocument/2006/relationships/image" Target="../media/image72.png"/><Relationship Id="rId2" Type="http://schemas.openxmlformats.org/officeDocument/2006/relationships/tags" Target="../tags/tag83.xml"/><Relationship Id="rId1" Type="http://schemas.openxmlformats.org/officeDocument/2006/relationships/vmlDrawing" Target="../drawings/vmlDrawing39.vml"/><Relationship Id="rId6" Type="http://schemas.openxmlformats.org/officeDocument/2006/relationships/image" Target="../media/image10.emf"/><Relationship Id="rId11" Type="http://schemas.openxmlformats.org/officeDocument/2006/relationships/image" Target="../media/image77.png"/><Relationship Id="rId5" Type="http://schemas.openxmlformats.org/officeDocument/2006/relationships/oleObject" Target="../embeddings/oleObject39.bin"/><Relationship Id="rId10" Type="http://schemas.openxmlformats.org/officeDocument/2006/relationships/image" Target="../media/image76.png"/><Relationship Id="rId4" Type="http://schemas.openxmlformats.org/officeDocument/2006/relationships/slideLayout" Target="../slideLayouts/slideLayout2.xml"/><Relationship Id="rId9" Type="http://schemas.openxmlformats.org/officeDocument/2006/relationships/image" Target="../media/image22.png"/></Relationships>
</file>

<file path=ppt/slides/_rels/slide38.xml.rels><?xml version="1.0" encoding="UTF-8" standalone="yes"?>
<Relationships xmlns="http://schemas.openxmlformats.org/package/2006/relationships"><Relationship Id="rId8" Type="http://schemas.openxmlformats.org/officeDocument/2006/relationships/diagramLayout" Target="../diagrams/layout19.xml"/><Relationship Id="rId13" Type="http://schemas.openxmlformats.org/officeDocument/2006/relationships/diagramLayout" Target="../diagrams/layout20.xml"/><Relationship Id="rId18" Type="http://schemas.openxmlformats.org/officeDocument/2006/relationships/image" Target="../media/image20.png"/><Relationship Id="rId26" Type="http://schemas.openxmlformats.org/officeDocument/2006/relationships/image" Target="../media/image28.png"/><Relationship Id="rId3" Type="http://schemas.openxmlformats.org/officeDocument/2006/relationships/tags" Target="../tags/tag86.xml"/><Relationship Id="rId21" Type="http://schemas.openxmlformats.org/officeDocument/2006/relationships/image" Target="../media/image23.png"/><Relationship Id="rId34" Type="http://schemas.openxmlformats.org/officeDocument/2006/relationships/image" Target="../media/image36.png"/><Relationship Id="rId7" Type="http://schemas.openxmlformats.org/officeDocument/2006/relationships/diagramData" Target="../diagrams/data19.xml"/><Relationship Id="rId12" Type="http://schemas.openxmlformats.org/officeDocument/2006/relationships/diagramData" Target="../diagrams/data20.xml"/><Relationship Id="rId17" Type="http://schemas.openxmlformats.org/officeDocument/2006/relationships/image" Target="../media/image19.gif"/><Relationship Id="rId25" Type="http://schemas.openxmlformats.org/officeDocument/2006/relationships/image" Target="../media/image27.svg"/><Relationship Id="rId33" Type="http://schemas.openxmlformats.org/officeDocument/2006/relationships/image" Target="../media/image35.png"/><Relationship Id="rId2" Type="http://schemas.openxmlformats.org/officeDocument/2006/relationships/tags" Target="../tags/tag85.xml"/><Relationship Id="rId16" Type="http://schemas.microsoft.com/office/2007/relationships/diagramDrawing" Target="../diagrams/drawing20.xml"/><Relationship Id="rId20" Type="http://schemas.openxmlformats.org/officeDocument/2006/relationships/image" Target="../media/image22.png"/><Relationship Id="rId29" Type="http://schemas.openxmlformats.org/officeDocument/2006/relationships/image" Target="../media/image31.png"/><Relationship Id="rId1" Type="http://schemas.openxmlformats.org/officeDocument/2006/relationships/vmlDrawing" Target="../drawings/vmlDrawing40.vml"/><Relationship Id="rId6" Type="http://schemas.openxmlformats.org/officeDocument/2006/relationships/image" Target="../media/image10.emf"/><Relationship Id="rId11" Type="http://schemas.microsoft.com/office/2007/relationships/diagramDrawing" Target="../diagrams/drawing19.xml"/><Relationship Id="rId24" Type="http://schemas.openxmlformats.org/officeDocument/2006/relationships/image" Target="../media/image38.png"/><Relationship Id="rId32" Type="http://schemas.openxmlformats.org/officeDocument/2006/relationships/image" Target="../media/image34.png"/><Relationship Id="rId5" Type="http://schemas.openxmlformats.org/officeDocument/2006/relationships/oleObject" Target="../embeddings/oleObject40.bin"/><Relationship Id="rId15" Type="http://schemas.openxmlformats.org/officeDocument/2006/relationships/diagramColors" Target="../diagrams/colors20.xml"/><Relationship Id="rId23" Type="http://schemas.openxmlformats.org/officeDocument/2006/relationships/image" Target="../media/image25.png"/><Relationship Id="rId28" Type="http://schemas.openxmlformats.org/officeDocument/2006/relationships/image" Target="../media/image30.jpeg"/><Relationship Id="rId10" Type="http://schemas.openxmlformats.org/officeDocument/2006/relationships/diagramColors" Target="../diagrams/colors19.xml"/><Relationship Id="rId19" Type="http://schemas.openxmlformats.org/officeDocument/2006/relationships/image" Target="../media/image21.png"/><Relationship Id="rId31" Type="http://schemas.openxmlformats.org/officeDocument/2006/relationships/image" Target="../media/image33.png"/><Relationship Id="rId4" Type="http://schemas.openxmlformats.org/officeDocument/2006/relationships/slideLayout" Target="../slideLayouts/slideLayout2.xml"/><Relationship Id="rId9" Type="http://schemas.openxmlformats.org/officeDocument/2006/relationships/diagramQuickStyle" Target="../diagrams/quickStyle19.xml"/><Relationship Id="rId14" Type="http://schemas.openxmlformats.org/officeDocument/2006/relationships/diagramQuickStyle" Target="../diagrams/quickStyle20.xml"/><Relationship Id="rId22" Type="http://schemas.openxmlformats.org/officeDocument/2006/relationships/image" Target="../media/image24.png"/><Relationship Id="rId27" Type="http://schemas.openxmlformats.org/officeDocument/2006/relationships/image" Target="../media/image29.png"/><Relationship Id="rId30" Type="http://schemas.openxmlformats.org/officeDocument/2006/relationships/image" Target="../media/image32.png"/><Relationship Id="rId35" Type="http://schemas.openxmlformats.org/officeDocument/2006/relationships/image" Target="../media/image37.png"/></Relationships>
</file>

<file path=ppt/slides/_rels/slide39.xml.rels><?xml version="1.0" encoding="UTF-8" standalone="yes"?>
<Relationships xmlns="http://schemas.openxmlformats.org/package/2006/relationships"><Relationship Id="rId8" Type="http://schemas.openxmlformats.org/officeDocument/2006/relationships/tags" Target="../tags/tag93.xml"/><Relationship Id="rId13" Type="http://schemas.openxmlformats.org/officeDocument/2006/relationships/oleObject" Target="../embeddings/oleObject41.bin"/><Relationship Id="rId3" Type="http://schemas.openxmlformats.org/officeDocument/2006/relationships/tags" Target="../tags/tag88.xml"/><Relationship Id="rId7" Type="http://schemas.openxmlformats.org/officeDocument/2006/relationships/tags" Target="../tags/tag92.xml"/><Relationship Id="rId12" Type="http://schemas.openxmlformats.org/officeDocument/2006/relationships/notesSlide" Target="../notesSlides/notesSlide5.xml"/><Relationship Id="rId2" Type="http://schemas.openxmlformats.org/officeDocument/2006/relationships/tags" Target="../tags/tag87.xml"/><Relationship Id="rId1" Type="http://schemas.openxmlformats.org/officeDocument/2006/relationships/vmlDrawing" Target="../drawings/vmlDrawing41.vml"/><Relationship Id="rId6" Type="http://schemas.openxmlformats.org/officeDocument/2006/relationships/tags" Target="../tags/tag91.xml"/><Relationship Id="rId11" Type="http://schemas.openxmlformats.org/officeDocument/2006/relationships/slideLayout" Target="../slideLayouts/slideLayout2.xml"/><Relationship Id="rId5" Type="http://schemas.openxmlformats.org/officeDocument/2006/relationships/tags" Target="../tags/tag90.xml"/><Relationship Id="rId15" Type="http://schemas.openxmlformats.org/officeDocument/2006/relationships/image" Target="../media/image18.png"/><Relationship Id="rId10" Type="http://schemas.openxmlformats.org/officeDocument/2006/relationships/tags" Target="../tags/tag95.xml"/><Relationship Id="rId4" Type="http://schemas.openxmlformats.org/officeDocument/2006/relationships/tags" Target="../tags/tag89.xml"/><Relationship Id="rId9" Type="http://schemas.openxmlformats.org/officeDocument/2006/relationships/tags" Target="../tags/tag94.xml"/><Relationship Id="rId14" Type="http://schemas.openxmlformats.org/officeDocument/2006/relationships/image" Target="../media/image12.emf"/></Relationships>
</file>

<file path=ppt/slides/_rels/slide4.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14.png"/><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10.emf"/><Relationship Id="rId5" Type="http://schemas.openxmlformats.org/officeDocument/2006/relationships/oleObject" Target="../embeddings/oleObject9.bin"/><Relationship Id="rId4"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3" Type="http://schemas.openxmlformats.org/officeDocument/2006/relationships/tags" Target="../tags/tag97.xml"/><Relationship Id="rId7" Type="http://schemas.openxmlformats.org/officeDocument/2006/relationships/image" Target="../media/image14.png"/><Relationship Id="rId2" Type="http://schemas.openxmlformats.org/officeDocument/2006/relationships/tags" Target="../tags/tag96.xml"/><Relationship Id="rId1" Type="http://schemas.openxmlformats.org/officeDocument/2006/relationships/vmlDrawing" Target="../drawings/vmlDrawing42.vml"/><Relationship Id="rId6" Type="http://schemas.openxmlformats.org/officeDocument/2006/relationships/image" Target="../media/image10.emf"/><Relationship Id="rId5" Type="http://schemas.openxmlformats.org/officeDocument/2006/relationships/oleObject" Target="../embeddings/oleObject42.bin"/><Relationship Id="rId4"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8" Type="http://schemas.openxmlformats.org/officeDocument/2006/relationships/hyperlink" Target="https://github.com/ff4j/ff4j" TargetMode="External"/><Relationship Id="rId3" Type="http://schemas.openxmlformats.org/officeDocument/2006/relationships/tags" Target="../tags/tag99.xml"/><Relationship Id="rId7" Type="http://schemas.openxmlformats.org/officeDocument/2006/relationships/hyperlink" Target="https://martinfowler.com/articles/feature-toggles.html" TargetMode="External"/><Relationship Id="rId2" Type="http://schemas.openxmlformats.org/officeDocument/2006/relationships/tags" Target="../tags/tag98.xml"/><Relationship Id="rId1" Type="http://schemas.openxmlformats.org/officeDocument/2006/relationships/vmlDrawing" Target="../drawings/vmlDrawing43.vml"/><Relationship Id="rId6" Type="http://schemas.openxmlformats.org/officeDocument/2006/relationships/image" Target="../media/image10.emf"/><Relationship Id="rId5" Type="http://schemas.openxmlformats.org/officeDocument/2006/relationships/oleObject" Target="../embeddings/oleObject43.bin"/><Relationship Id="rId4"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tags" Target="../tags/tag21.xml"/><Relationship Id="rId7" Type="http://schemas.openxmlformats.org/officeDocument/2006/relationships/image" Target="../media/image15.png"/><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12.emf"/><Relationship Id="rId5" Type="http://schemas.openxmlformats.org/officeDocument/2006/relationships/oleObject" Target="../embeddings/oleObject10.bin"/><Relationship Id="rId4"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17.emf"/><Relationship Id="rId5" Type="http://schemas.openxmlformats.org/officeDocument/2006/relationships/oleObject" Target="../embeddings/oleObject11.bin"/><Relationship Id="rId4"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25.xml"/><Relationship Id="rId7" Type="http://schemas.openxmlformats.org/officeDocument/2006/relationships/tags" Target="../tags/tag29.xml"/><Relationship Id="rId12" Type="http://schemas.openxmlformats.org/officeDocument/2006/relationships/image" Target="../media/image18.png"/><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tags" Target="../tags/tag28.xml"/><Relationship Id="rId11" Type="http://schemas.openxmlformats.org/officeDocument/2006/relationships/image" Target="../media/image12.emf"/><Relationship Id="rId5" Type="http://schemas.openxmlformats.org/officeDocument/2006/relationships/tags" Target="../tags/tag27.xml"/><Relationship Id="rId10" Type="http://schemas.openxmlformats.org/officeDocument/2006/relationships/oleObject" Target="../embeddings/oleObject12.bin"/><Relationship Id="rId4" Type="http://schemas.openxmlformats.org/officeDocument/2006/relationships/tags" Target="../tags/tag26.xml"/><Relationship Id="rId9" Type="http://schemas.openxmlformats.org/officeDocument/2006/relationships/notesSlide" Target="../notesSlides/notesSlide1.xml"/></Relationships>
</file>

<file path=ppt/slides/_rels/slide8.xml.rels><?xml version="1.0" encoding="UTF-8" standalone="yes"?>
<Relationships xmlns="http://schemas.openxmlformats.org/package/2006/relationships"><Relationship Id="rId8" Type="http://schemas.openxmlformats.org/officeDocument/2006/relationships/diagramLayout" Target="../diagrams/layout1.xml"/><Relationship Id="rId13" Type="http://schemas.openxmlformats.org/officeDocument/2006/relationships/diagramLayout" Target="../diagrams/layout2.xml"/><Relationship Id="rId18" Type="http://schemas.openxmlformats.org/officeDocument/2006/relationships/image" Target="../media/image20.png"/><Relationship Id="rId26" Type="http://schemas.openxmlformats.org/officeDocument/2006/relationships/image" Target="../media/image28.png"/><Relationship Id="rId3" Type="http://schemas.openxmlformats.org/officeDocument/2006/relationships/tags" Target="../tags/tag31.xml"/><Relationship Id="rId21" Type="http://schemas.openxmlformats.org/officeDocument/2006/relationships/image" Target="../media/image23.png"/><Relationship Id="rId34" Type="http://schemas.openxmlformats.org/officeDocument/2006/relationships/image" Target="../media/image36.png"/><Relationship Id="rId7" Type="http://schemas.openxmlformats.org/officeDocument/2006/relationships/diagramData" Target="../diagrams/data1.xml"/><Relationship Id="rId12" Type="http://schemas.openxmlformats.org/officeDocument/2006/relationships/diagramData" Target="../diagrams/data2.xml"/><Relationship Id="rId17" Type="http://schemas.openxmlformats.org/officeDocument/2006/relationships/image" Target="../media/image19.gif"/><Relationship Id="rId25" Type="http://schemas.openxmlformats.org/officeDocument/2006/relationships/image" Target="../media/image27.svg"/><Relationship Id="rId33" Type="http://schemas.openxmlformats.org/officeDocument/2006/relationships/image" Target="../media/image35.png"/><Relationship Id="rId2" Type="http://schemas.openxmlformats.org/officeDocument/2006/relationships/tags" Target="../tags/tag30.xml"/><Relationship Id="rId16" Type="http://schemas.microsoft.com/office/2007/relationships/diagramDrawing" Target="../diagrams/drawing2.xml"/><Relationship Id="rId20" Type="http://schemas.openxmlformats.org/officeDocument/2006/relationships/image" Target="../media/image22.png"/><Relationship Id="rId29" Type="http://schemas.openxmlformats.org/officeDocument/2006/relationships/image" Target="../media/image31.png"/><Relationship Id="rId1" Type="http://schemas.openxmlformats.org/officeDocument/2006/relationships/vmlDrawing" Target="../drawings/vmlDrawing13.vml"/><Relationship Id="rId6" Type="http://schemas.openxmlformats.org/officeDocument/2006/relationships/image" Target="../media/image10.emf"/><Relationship Id="rId11" Type="http://schemas.microsoft.com/office/2007/relationships/diagramDrawing" Target="../diagrams/drawing1.xml"/><Relationship Id="rId24" Type="http://schemas.openxmlformats.org/officeDocument/2006/relationships/image" Target="../media/image26.png"/><Relationship Id="rId32" Type="http://schemas.openxmlformats.org/officeDocument/2006/relationships/image" Target="../media/image34.png"/><Relationship Id="rId5" Type="http://schemas.openxmlformats.org/officeDocument/2006/relationships/oleObject" Target="../embeddings/oleObject13.bin"/><Relationship Id="rId15" Type="http://schemas.openxmlformats.org/officeDocument/2006/relationships/diagramColors" Target="../diagrams/colors2.xml"/><Relationship Id="rId23" Type="http://schemas.openxmlformats.org/officeDocument/2006/relationships/image" Target="../media/image25.png"/><Relationship Id="rId28" Type="http://schemas.openxmlformats.org/officeDocument/2006/relationships/image" Target="../media/image30.jpeg"/><Relationship Id="rId10" Type="http://schemas.openxmlformats.org/officeDocument/2006/relationships/diagramColors" Target="../diagrams/colors1.xml"/><Relationship Id="rId19" Type="http://schemas.openxmlformats.org/officeDocument/2006/relationships/image" Target="../media/image21.png"/><Relationship Id="rId31" Type="http://schemas.openxmlformats.org/officeDocument/2006/relationships/image" Target="../media/image33.png"/><Relationship Id="rId4" Type="http://schemas.openxmlformats.org/officeDocument/2006/relationships/slideLayout" Target="../slideLayouts/slideLayout2.xml"/><Relationship Id="rId9" Type="http://schemas.openxmlformats.org/officeDocument/2006/relationships/diagramQuickStyle" Target="../diagrams/quickStyle1.xml"/><Relationship Id="rId14" Type="http://schemas.openxmlformats.org/officeDocument/2006/relationships/diagramQuickStyle" Target="../diagrams/quickStyle2.xml"/><Relationship Id="rId22" Type="http://schemas.openxmlformats.org/officeDocument/2006/relationships/image" Target="../media/image24.png"/><Relationship Id="rId27" Type="http://schemas.openxmlformats.org/officeDocument/2006/relationships/image" Target="../media/image29.png"/><Relationship Id="rId30" Type="http://schemas.openxmlformats.org/officeDocument/2006/relationships/image" Target="../media/image32.png"/><Relationship Id="rId35" Type="http://schemas.openxmlformats.org/officeDocument/2006/relationships/image" Target="../media/image37.png"/></Relationships>
</file>

<file path=ppt/slides/_rels/slide9.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vmlDrawing" Target="../drawings/vmlDrawing14.vml"/><Relationship Id="rId6" Type="http://schemas.openxmlformats.org/officeDocument/2006/relationships/image" Target="../media/image6.emf"/><Relationship Id="rId5" Type="http://schemas.openxmlformats.org/officeDocument/2006/relationships/oleObject" Target="../embeddings/oleObject14.bin"/><Relationship Id="rId4"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AF4CD30-F51A-494C-B77F-4E72766AEF33}"/>
              </a:ext>
            </a:extLst>
          </p:cNvPr>
          <p:cNvGraphicFramePr>
            <a:graphicFrameLocks noChangeAspect="1"/>
          </p:cNvGraphicFramePr>
          <p:nvPr>
            <p:custDataLst>
              <p:tags r:id="rId2"/>
            </p:custDataLst>
            <p:extLst>
              <p:ext uri="{D42A27DB-BD31-4B8C-83A1-F6EECF244321}">
                <p14:modId xmlns:p14="http://schemas.microsoft.com/office/powerpoint/2010/main" val="15863858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64"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1A702417-BCD9-4F7C-84E7-761F06A40EB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3600" b="1" dirty="0">
              <a:latin typeface="UniCredit" panose="02000506040000020004" pitchFamily="2" charset="0"/>
              <a:ea typeface="+mj-ea"/>
              <a:cs typeface="Arial" panose="020B0604020202020204" pitchFamily="34" charset="0"/>
              <a:sym typeface="UniCredit" panose="02000506040000020004" pitchFamily="2" charset="0"/>
            </a:endParaRPr>
          </a:p>
        </p:txBody>
      </p:sp>
      <p:sp>
        <p:nvSpPr>
          <p:cNvPr id="2" name="Text Placeholder 1"/>
          <p:cNvSpPr>
            <a:spLocks noGrp="1"/>
          </p:cNvSpPr>
          <p:nvPr>
            <p:ph type="body" sz="quarter" idx="14"/>
          </p:nvPr>
        </p:nvSpPr>
        <p:spPr/>
        <p:txBody>
          <a:bodyPr/>
          <a:lstStyle/>
          <a:p>
            <a:r>
              <a:rPr lang="en-GB" dirty="0" err="1"/>
              <a:t>Unicredit</a:t>
            </a:r>
            <a:r>
              <a:rPr lang="en-GB" dirty="0"/>
              <a:t> Services</a:t>
            </a:r>
          </a:p>
        </p:txBody>
      </p:sp>
      <p:sp>
        <p:nvSpPr>
          <p:cNvPr id="3" name="Text Placeholder 2"/>
          <p:cNvSpPr>
            <a:spLocks noGrp="1"/>
          </p:cNvSpPr>
          <p:nvPr>
            <p:ph type="body" sz="quarter" idx="18"/>
          </p:nvPr>
        </p:nvSpPr>
        <p:spPr/>
        <p:txBody>
          <a:bodyPr/>
          <a:lstStyle/>
          <a:p>
            <a:r>
              <a:rPr lang="en-GB" dirty="0"/>
              <a:t>Milan, Iasi - October 2nd 2020</a:t>
            </a:r>
          </a:p>
        </p:txBody>
      </p:sp>
      <p:sp>
        <p:nvSpPr>
          <p:cNvPr id="4" name="Text Placeholder 3"/>
          <p:cNvSpPr>
            <a:spLocks noGrp="1"/>
          </p:cNvSpPr>
          <p:nvPr>
            <p:ph type="body" sz="quarter" idx="17"/>
          </p:nvPr>
        </p:nvSpPr>
        <p:spPr/>
        <p:txBody>
          <a:bodyPr/>
          <a:lstStyle/>
          <a:p>
            <a:r>
              <a:rPr lang="en-GB" dirty="0"/>
              <a:t>Webinar</a:t>
            </a:r>
          </a:p>
        </p:txBody>
      </p:sp>
      <p:sp>
        <p:nvSpPr>
          <p:cNvPr id="5" name="Text Placeholder 4"/>
          <p:cNvSpPr>
            <a:spLocks noGrp="1"/>
          </p:cNvSpPr>
          <p:nvPr>
            <p:ph type="body" sz="quarter" idx="12"/>
          </p:nvPr>
        </p:nvSpPr>
        <p:spPr>
          <a:xfrm>
            <a:off x="1087323" y="2116800"/>
            <a:ext cx="7736025" cy="626400"/>
          </a:xfrm>
        </p:spPr>
        <p:txBody>
          <a:bodyPr>
            <a:normAutofit fontScale="62500" lnSpcReduction="20000"/>
          </a:bodyPr>
          <a:lstStyle/>
          <a:p>
            <a:r>
              <a:rPr lang="en-GB" dirty="0"/>
              <a:t>Technical pills</a:t>
            </a:r>
          </a:p>
          <a:p>
            <a:r>
              <a:rPr lang="en-GB" dirty="0"/>
              <a:t>Sharing experience from MyCredit onboarding journey</a:t>
            </a:r>
          </a:p>
        </p:txBody>
      </p:sp>
      <p:sp>
        <p:nvSpPr>
          <p:cNvPr id="6" name="Title 5"/>
          <p:cNvSpPr>
            <a:spLocks noGrp="1"/>
          </p:cNvSpPr>
          <p:nvPr>
            <p:ph type="title"/>
          </p:nvPr>
        </p:nvSpPr>
        <p:spPr/>
        <p:txBody>
          <a:bodyPr/>
          <a:lstStyle/>
          <a:p>
            <a:r>
              <a:rPr lang="en-GB" dirty="0"/>
              <a:t>DevOps in GRM&amp;GLO</a:t>
            </a:r>
          </a:p>
        </p:txBody>
      </p:sp>
      <p:pic>
        <p:nvPicPr>
          <p:cNvPr id="10" name="Picture 9">
            <a:extLst>
              <a:ext uri="{FF2B5EF4-FFF2-40B4-BE49-F238E27FC236}">
                <a16:creationId xmlns:a16="http://schemas.microsoft.com/office/drawing/2014/main" id="{1A25FA5F-E2AF-46F8-AE23-55B7FED7B441}"/>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5872114" y="807528"/>
            <a:ext cx="2478190" cy="1314000"/>
          </a:xfrm>
          <a:prstGeom prst="rect">
            <a:avLst/>
          </a:prstGeom>
        </p:spPr>
      </p:pic>
      <p:pic>
        <p:nvPicPr>
          <p:cNvPr id="3118" name="Picture 46" descr="Tech Pills - Home | Facebook">
            <a:extLst>
              <a:ext uri="{FF2B5EF4-FFF2-40B4-BE49-F238E27FC236}">
                <a16:creationId xmlns:a16="http://schemas.microsoft.com/office/drawing/2014/main" id="{3D25644A-406F-49D2-9C3F-4B43C13CD5E7}"/>
              </a:ext>
            </a:extLst>
          </p:cNvPr>
          <p:cNvPicPr>
            <a:picLocks noChangeAspect="1" noChangeArrowheads="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35430" y="2189915"/>
            <a:ext cx="587257" cy="58725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540609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Object 34" hidden="1">
            <a:extLst>
              <a:ext uri="{FF2B5EF4-FFF2-40B4-BE49-F238E27FC236}">
                <a16:creationId xmlns:a16="http://schemas.microsoft.com/office/drawing/2014/main" id="{4C781002-2313-4803-A01A-071A6AB2FB9B}"/>
              </a:ext>
            </a:extLst>
          </p:cNvPr>
          <p:cNvGraphicFramePr>
            <a:graphicFrameLocks noChangeAspect="1"/>
          </p:cNvGraphicFramePr>
          <p:nvPr>
            <p:custDataLst>
              <p:tags r:id="rId2"/>
            </p:custDataLst>
            <p:extLst>
              <p:ext uri="{D42A27DB-BD31-4B8C-83A1-F6EECF244321}">
                <p14:modId xmlns:p14="http://schemas.microsoft.com/office/powerpoint/2010/main" val="19175769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317" name="think-cell Slide" r:id="rId5" imgW="360" imgH="360" progId="TCLayout.ActiveDocument.1">
                  <p:embed/>
                </p:oleObj>
              </mc:Choice>
              <mc:Fallback>
                <p:oleObj name="think-cell Slide" r:id="rId5" imgW="360" imgH="360" progId="TCLayout.ActiveDocument.1">
                  <p:embed/>
                  <p:pic>
                    <p:nvPicPr>
                      <p:cNvPr id="35" name="Object 34" hidden="1">
                        <a:extLst>
                          <a:ext uri="{FF2B5EF4-FFF2-40B4-BE49-F238E27FC236}">
                            <a16:creationId xmlns:a16="http://schemas.microsoft.com/office/drawing/2014/main" id="{4C781002-2313-4803-A01A-071A6AB2FB9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6" name="Rectangle 35" hidden="1">
            <a:extLst>
              <a:ext uri="{FF2B5EF4-FFF2-40B4-BE49-F238E27FC236}">
                <a16:creationId xmlns:a16="http://schemas.microsoft.com/office/drawing/2014/main" id="{1F08D6A1-39DF-43FB-878F-188581D16D3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UniCredit" panose="02000506040000020004" pitchFamily="2" charset="0"/>
              <a:ea typeface="+mj-ea"/>
              <a:cs typeface="Arial" panose="020B0604020202020204" pitchFamily="34" charset="0"/>
              <a:sym typeface="UniCredit" panose="02000506040000020004" pitchFamily="2" charset="0"/>
            </a:endParaRPr>
          </a:p>
        </p:txBody>
      </p:sp>
      <p:sp>
        <p:nvSpPr>
          <p:cNvPr id="2" name="Text Placeholder 1">
            <a:extLst>
              <a:ext uri="{FF2B5EF4-FFF2-40B4-BE49-F238E27FC236}">
                <a16:creationId xmlns:a16="http://schemas.microsoft.com/office/drawing/2014/main" id="{37C31D72-88E7-4CA4-97CC-DF95C6596AE8}"/>
              </a:ext>
            </a:extLst>
          </p:cNvPr>
          <p:cNvSpPr>
            <a:spLocks noGrp="1"/>
          </p:cNvSpPr>
          <p:nvPr>
            <p:ph type="body" sz="quarter" idx="12"/>
          </p:nvPr>
        </p:nvSpPr>
        <p:spPr/>
        <p:txBody>
          <a:bodyPr/>
          <a:lstStyle/>
          <a:p>
            <a:endParaRPr lang="en-US"/>
          </a:p>
        </p:txBody>
      </p:sp>
      <p:sp>
        <p:nvSpPr>
          <p:cNvPr id="3" name="Text Placeholder 2">
            <a:extLst>
              <a:ext uri="{FF2B5EF4-FFF2-40B4-BE49-F238E27FC236}">
                <a16:creationId xmlns:a16="http://schemas.microsoft.com/office/drawing/2014/main" id="{EBBD6DAB-6B2B-42CC-9A99-3EDE6EF054BF}"/>
              </a:ext>
            </a:extLst>
          </p:cNvPr>
          <p:cNvSpPr>
            <a:spLocks noGrp="1"/>
          </p:cNvSpPr>
          <p:nvPr>
            <p:ph type="body" sz="quarter" idx="16"/>
          </p:nvPr>
        </p:nvSpPr>
        <p:spPr/>
        <p:txBody>
          <a:bodyPr/>
          <a:lstStyle/>
          <a:p>
            <a:endParaRPr lang="en-US"/>
          </a:p>
        </p:txBody>
      </p:sp>
      <p:sp>
        <p:nvSpPr>
          <p:cNvPr id="4" name="Slide Number Placeholder 3">
            <a:extLst>
              <a:ext uri="{FF2B5EF4-FFF2-40B4-BE49-F238E27FC236}">
                <a16:creationId xmlns:a16="http://schemas.microsoft.com/office/drawing/2014/main" id="{82835AA4-731A-42C0-9605-CE5C097D862B}"/>
              </a:ext>
            </a:extLst>
          </p:cNvPr>
          <p:cNvSpPr>
            <a:spLocks noGrp="1"/>
          </p:cNvSpPr>
          <p:nvPr>
            <p:ph type="sldNum" sz="quarter" idx="11"/>
          </p:nvPr>
        </p:nvSpPr>
        <p:spPr/>
        <p:txBody>
          <a:bodyPr/>
          <a:lstStyle/>
          <a:p>
            <a:fld id="{9E8169F0-646E-455B-AF5A-6D6C02EAEAF6}" type="slidenum">
              <a:rPr lang="en-GB" noProof="1" smtClean="0"/>
              <a:t>10</a:t>
            </a:fld>
            <a:endParaRPr lang="en-GB" noProof="1"/>
          </a:p>
        </p:txBody>
      </p:sp>
      <p:graphicFrame>
        <p:nvGraphicFramePr>
          <p:cNvPr id="7" name="Content Placeholder 6">
            <a:extLst>
              <a:ext uri="{FF2B5EF4-FFF2-40B4-BE49-F238E27FC236}">
                <a16:creationId xmlns:a16="http://schemas.microsoft.com/office/drawing/2014/main" id="{B213A504-AF0B-4DEB-B8A6-057B0B9F9935}"/>
              </a:ext>
            </a:extLst>
          </p:cNvPr>
          <p:cNvGraphicFramePr>
            <a:graphicFrameLocks noGrp="1"/>
          </p:cNvGraphicFramePr>
          <p:nvPr>
            <p:ph sz="quarter" idx="15"/>
            <p:extLst>
              <p:ext uri="{D42A27DB-BD31-4B8C-83A1-F6EECF244321}">
                <p14:modId xmlns:p14="http://schemas.microsoft.com/office/powerpoint/2010/main" val="2878337650"/>
              </p:ext>
            </p:extLst>
          </p:nvPr>
        </p:nvGraphicFramePr>
        <p:xfrm>
          <a:off x="232568" y="1662658"/>
          <a:ext cx="8678863" cy="793939"/>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6" name="Title 5">
            <a:extLst>
              <a:ext uri="{FF2B5EF4-FFF2-40B4-BE49-F238E27FC236}">
                <a16:creationId xmlns:a16="http://schemas.microsoft.com/office/drawing/2014/main" id="{4CEBBF5F-7584-4FE7-8A89-E5F2743DBDC0}"/>
              </a:ext>
            </a:extLst>
          </p:cNvPr>
          <p:cNvSpPr>
            <a:spLocks noGrp="1"/>
          </p:cNvSpPr>
          <p:nvPr>
            <p:ph type="title"/>
          </p:nvPr>
        </p:nvSpPr>
        <p:spPr/>
        <p:txBody>
          <a:bodyPr/>
          <a:lstStyle/>
          <a:p>
            <a:r>
              <a:rPr lang="en-US" dirty="0"/>
              <a:t>Plan the development within the Team</a:t>
            </a:r>
          </a:p>
        </p:txBody>
      </p:sp>
      <p:graphicFrame>
        <p:nvGraphicFramePr>
          <p:cNvPr id="8" name="Content Placeholder 6">
            <a:extLst>
              <a:ext uri="{FF2B5EF4-FFF2-40B4-BE49-F238E27FC236}">
                <a16:creationId xmlns:a16="http://schemas.microsoft.com/office/drawing/2014/main" id="{4012480D-4ACF-46ED-A5BC-A161DB9452BD}"/>
              </a:ext>
            </a:extLst>
          </p:cNvPr>
          <p:cNvGraphicFramePr>
            <a:graphicFrameLocks/>
          </p:cNvGraphicFramePr>
          <p:nvPr/>
        </p:nvGraphicFramePr>
        <p:xfrm>
          <a:off x="1958454" y="1330658"/>
          <a:ext cx="6121021" cy="416256"/>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grpSp>
        <p:nvGrpSpPr>
          <p:cNvPr id="12" name="Gruppo 57">
            <a:extLst>
              <a:ext uri="{FF2B5EF4-FFF2-40B4-BE49-F238E27FC236}">
                <a16:creationId xmlns:a16="http://schemas.microsoft.com/office/drawing/2014/main" id="{96E0BE94-53DC-4071-8828-0459313D9456}"/>
              </a:ext>
            </a:extLst>
          </p:cNvPr>
          <p:cNvGrpSpPr/>
          <p:nvPr/>
        </p:nvGrpSpPr>
        <p:grpSpPr>
          <a:xfrm>
            <a:off x="5508245" y="2405035"/>
            <a:ext cx="529106" cy="366887"/>
            <a:chOff x="6946025" y="2094577"/>
            <a:chExt cx="723806" cy="478077"/>
          </a:xfrm>
        </p:grpSpPr>
        <p:pic>
          <p:nvPicPr>
            <p:cNvPr id="25" name="Grafik 143">
              <a:extLst>
                <a:ext uri="{FF2B5EF4-FFF2-40B4-BE49-F238E27FC236}">
                  <a16:creationId xmlns:a16="http://schemas.microsoft.com/office/drawing/2014/main" id="{DEFF508D-9999-4AA0-A2B0-59E721894D31}"/>
                </a:ext>
              </a:extLst>
            </p:cNvPr>
            <p:cNvPicPr>
              <a:picLocks noChangeAspect="1"/>
            </p:cNvPicPr>
            <p:nvPr/>
          </p:nvPicPr>
          <p:blipFill>
            <a:blip r:embed="rId17"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6946025" y="2122512"/>
              <a:ext cx="723806" cy="450142"/>
            </a:xfrm>
            <a:prstGeom prst="rect">
              <a:avLst/>
            </a:prstGeom>
          </p:spPr>
        </p:pic>
        <p:sp>
          <p:nvSpPr>
            <p:cNvPr id="26" name="CasellaDiTesto 59">
              <a:extLst>
                <a:ext uri="{FF2B5EF4-FFF2-40B4-BE49-F238E27FC236}">
                  <a16:creationId xmlns:a16="http://schemas.microsoft.com/office/drawing/2014/main" id="{EF7AC9F6-CBEE-498A-B32B-FECA87197DA1}"/>
                </a:ext>
              </a:extLst>
            </p:cNvPr>
            <p:cNvSpPr txBox="1"/>
            <p:nvPr/>
          </p:nvSpPr>
          <p:spPr>
            <a:xfrm>
              <a:off x="7225224" y="2094577"/>
              <a:ext cx="434106" cy="158833"/>
            </a:xfrm>
            <a:prstGeom prst="rect">
              <a:avLst/>
            </a:prstGeom>
            <a:solidFill>
              <a:sysClr val="window" lastClr="FFFFFF"/>
            </a:solid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1" i="1" u="none" strike="noStrike" kern="0" cap="none" spc="0" normalizeH="0" baseline="0" noProof="0" dirty="0">
                  <a:ln>
                    <a:noFill/>
                  </a:ln>
                  <a:solidFill>
                    <a:srgbClr val="999999"/>
                  </a:solidFill>
                  <a:effectLst/>
                  <a:uLnTx/>
                  <a:uFillTx/>
                  <a:latin typeface="UniCredit"/>
                  <a:cs typeface="Arial" charset="0"/>
                </a:rPr>
                <a:t>DEPLOY</a:t>
              </a:r>
              <a:endParaRPr kumimoji="0" lang="en-US" sz="1400" b="1" i="1" u="none" strike="noStrike" kern="0" cap="none" spc="0" normalizeH="0" baseline="0" noProof="0" dirty="0">
                <a:ln>
                  <a:noFill/>
                </a:ln>
                <a:solidFill>
                  <a:srgbClr val="999999"/>
                </a:solidFill>
                <a:effectLst/>
                <a:uLnTx/>
                <a:uFillTx/>
                <a:latin typeface="UniCredit"/>
                <a:cs typeface="Arial" charset="0"/>
              </a:endParaRPr>
            </a:p>
          </p:txBody>
        </p:sp>
      </p:grpSp>
      <p:pic>
        <p:nvPicPr>
          <p:cNvPr id="13" name="Immagine 68">
            <a:extLst>
              <a:ext uri="{FF2B5EF4-FFF2-40B4-BE49-F238E27FC236}">
                <a16:creationId xmlns:a16="http://schemas.microsoft.com/office/drawing/2014/main" id="{0141B9BC-946F-47F8-B222-7B5FB3E42FAB}"/>
              </a:ext>
            </a:extLst>
          </p:cNvPr>
          <p:cNvPicPr>
            <a:picLocks noChangeAspect="1"/>
          </p:cNvPicPr>
          <p:nvPr/>
        </p:nvPicPr>
        <p:blipFill>
          <a:blip r:embed="rId18"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4988808" y="937660"/>
            <a:ext cx="527698" cy="316419"/>
          </a:xfrm>
          <a:prstGeom prst="rect">
            <a:avLst/>
          </a:prstGeom>
        </p:spPr>
      </p:pic>
      <p:pic>
        <p:nvPicPr>
          <p:cNvPr id="14" name="Immagine 90">
            <a:extLst>
              <a:ext uri="{FF2B5EF4-FFF2-40B4-BE49-F238E27FC236}">
                <a16:creationId xmlns:a16="http://schemas.microsoft.com/office/drawing/2014/main" id="{1F6956C0-6AD7-42B3-8A6D-229457FA84E4}"/>
              </a:ext>
            </a:extLst>
          </p:cNvPr>
          <p:cNvPicPr>
            <a:picLocks noChangeAspect="1"/>
          </p:cNvPicPr>
          <p:nvPr/>
        </p:nvPicPr>
        <p:blipFill>
          <a:blip r:embed="rId19"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6322667" y="2477700"/>
            <a:ext cx="622008" cy="197186"/>
          </a:xfrm>
          <a:prstGeom prst="rect">
            <a:avLst/>
          </a:prstGeom>
        </p:spPr>
      </p:pic>
      <p:pic>
        <p:nvPicPr>
          <p:cNvPr id="15" name="Immagine 92">
            <a:extLst>
              <a:ext uri="{FF2B5EF4-FFF2-40B4-BE49-F238E27FC236}">
                <a16:creationId xmlns:a16="http://schemas.microsoft.com/office/drawing/2014/main" id="{5A757FDC-EB77-47F4-9B34-CA7FB43E3E65}"/>
              </a:ext>
            </a:extLst>
          </p:cNvPr>
          <p:cNvPicPr>
            <a:picLocks noChangeAspect="1"/>
          </p:cNvPicPr>
          <p:nvPr/>
        </p:nvPicPr>
        <p:blipFill>
          <a:blip r:embed="rId20"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7222315" y="2370242"/>
            <a:ext cx="576113" cy="376123"/>
          </a:xfrm>
          <a:prstGeom prst="rect">
            <a:avLst/>
          </a:prstGeom>
        </p:spPr>
      </p:pic>
      <p:pic>
        <p:nvPicPr>
          <p:cNvPr id="17" name="Immagine 124">
            <a:extLst>
              <a:ext uri="{FF2B5EF4-FFF2-40B4-BE49-F238E27FC236}">
                <a16:creationId xmlns:a16="http://schemas.microsoft.com/office/drawing/2014/main" id="{0D3D192C-F36A-401A-BDC0-CD9B1DF67085}"/>
              </a:ext>
            </a:extLst>
          </p:cNvPr>
          <p:cNvPicPr>
            <a:picLocks noChangeAspect="1"/>
          </p:cNvPicPr>
          <p:nvPr/>
        </p:nvPicPr>
        <p:blipFill>
          <a:blip r:embed="rId21"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3576062" y="2400916"/>
            <a:ext cx="1045724" cy="402234"/>
          </a:xfrm>
          <a:prstGeom prst="rect">
            <a:avLst/>
          </a:prstGeom>
        </p:spPr>
      </p:pic>
      <p:pic>
        <p:nvPicPr>
          <p:cNvPr id="18" name="Picture 4" descr="JUnit – About">
            <a:extLst>
              <a:ext uri="{FF2B5EF4-FFF2-40B4-BE49-F238E27FC236}">
                <a16:creationId xmlns:a16="http://schemas.microsoft.com/office/drawing/2014/main" id="{43D69F85-738D-4488-A255-E84FECD44BE3}"/>
              </a:ext>
            </a:extLst>
          </p:cNvPr>
          <p:cNvPicPr>
            <a:picLocks noChangeAspect="1" noChangeArrowheads="1"/>
          </p:cNvPicPr>
          <p:nvPr/>
        </p:nvPicPr>
        <p:blipFill>
          <a:blip r:embed="rId22" cstate="email">
            <a:duotone>
              <a:schemeClr val="bg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3006688" y="2496035"/>
            <a:ext cx="493019" cy="155210"/>
          </a:xfrm>
          <a:prstGeom prst="rect">
            <a:avLst/>
          </a:prstGeom>
          <a:noFill/>
          <a:extLst>
            <a:ext uri="{909E8E84-426E-40DD-AFC4-6F175D3DCCD1}">
              <a14:hiddenFill xmlns:a14="http://schemas.microsoft.com/office/drawing/2010/main">
                <a:solidFill>
                  <a:srgbClr val="FFFFFF"/>
                </a:solidFill>
              </a14:hiddenFill>
            </a:ext>
          </a:extLst>
        </p:spPr>
      </p:pic>
      <p:grpSp>
        <p:nvGrpSpPr>
          <p:cNvPr id="19" name="Gruppo 12">
            <a:extLst>
              <a:ext uri="{FF2B5EF4-FFF2-40B4-BE49-F238E27FC236}">
                <a16:creationId xmlns:a16="http://schemas.microsoft.com/office/drawing/2014/main" id="{F3DC3895-2715-40DE-8A2B-A4D3871C6BC2}"/>
              </a:ext>
            </a:extLst>
          </p:cNvPr>
          <p:cNvGrpSpPr/>
          <p:nvPr/>
        </p:nvGrpSpPr>
        <p:grpSpPr>
          <a:xfrm>
            <a:off x="4708823" y="2238895"/>
            <a:ext cx="547002" cy="457094"/>
            <a:chOff x="8284888" y="2480464"/>
            <a:chExt cx="569212" cy="461665"/>
          </a:xfrm>
        </p:grpSpPr>
        <p:pic>
          <p:nvPicPr>
            <p:cNvPr id="23" name="Immagine 40">
              <a:extLst>
                <a:ext uri="{FF2B5EF4-FFF2-40B4-BE49-F238E27FC236}">
                  <a16:creationId xmlns:a16="http://schemas.microsoft.com/office/drawing/2014/main" id="{8C31A6CE-D9F6-4E08-9C3F-2EAD7378E351}"/>
                </a:ext>
              </a:extLst>
            </p:cNvPr>
            <p:cNvPicPr>
              <a:picLocks noChangeAspect="1"/>
            </p:cNvPicPr>
            <p:nvPr/>
          </p:nvPicPr>
          <p:blipFill>
            <a:blip r:embed="rId23"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8284888" y="2711297"/>
              <a:ext cx="490862" cy="197995"/>
            </a:xfrm>
            <a:prstGeom prst="rect">
              <a:avLst/>
            </a:prstGeom>
            <a:solidFill>
              <a:sysClr val="window" lastClr="FFFFFF"/>
            </a:solidFill>
          </p:spPr>
        </p:pic>
        <p:sp>
          <p:nvSpPr>
            <p:cNvPr id="24" name="CasellaDiTesto 81">
              <a:extLst>
                <a:ext uri="{FF2B5EF4-FFF2-40B4-BE49-F238E27FC236}">
                  <a16:creationId xmlns:a16="http://schemas.microsoft.com/office/drawing/2014/main" id="{6B613A88-89B7-47B0-8A52-A599BD41CADB}"/>
                </a:ext>
              </a:extLst>
            </p:cNvPr>
            <p:cNvSpPr txBox="1"/>
            <p:nvPr/>
          </p:nvSpPr>
          <p:spPr>
            <a:xfrm>
              <a:off x="8669369" y="2480464"/>
              <a:ext cx="184731" cy="461665"/>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dirty="0">
                <a:ln>
                  <a:noFill/>
                </a:ln>
                <a:solidFill>
                  <a:srgbClr val="999999"/>
                </a:solidFill>
                <a:effectLst/>
                <a:uLnTx/>
                <a:uFillTx/>
                <a:latin typeface="UniCredit"/>
                <a:cs typeface="Arial" charset="0"/>
              </a:endParaRPr>
            </a:p>
          </p:txBody>
        </p:sp>
      </p:grpSp>
      <p:pic>
        <p:nvPicPr>
          <p:cNvPr id="20" name="Graphic 19">
            <a:extLst>
              <a:ext uri="{FF2B5EF4-FFF2-40B4-BE49-F238E27FC236}">
                <a16:creationId xmlns:a16="http://schemas.microsoft.com/office/drawing/2014/main" id="{F78FA946-A515-477A-9B6D-1F2533606B92}"/>
              </a:ext>
            </a:extLst>
          </p:cNvPr>
          <p:cNvPicPr>
            <a:picLocks noChangeAspect="1"/>
          </p:cNvPicPr>
          <p:nvPr/>
        </p:nvPicPr>
        <p:blipFill>
          <a:blip r:embed="rId24" cstate="email">
            <a:extLst>
              <a:ext uri="{28A0092B-C50C-407E-A947-70E740481C1C}">
                <a14:useLocalDpi xmlns:a14="http://schemas.microsoft.com/office/drawing/2010/main"/>
              </a:ext>
              <a:ext uri="{96DAC541-7B7A-43D3-8B79-37D633B846F1}">
                <asvg:svgBlip xmlns:asvg="http://schemas.microsoft.com/office/drawing/2016/SVG/main" r:embed="rId25"/>
              </a:ext>
            </a:extLst>
          </a:blip>
          <a:stretch>
            <a:fillRect/>
          </a:stretch>
        </p:blipFill>
        <p:spPr>
          <a:xfrm>
            <a:off x="502979" y="2794878"/>
            <a:ext cx="527698" cy="281008"/>
          </a:xfrm>
          <a:prstGeom prst="rect">
            <a:avLst/>
          </a:prstGeom>
        </p:spPr>
      </p:pic>
      <p:pic>
        <p:nvPicPr>
          <p:cNvPr id="21" name="Picture 6" descr="Jira - Logo">
            <a:extLst>
              <a:ext uri="{FF2B5EF4-FFF2-40B4-BE49-F238E27FC236}">
                <a16:creationId xmlns:a16="http://schemas.microsoft.com/office/drawing/2014/main" id="{46421F2C-80A9-4993-A330-F72A33680620}"/>
              </a:ext>
            </a:extLst>
          </p:cNvPr>
          <p:cNvPicPr>
            <a:picLocks noChangeAspect="1" noChangeArrowheads="1"/>
          </p:cNvPicPr>
          <p:nvPr/>
        </p:nvPicPr>
        <p:blipFill>
          <a:blip r:embed="rId26" cstate="email">
            <a:extLst>
              <a:ext uri="{28A0092B-C50C-407E-A947-70E740481C1C}">
                <a14:useLocalDpi xmlns:a14="http://schemas.microsoft.com/office/drawing/2010/main"/>
              </a:ext>
            </a:extLst>
          </a:blip>
          <a:srcRect/>
          <a:stretch>
            <a:fillRect/>
          </a:stretch>
        </p:blipFill>
        <p:spPr bwMode="auto">
          <a:xfrm>
            <a:off x="473623" y="2466704"/>
            <a:ext cx="475044" cy="212178"/>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6">
            <a:extLst>
              <a:ext uri="{FF2B5EF4-FFF2-40B4-BE49-F238E27FC236}">
                <a16:creationId xmlns:a16="http://schemas.microsoft.com/office/drawing/2014/main" id="{8E43D0E3-532C-4C39-99C9-20721793742D}"/>
              </a:ext>
            </a:extLst>
          </p:cNvPr>
          <p:cNvPicPr>
            <a:picLocks noChangeAspect="1"/>
          </p:cNvPicPr>
          <p:nvPr/>
        </p:nvPicPr>
        <p:blipFill>
          <a:blip r:embed="rId27"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3117583" y="3230769"/>
            <a:ext cx="271228" cy="291643"/>
          </a:xfrm>
          <a:prstGeom prst="rect">
            <a:avLst/>
          </a:prstGeom>
        </p:spPr>
      </p:pic>
      <p:grpSp>
        <p:nvGrpSpPr>
          <p:cNvPr id="30" name="Gruppo 57">
            <a:extLst>
              <a:ext uri="{FF2B5EF4-FFF2-40B4-BE49-F238E27FC236}">
                <a16:creationId xmlns:a16="http://schemas.microsoft.com/office/drawing/2014/main" id="{DE5DFB16-D2CA-496C-BD55-F2D48342B748}"/>
              </a:ext>
            </a:extLst>
          </p:cNvPr>
          <p:cNvGrpSpPr/>
          <p:nvPr/>
        </p:nvGrpSpPr>
        <p:grpSpPr>
          <a:xfrm>
            <a:off x="8076068" y="2412332"/>
            <a:ext cx="529106" cy="366887"/>
            <a:chOff x="6946025" y="2094577"/>
            <a:chExt cx="723806" cy="478077"/>
          </a:xfrm>
        </p:grpSpPr>
        <p:pic>
          <p:nvPicPr>
            <p:cNvPr id="31" name="Grafik 143">
              <a:extLst>
                <a:ext uri="{FF2B5EF4-FFF2-40B4-BE49-F238E27FC236}">
                  <a16:creationId xmlns:a16="http://schemas.microsoft.com/office/drawing/2014/main" id="{C74DA0A2-E42C-419D-A1E6-613AA6E5A8E6}"/>
                </a:ext>
              </a:extLst>
            </p:cNvPr>
            <p:cNvPicPr>
              <a:picLocks noChangeAspect="1"/>
            </p:cNvPicPr>
            <p:nvPr/>
          </p:nvPicPr>
          <p:blipFill>
            <a:blip r:embed="rId17"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6946025" y="2122512"/>
              <a:ext cx="723806" cy="450142"/>
            </a:xfrm>
            <a:prstGeom prst="rect">
              <a:avLst/>
            </a:prstGeom>
          </p:spPr>
        </p:pic>
        <p:sp>
          <p:nvSpPr>
            <p:cNvPr id="32" name="CasellaDiTesto 59">
              <a:extLst>
                <a:ext uri="{FF2B5EF4-FFF2-40B4-BE49-F238E27FC236}">
                  <a16:creationId xmlns:a16="http://schemas.microsoft.com/office/drawing/2014/main" id="{C6BE75B0-EEDD-42DA-8834-701850B9CB36}"/>
                </a:ext>
              </a:extLst>
            </p:cNvPr>
            <p:cNvSpPr txBox="1"/>
            <p:nvPr/>
          </p:nvSpPr>
          <p:spPr>
            <a:xfrm>
              <a:off x="7225224" y="2094577"/>
              <a:ext cx="434106" cy="158833"/>
            </a:xfrm>
            <a:prstGeom prst="rect">
              <a:avLst/>
            </a:prstGeom>
            <a:solidFill>
              <a:sysClr val="window" lastClr="FFFFFF"/>
            </a:solid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1" i="1" u="none" strike="noStrike" kern="0" cap="none" spc="0" normalizeH="0" baseline="0" noProof="0" dirty="0">
                  <a:ln>
                    <a:noFill/>
                  </a:ln>
                  <a:solidFill>
                    <a:srgbClr val="999999"/>
                  </a:solidFill>
                  <a:effectLst/>
                  <a:uLnTx/>
                  <a:uFillTx/>
                  <a:latin typeface="UniCredit"/>
                  <a:cs typeface="Arial" charset="0"/>
                </a:rPr>
                <a:t>DEPLOY</a:t>
              </a:r>
              <a:endParaRPr kumimoji="0" lang="en-US" sz="1400" b="1" i="1" u="none" strike="noStrike" kern="0" cap="none" spc="0" normalizeH="0" baseline="0" noProof="0" dirty="0">
                <a:ln>
                  <a:noFill/>
                </a:ln>
                <a:solidFill>
                  <a:srgbClr val="999999"/>
                </a:solidFill>
                <a:effectLst/>
                <a:uLnTx/>
                <a:uFillTx/>
                <a:latin typeface="UniCredit"/>
                <a:cs typeface="Arial" charset="0"/>
              </a:endParaRPr>
            </a:p>
          </p:txBody>
        </p:sp>
      </p:grpSp>
      <p:pic>
        <p:nvPicPr>
          <p:cNvPr id="33" name="Picture 28" descr="WireMock for Java Developers | Udemy">
            <a:extLst>
              <a:ext uri="{FF2B5EF4-FFF2-40B4-BE49-F238E27FC236}">
                <a16:creationId xmlns:a16="http://schemas.microsoft.com/office/drawing/2014/main" id="{24A9A257-90C9-4533-934C-7A70205C7E26}"/>
              </a:ext>
            </a:extLst>
          </p:cNvPr>
          <p:cNvPicPr>
            <a:picLocks noChangeAspect="1" noChangeArrowheads="1"/>
          </p:cNvPicPr>
          <p:nvPr/>
        </p:nvPicPr>
        <p:blipFill>
          <a:blip r:embed="rId28" cstate="print">
            <a:duotone>
              <a:schemeClr val="bg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6806341" y="2862878"/>
            <a:ext cx="518476" cy="291643"/>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20" descr="Liquibase | Database CI/CD &amp; Automation | Database DevOps">
            <a:extLst>
              <a:ext uri="{FF2B5EF4-FFF2-40B4-BE49-F238E27FC236}">
                <a16:creationId xmlns:a16="http://schemas.microsoft.com/office/drawing/2014/main" id="{98ABEE39-4DFB-4526-B645-77E5F85F754A}"/>
              </a:ext>
            </a:extLst>
          </p:cNvPr>
          <p:cNvPicPr>
            <a:picLocks noChangeAspect="1" noChangeArrowheads="1"/>
          </p:cNvPicPr>
          <p:nvPr/>
        </p:nvPicPr>
        <p:blipFill>
          <a:blip r:embed="rId29"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871008" y="2901167"/>
            <a:ext cx="545935" cy="360000"/>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10" descr="Flyway (software) - Wikipedia">
            <a:extLst>
              <a:ext uri="{FF2B5EF4-FFF2-40B4-BE49-F238E27FC236}">
                <a16:creationId xmlns:a16="http://schemas.microsoft.com/office/drawing/2014/main" id="{C8C05ECE-D2ED-4084-89F3-5DB603C030C3}"/>
              </a:ext>
            </a:extLst>
          </p:cNvPr>
          <p:cNvPicPr>
            <a:picLocks noChangeAspect="1" noChangeArrowheads="1"/>
          </p:cNvPicPr>
          <p:nvPr/>
        </p:nvPicPr>
        <p:blipFill>
          <a:blip r:embed="rId30"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359763" y="2871407"/>
            <a:ext cx="511245" cy="406440"/>
          </a:xfrm>
          <a:prstGeom prst="rect">
            <a:avLst/>
          </a:prstGeom>
          <a:noFill/>
          <a:extLst>
            <a:ext uri="{909E8E84-426E-40DD-AFC4-6F175D3DCCD1}">
              <a14:hiddenFill xmlns:a14="http://schemas.microsoft.com/office/drawing/2010/main">
                <a:solidFill>
                  <a:srgbClr val="FFFFFF"/>
                </a:solidFill>
              </a14:hiddenFill>
            </a:ext>
          </a:extLst>
        </p:spPr>
      </p:pic>
      <p:pic>
        <p:nvPicPr>
          <p:cNvPr id="37894" name="Picture 6" descr="Branding Guidelines (Draft WIP) | OWASP">
            <a:extLst>
              <a:ext uri="{FF2B5EF4-FFF2-40B4-BE49-F238E27FC236}">
                <a16:creationId xmlns:a16="http://schemas.microsoft.com/office/drawing/2014/main" id="{ECA8E031-C4DE-49C3-98F8-336E375E2F06}"/>
              </a:ext>
            </a:extLst>
          </p:cNvPr>
          <p:cNvPicPr>
            <a:picLocks noChangeAspect="1" noChangeArrowheads="1"/>
          </p:cNvPicPr>
          <p:nvPr/>
        </p:nvPicPr>
        <p:blipFill>
          <a:blip r:embed="rId31"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710231" y="2855669"/>
            <a:ext cx="725763" cy="252505"/>
          </a:xfrm>
          <a:prstGeom prst="rect">
            <a:avLst/>
          </a:prstGeom>
          <a:noFill/>
          <a:extLst>
            <a:ext uri="{909E8E84-426E-40DD-AFC4-6F175D3DCCD1}">
              <a14:hiddenFill xmlns:a14="http://schemas.microsoft.com/office/drawing/2010/main">
                <a:solidFill>
                  <a:srgbClr val="FFFFFF"/>
                </a:solidFill>
              </a14:hiddenFill>
            </a:ext>
          </a:extLst>
        </p:spPr>
      </p:pic>
      <p:pic>
        <p:nvPicPr>
          <p:cNvPr id="37896" name="Picture 8">
            <a:extLst>
              <a:ext uri="{FF2B5EF4-FFF2-40B4-BE49-F238E27FC236}">
                <a16:creationId xmlns:a16="http://schemas.microsoft.com/office/drawing/2014/main" id="{B7DD6AF4-1615-4535-807F-237487883906}"/>
              </a:ext>
            </a:extLst>
          </p:cNvPr>
          <p:cNvPicPr>
            <a:picLocks noChangeAspect="1" noChangeArrowheads="1"/>
          </p:cNvPicPr>
          <p:nvPr/>
        </p:nvPicPr>
        <p:blipFill>
          <a:blip r:embed="rId32"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133631" y="2494295"/>
            <a:ext cx="661499" cy="167442"/>
          </a:xfrm>
          <a:prstGeom prst="rect">
            <a:avLst/>
          </a:prstGeom>
          <a:noFill/>
          <a:extLst>
            <a:ext uri="{909E8E84-426E-40DD-AFC4-6F175D3DCCD1}">
              <a14:hiddenFill xmlns:a14="http://schemas.microsoft.com/office/drawing/2010/main">
                <a:solidFill>
                  <a:srgbClr val="FFFFFF"/>
                </a:solidFill>
              </a14:hiddenFill>
            </a:ext>
          </a:extLst>
        </p:spPr>
      </p:pic>
      <p:pic>
        <p:nvPicPr>
          <p:cNvPr id="37898" name="Picture 10" descr="Press Kit | Atlassian">
            <a:extLst>
              <a:ext uri="{FF2B5EF4-FFF2-40B4-BE49-F238E27FC236}">
                <a16:creationId xmlns:a16="http://schemas.microsoft.com/office/drawing/2014/main" id="{9ECAA01F-D03E-4060-B5BB-87503731390E}"/>
              </a:ext>
            </a:extLst>
          </p:cNvPr>
          <p:cNvPicPr>
            <a:picLocks noChangeAspect="1" noChangeArrowheads="1"/>
          </p:cNvPicPr>
          <p:nvPr/>
        </p:nvPicPr>
        <p:blipFill>
          <a:blip r:embed="rId33"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148118" y="2517890"/>
            <a:ext cx="810336" cy="116805"/>
          </a:xfrm>
          <a:prstGeom prst="rect">
            <a:avLst/>
          </a:prstGeom>
          <a:noFill/>
          <a:extLst>
            <a:ext uri="{909E8E84-426E-40DD-AFC4-6F175D3DCCD1}">
              <a14:hiddenFill xmlns:a14="http://schemas.microsoft.com/office/drawing/2010/main">
                <a:solidFill>
                  <a:srgbClr val="FFFFFF"/>
                </a:solidFill>
              </a14:hiddenFill>
            </a:ext>
          </a:extLst>
        </p:spPr>
      </p:pic>
      <p:pic>
        <p:nvPicPr>
          <p:cNvPr id="37903" name="Picture 15" descr="How to install Node.js 7 and NPM 4 on CentOS 6/7, Debian 8 and Ubuntu 16">
            <a:extLst>
              <a:ext uri="{FF2B5EF4-FFF2-40B4-BE49-F238E27FC236}">
                <a16:creationId xmlns:a16="http://schemas.microsoft.com/office/drawing/2014/main" id="{7873FB91-1337-4A7F-8995-6F82AEF761CD}"/>
              </a:ext>
            </a:extLst>
          </p:cNvPr>
          <p:cNvPicPr>
            <a:picLocks noChangeAspect="1" noChangeArrowheads="1"/>
          </p:cNvPicPr>
          <p:nvPr/>
        </p:nvPicPr>
        <p:blipFill>
          <a:blip r:embed="rId34"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992296" y="2803150"/>
            <a:ext cx="926045" cy="360000"/>
          </a:xfrm>
          <a:prstGeom prst="rect">
            <a:avLst/>
          </a:prstGeom>
          <a:noFill/>
          <a:extLst>
            <a:ext uri="{909E8E84-426E-40DD-AFC4-6F175D3DCCD1}">
              <a14:hiddenFill xmlns:a14="http://schemas.microsoft.com/office/drawing/2010/main">
                <a:solidFill>
                  <a:srgbClr val="FFFFFF"/>
                </a:solidFill>
              </a14:hiddenFill>
            </a:ext>
          </a:extLst>
        </p:spPr>
      </p:pic>
      <p:pic>
        <p:nvPicPr>
          <p:cNvPr id="37905" name="Picture 17" descr="PowerMock (Android). Often, in order to write unit tests… | by Gioacchino  Lonardo | Medium">
            <a:extLst>
              <a:ext uri="{FF2B5EF4-FFF2-40B4-BE49-F238E27FC236}">
                <a16:creationId xmlns:a16="http://schemas.microsoft.com/office/drawing/2014/main" id="{D068A2D2-A3E1-43A2-9A0A-99C002C43726}"/>
              </a:ext>
            </a:extLst>
          </p:cNvPr>
          <p:cNvPicPr>
            <a:picLocks noChangeAspect="1" noChangeArrowheads="1"/>
          </p:cNvPicPr>
          <p:nvPr/>
        </p:nvPicPr>
        <p:blipFill>
          <a:blip r:embed="rId35"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024516" y="2835505"/>
            <a:ext cx="493019" cy="2473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3647012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919099C-36C8-4EF0-9A43-5B582E9A4403}"/>
              </a:ext>
            </a:extLst>
          </p:cNvPr>
          <p:cNvGraphicFramePr>
            <a:graphicFrameLocks noChangeAspect="1"/>
          </p:cNvGraphicFramePr>
          <p:nvPr>
            <p:custDataLst>
              <p:tags r:id="rId2"/>
            </p:custDataLst>
            <p:extLst>
              <p:ext uri="{D42A27DB-BD31-4B8C-83A1-F6EECF244321}">
                <p14:modId xmlns:p14="http://schemas.microsoft.com/office/powerpoint/2010/main" val="22062092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835" name="think-cell Slide" r:id="rId5" imgW="360" imgH="360" progId="TCLayout.ActiveDocument.1">
                  <p:embed/>
                </p:oleObj>
              </mc:Choice>
              <mc:Fallback>
                <p:oleObj name="think-cell Slide" r:id="rId5" imgW="360" imgH="360" progId="TCLayout.ActiveDocument.1">
                  <p:embed/>
                  <p:pic>
                    <p:nvPicPr>
                      <p:cNvPr id="9" name="Object 8" hidden="1">
                        <a:extLst>
                          <a:ext uri="{FF2B5EF4-FFF2-40B4-BE49-F238E27FC236}">
                            <a16:creationId xmlns:a16="http://schemas.microsoft.com/office/drawing/2014/main" id="{5919099C-36C8-4EF0-9A43-5B582E9A440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13A49523-63FD-40CA-B6D4-17B25699DE9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UniCredit" panose="02000506040000020004" pitchFamily="2" charset="0"/>
              <a:ea typeface="+mj-ea"/>
              <a:cs typeface="Arial" panose="020B0604020202020204" pitchFamily="34" charset="0"/>
              <a:sym typeface="UniCredit" panose="02000506040000020004" pitchFamily="2" charset="0"/>
            </a:endParaRPr>
          </a:p>
        </p:txBody>
      </p:sp>
      <p:sp>
        <p:nvSpPr>
          <p:cNvPr id="4" name="Slide Number Placeholder 3">
            <a:extLst>
              <a:ext uri="{FF2B5EF4-FFF2-40B4-BE49-F238E27FC236}">
                <a16:creationId xmlns:a16="http://schemas.microsoft.com/office/drawing/2014/main" id="{21C14EC6-9D47-45F6-BBD0-9617C648A332}"/>
              </a:ext>
            </a:extLst>
          </p:cNvPr>
          <p:cNvSpPr>
            <a:spLocks noGrp="1"/>
          </p:cNvSpPr>
          <p:nvPr>
            <p:ph type="sldNum" sz="quarter" idx="11"/>
          </p:nvPr>
        </p:nvSpPr>
        <p:spPr/>
        <p:txBody>
          <a:bodyPr/>
          <a:lstStyle/>
          <a:p>
            <a:fld id="{9E8169F0-646E-455B-AF5A-6D6C02EAEAF6}" type="slidenum">
              <a:rPr lang="en-GB" noProof="1" smtClean="0"/>
              <a:t>11</a:t>
            </a:fld>
            <a:endParaRPr lang="en-GB" noProof="1"/>
          </a:p>
        </p:txBody>
      </p:sp>
      <p:sp>
        <p:nvSpPr>
          <p:cNvPr id="6" name="Title 5">
            <a:extLst>
              <a:ext uri="{FF2B5EF4-FFF2-40B4-BE49-F238E27FC236}">
                <a16:creationId xmlns:a16="http://schemas.microsoft.com/office/drawing/2014/main" id="{8ACE8824-5435-4B16-962F-636B08BA2030}"/>
              </a:ext>
            </a:extLst>
          </p:cNvPr>
          <p:cNvSpPr>
            <a:spLocks noGrp="1"/>
          </p:cNvSpPr>
          <p:nvPr>
            <p:ph type="title"/>
          </p:nvPr>
        </p:nvSpPr>
        <p:spPr/>
        <p:txBody>
          <a:bodyPr/>
          <a:lstStyle/>
          <a:p>
            <a:r>
              <a:rPr lang="en-US" dirty="0"/>
              <a:t>Team working and Collaboration</a:t>
            </a:r>
          </a:p>
        </p:txBody>
      </p:sp>
      <p:sp>
        <p:nvSpPr>
          <p:cNvPr id="12" name="Round Diagonal Corner Rectangle 11"/>
          <p:cNvSpPr/>
          <p:nvPr/>
        </p:nvSpPr>
        <p:spPr>
          <a:xfrm>
            <a:off x="217357" y="1026826"/>
            <a:ext cx="1425600" cy="1424066"/>
          </a:xfrm>
          <a:prstGeom prst="round2DiagRect">
            <a:avLst/>
          </a:prstGeom>
          <a:noFill/>
          <a:ln>
            <a:solidFill>
              <a:schemeClr val="accent1"/>
            </a:solidFill>
          </a:ln>
        </p:spPr>
        <p:txBody>
          <a:bodyPr wrap="square" lIns="144000" tIns="0" rIns="0" bIns="0" anchor="ctr">
            <a:noAutofit/>
          </a:bodyPr>
          <a:lstStyle/>
          <a:p>
            <a:pPr defTabSz="179388">
              <a:defRPr/>
            </a:pPr>
            <a:endParaRPr lang="en-US" sz="1100" dirty="0"/>
          </a:p>
        </p:txBody>
      </p:sp>
      <p:sp>
        <p:nvSpPr>
          <p:cNvPr id="13" name="Round Diagonal Corner Rectangle 12"/>
          <p:cNvSpPr/>
          <p:nvPr/>
        </p:nvSpPr>
        <p:spPr>
          <a:xfrm>
            <a:off x="1918740" y="1026826"/>
            <a:ext cx="6880485" cy="1424066"/>
          </a:xfrm>
          <a:prstGeom prst="round2DiagRect">
            <a:avLst/>
          </a:prstGeom>
          <a:solidFill>
            <a:srgbClr val="D0EBF2">
              <a:alpha val="46000"/>
            </a:srgbClr>
          </a:solidFill>
          <a:ln>
            <a:solidFill>
              <a:schemeClr val="accent1"/>
            </a:solidFill>
          </a:ln>
        </p:spPr>
        <p:txBody>
          <a:bodyPr wrap="square" lIns="144000" tIns="0" rIns="0" bIns="0" anchor="ctr">
            <a:noAutofit/>
          </a:bodyPr>
          <a:lstStyle/>
          <a:p>
            <a:r>
              <a:rPr lang="en-US" sz="1400" b="1" dirty="0" err="1">
                <a:solidFill>
                  <a:schemeClr val="accent1"/>
                </a:solidFill>
              </a:rPr>
              <a:t>Mattermost</a:t>
            </a:r>
            <a:r>
              <a:rPr lang="en-US" sz="1400" dirty="0"/>
              <a:t> is an open-source, on premise chat service alternative to </a:t>
            </a:r>
            <a:r>
              <a:rPr lang="en-US" sz="1400" b="1" dirty="0"/>
              <a:t>Slack </a:t>
            </a:r>
            <a:r>
              <a:rPr lang="en-US" sz="1400" dirty="0"/>
              <a:t>and </a:t>
            </a:r>
            <a:r>
              <a:rPr lang="en-US" sz="1400" b="1" dirty="0"/>
              <a:t>Microsoft </a:t>
            </a:r>
            <a:r>
              <a:rPr lang="en-US" sz="1400" dirty="0"/>
              <a:t>Teams that offers </a:t>
            </a:r>
            <a:r>
              <a:rPr lang="en-US" sz="1400" b="1" dirty="0"/>
              <a:t>IRC-style </a:t>
            </a:r>
            <a:r>
              <a:rPr lang="en-US" sz="1400" dirty="0"/>
              <a:t>features like persistent chat rooms organized by </a:t>
            </a:r>
            <a:r>
              <a:rPr lang="en-US" sz="1400" b="1" dirty="0"/>
              <a:t>topic</a:t>
            </a:r>
            <a:r>
              <a:rPr lang="en-US" sz="1400" dirty="0"/>
              <a:t>, </a:t>
            </a:r>
            <a:r>
              <a:rPr lang="en-US" sz="1400" b="1" dirty="0"/>
              <a:t>private </a:t>
            </a:r>
            <a:r>
              <a:rPr lang="en-US" sz="1400" dirty="0"/>
              <a:t>groups, </a:t>
            </a:r>
            <a:r>
              <a:rPr lang="en-US" sz="1400" b="1" dirty="0"/>
              <a:t>direct messaging</a:t>
            </a:r>
            <a:r>
              <a:rPr lang="en-US" sz="1400" dirty="0"/>
              <a:t>, </a:t>
            </a:r>
            <a:r>
              <a:rPr lang="en-US" sz="1400" b="1" dirty="0"/>
              <a:t>file sharing</a:t>
            </a:r>
            <a:r>
              <a:rPr lang="en-US" sz="1400" dirty="0"/>
              <a:t>, search, and integrations (e.g. to receive notifications on pipeline status from our Jenkins)</a:t>
            </a:r>
          </a:p>
        </p:txBody>
      </p:sp>
      <p:sp>
        <p:nvSpPr>
          <p:cNvPr id="15" name="Round Diagonal Corner Rectangle 14"/>
          <p:cNvSpPr/>
          <p:nvPr/>
        </p:nvSpPr>
        <p:spPr>
          <a:xfrm>
            <a:off x="1918740" y="2775718"/>
            <a:ext cx="6880485" cy="1424066"/>
          </a:xfrm>
          <a:prstGeom prst="round2DiagRect">
            <a:avLst/>
          </a:prstGeom>
          <a:solidFill>
            <a:srgbClr val="D0EBF2">
              <a:alpha val="46000"/>
            </a:srgbClr>
          </a:solidFill>
          <a:ln>
            <a:solidFill>
              <a:schemeClr val="accent1"/>
            </a:solidFill>
          </a:ln>
        </p:spPr>
        <p:txBody>
          <a:bodyPr wrap="square" lIns="144000" tIns="0" rIns="0" bIns="0" anchor="ctr">
            <a:noAutofit/>
          </a:bodyPr>
          <a:lstStyle/>
          <a:p>
            <a:endParaRPr lang="en-US" sz="1400" dirty="0"/>
          </a:p>
          <a:p>
            <a:r>
              <a:rPr lang="en-US" sz="1400" b="1" dirty="0">
                <a:solidFill>
                  <a:schemeClr val="accent1"/>
                </a:solidFill>
              </a:rPr>
              <a:t>Jira</a:t>
            </a:r>
            <a:r>
              <a:rPr lang="en-US" sz="1400" dirty="0"/>
              <a:t> is an already well established </a:t>
            </a:r>
            <a:r>
              <a:rPr lang="en-US" sz="1400" b="1" dirty="0"/>
              <a:t>work management tool </a:t>
            </a:r>
            <a:r>
              <a:rPr lang="en-US" sz="1400" dirty="0"/>
              <a:t>in UniCredit especially in agile software development projects. </a:t>
            </a:r>
          </a:p>
          <a:p>
            <a:r>
              <a:rPr lang="en-US" sz="1400" dirty="0"/>
              <a:t>DevOps </a:t>
            </a:r>
            <a:r>
              <a:rPr lang="en-US" sz="1400" b="1" dirty="0"/>
              <a:t>initiative introduced </a:t>
            </a:r>
            <a:r>
              <a:rPr lang="en-US" sz="1400" dirty="0"/>
              <a:t>an useful integration between </a:t>
            </a:r>
            <a:r>
              <a:rPr lang="en-US" sz="1400" b="1" dirty="0"/>
              <a:t>Jira </a:t>
            </a:r>
            <a:r>
              <a:rPr lang="en-US" sz="1400" dirty="0"/>
              <a:t>and </a:t>
            </a:r>
            <a:r>
              <a:rPr lang="en-US" sz="1400" b="1" dirty="0" err="1"/>
              <a:t>BitBucket</a:t>
            </a:r>
            <a:r>
              <a:rPr lang="en-US" sz="1400" b="1" dirty="0"/>
              <a:t> </a:t>
            </a:r>
            <a:r>
              <a:rPr lang="en-US" sz="1400" dirty="0"/>
              <a:t>that allows:</a:t>
            </a:r>
          </a:p>
          <a:p>
            <a:pPr marL="171450" indent="-171450">
              <a:buClr>
                <a:schemeClr val="accent1"/>
              </a:buClr>
              <a:buFont typeface="Wingdings" panose="05000000000000000000" pitchFamily="2" charset="2"/>
              <a:buChar char="§"/>
            </a:pPr>
            <a:r>
              <a:rPr lang="en-US" sz="1400" dirty="0"/>
              <a:t>Create a </a:t>
            </a:r>
            <a:r>
              <a:rPr lang="en-US" sz="1400" b="1" dirty="0"/>
              <a:t>branch from </a:t>
            </a:r>
            <a:r>
              <a:rPr lang="en-US" sz="1400" dirty="0"/>
              <a:t>a </a:t>
            </a:r>
            <a:r>
              <a:rPr lang="en-US" sz="1400" b="1" dirty="0"/>
              <a:t>Jira</a:t>
            </a:r>
            <a:r>
              <a:rPr lang="en-US" sz="1400" dirty="0"/>
              <a:t> issue</a:t>
            </a:r>
            <a:r>
              <a:rPr lang="en-US" sz="1400" b="1" dirty="0"/>
              <a:t> </a:t>
            </a:r>
            <a:r>
              <a:rPr lang="en-US" sz="1400" dirty="0"/>
              <a:t>or link a commit, branch or pull request.</a:t>
            </a:r>
          </a:p>
          <a:p>
            <a:pPr marL="171450" indent="-171450">
              <a:buClr>
                <a:schemeClr val="accent1"/>
              </a:buClr>
              <a:buFont typeface="Wingdings" panose="05000000000000000000" pitchFamily="2" charset="2"/>
              <a:buChar char="§"/>
            </a:pPr>
            <a:r>
              <a:rPr lang="en-US" sz="1400" dirty="0"/>
              <a:t>Edit Jira </a:t>
            </a:r>
            <a:r>
              <a:rPr lang="en-US" sz="1400" b="1" dirty="0"/>
              <a:t>issues from </a:t>
            </a:r>
            <a:r>
              <a:rPr lang="en-US" sz="1400" b="1" dirty="0" err="1"/>
              <a:t>BitBucket</a:t>
            </a:r>
            <a:r>
              <a:rPr lang="en-US" sz="1400" dirty="0"/>
              <a:t> to contextualize our work and update the team without switching applications</a:t>
            </a:r>
          </a:p>
          <a:p>
            <a:pPr lvl="1"/>
            <a:endParaRPr lang="en-US" sz="1400" dirty="0"/>
          </a:p>
        </p:txBody>
      </p:sp>
      <p:sp>
        <p:nvSpPr>
          <p:cNvPr id="17" name="Round Diagonal Corner Rectangle 16"/>
          <p:cNvSpPr/>
          <p:nvPr/>
        </p:nvSpPr>
        <p:spPr>
          <a:xfrm>
            <a:off x="217357" y="2775718"/>
            <a:ext cx="1425600" cy="1424066"/>
          </a:xfrm>
          <a:prstGeom prst="round2DiagRect">
            <a:avLst/>
          </a:prstGeom>
          <a:noFill/>
          <a:ln>
            <a:solidFill>
              <a:schemeClr val="accent1"/>
            </a:solidFill>
          </a:ln>
        </p:spPr>
        <p:txBody>
          <a:bodyPr wrap="square" lIns="144000" tIns="0" rIns="0" bIns="0" anchor="ctr">
            <a:noAutofit/>
          </a:bodyPr>
          <a:lstStyle/>
          <a:p>
            <a:pPr defTabSz="179388">
              <a:defRPr/>
            </a:pPr>
            <a:endParaRPr lang="en-US" sz="1100" dirty="0"/>
          </a:p>
        </p:txBody>
      </p:sp>
      <p:pic>
        <p:nvPicPr>
          <p:cNvPr id="18" name="Graphic 6">
            <a:extLst>
              <a:ext uri="{FF2B5EF4-FFF2-40B4-BE49-F238E27FC236}">
                <a16:creationId xmlns:a16="http://schemas.microsoft.com/office/drawing/2014/main" id="{0ADE1904-7BEB-41B4-A28C-76E49C4C0995}"/>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01403" y="1388073"/>
            <a:ext cx="1317468" cy="701572"/>
          </a:xfrm>
          <a:prstGeom prst="rect">
            <a:avLst/>
          </a:prstGeom>
        </p:spPr>
      </p:pic>
      <p:pic>
        <p:nvPicPr>
          <p:cNvPr id="19" name="Picture 6" descr="Jira - Logo">
            <a:extLst>
              <a:ext uri="{FF2B5EF4-FFF2-40B4-BE49-F238E27FC236}">
                <a16:creationId xmlns:a16="http://schemas.microsoft.com/office/drawing/2014/main" id="{3C760CE1-36ED-4420-91DE-18C050475239}"/>
              </a:ext>
            </a:extLst>
          </p:cNvPr>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340125" y="3224214"/>
            <a:ext cx="1180065" cy="527075"/>
          </a:xfrm>
          <a:prstGeom prst="rect">
            <a:avLst/>
          </a:prstGeom>
          <a:noFill/>
          <a:extLst>
            <a:ext uri="{909E8E84-426E-40DD-AFC4-6F175D3DCCD1}">
              <a14:hiddenFill xmlns:a14="http://schemas.microsoft.com/office/drawing/2010/main">
                <a:solidFill>
                  <a:srgbClr val="FFFFFF"/>
                </a:solidFill>
              </a14:hiddenFill>
            </a:ext>
          </a:extLst>
        </p:spPr>
      </p:pic>
      <p:sp>
        <p:nvSpPr>
          <p:cNvPr id="14" name="Text Placeholder 10">
            <a:extLst>
              <a:ext uri="{FF2B5EF4-FFF2-40B4-BE49-F238E27FC236}">
                <a16:creationId xmlns:a16="http://schemas.microsoft.com/office/drawing/2014/main" id="{1AA3494C-44A7-45C5-B7A7-071EDB6486BD}"/>
              </a:ext>
            </a:extLst>
          </p:cNvPr>
          <p:cNvSpPr txBox="1">
            <a:spLocks/>
          </p:cNvSpPr>
          <p:nvPr/>
        </p:nvSpPr>
        <p:spPr>
          <a:xfrm>
            <a:off x="720000" y="4603750"/>
            <a:ext cx="7704000" cy="360000"/>
          </a:xfrm>
          <a:prstGeom prst="rect">
            <a:avLst/>
          </a:prstGeom>
        </p:spPr>
        <p:txBody>
          <a:bodyPr/>
          <a:lstStyle>
            <a:lvl1pPr marL="176396" marR="0" indent="-176396" algn="l" defTabSz="342875" rtl="0" eaLnBrk="1" fontAlgn="auto" latinLnBrk="0" hangingPunct="1">
              <a:lnSpc>
                <a:spcPct val="100000"/>
              </a:lnSpc>
              <a:spcBef>
                <a:spcPct val="20000"/>
              </a:spcBef>
              <a:spcAft>
                <a:spcPts val="0"/>
              </a:spcAft>
              <a:buClr>
                <a:srgbClr val="E1061C"/>
              </a:buClr>
              <a:buSzTx/>
              <a:buFont typeface="Arial"/>
              <a:buChar char="•"/>
              <a:tabLst/>
              <a:defRPr sz="1600" kern="1200" baseline="0">
                <a:solidFill>
                  <a:schemeClr val="tx1"/>
                </a:solidFill>
                <a:latin typeface="+mn-lt"/>
                <a:ea typeface="+mn-ea"/>
                <a:cs typeface="Arial" panose="020B0604020202020204" pitchFamily="34" charset="0"/>
              </a:defRPr>
            </a:lvl1pPr>
            <a:lvl2pPr marL="626384" marR="0" indent="-169196" algn="l" defTabSz="342875" rtl="0" eaLnBrk="1" fontAlgn="auto" latinLnBrk="0" hangingPunct="1">
              <a:lnSpc>
                <a:spcPct val="100000"/>
              </a:lnSpc>
              <a:spcBef>
                <a:spcPct val="20000"/>
              </a:spcBef>
              <a:spcAft>
                <a:spcPts val="0"/>
              </a:spcAft>
              <a:buClr>
                <a:srgbClr val="E1061C"/>
              </a:buClr>
              <a:buSzTx/>
              <a:buFont typeface="Arial"/>
              <a:buChar char="•"/>
              <a:tabLst/>
              <a:defRPr sz="1600" kern="1200" baseline="0">
                <a:solidFill>
                  <a:schemeClr val="tx1"/>
                </a:solidFill>
                <a:latin typeface="+mn-lt"/>
                <a:ea typeface="+mn-ea"/>
                <a:cs typeface="Arial" panose="020B0604020202020204" pitchFamily="34" charset="0"/>
              </a:defRPr>
            </a:lvl2pPr>
            <a:lvl3pPr marL="1079973" marR="0" indent="-165596" algn="l" defTabSz="342875" rtl="0" eaLnBrk="1" fontAlgn="auto" latinLnBrk="0" hangingPunct="1">
              <a:lnSpc>
                <a:spcPct val="100000"/>
              </a:lnSpc>
              <a:spcBef>
                <a:spcPct val="20000"/>
              </a:spcBef>
              <a:spcAft>
                <a:spcPts val="0"/>
              </a:spcAft>
              <a:buClr>
                <a:srgbClr val="E1061C"/>
              </a:buClr>
              <a:buSzTx/>
              <a:buFont typeface="Arial"/>
              <a:buChar char="•"/>
              <a:tabLst/>
              <a:defRPr sz="1600" kern="1200" baseline="0">
                <a:solidFill>
                  <a:schemeClr val="tx1"/>
                </a:solidFill>
                <a:latin typeface="+mn-lt"/>
                <a:ea typeface="+mn-ea"/>
                <a:cs typeface="Arial" panose="020B0604020202020204" pitchFamily="34" charset="0"/>
              </a:defRPr>
            </a:lvl3pPr>
            <a:lvl4pPr marL="1522762" marR="0" indent="-151196" algn="l" defTabSz="342875" rtl="0" eaLnBrk="1" fontAlgn="auto" latinLnBrk="0" hangingPunct="1">
              <a:lnSpc>
                <a:spcPct val="100000"/>
              </a:lnSpc>
              <a:spcBef>
                <a:spcPct val="20000"/>
              </a:spcBef>
              <a:spcAft>
                <a:spcPts val="0"/>
              </a:spcAft>
              <a:buClr>
                <a:srgbClr val="E1061C"/>
              </a:buClr>
              <a:buSzTx/>
              <a:buFont typeface="Arial"/>
              <a:buChar char="•"/>
              <a:tabLst/>
              <a:defRPr sz="1600" kern="1200" baseline="0">
                <a:solidFill>
                  <a:schemeClr val="tx1"/>
                </a:solidFill>
                <a:latin typeface="+mn-lt"/>
                <a:ea typeface="+mn-ea"/>
                <a:cs typeface="Arial" panose="020B0604020202020204" pitchFamily="34" charset="0"/>
              </a:defRPr>
            </a:lvl4pPr>
            <a:lvl5pPr marL="1972751" marR="0" indent="-143996" algn="l" defTabSz="342875" rtl="0" eaLnBrk="1" fontAlgn="auto" latinLnBrk="0" hangingPunct="1">
              <a:lnSpc>
                <a:spcPct val="100000"/>
              </a:lnSpc>
              <a:spcBef>
                <a:spcPct val="20000"/>
              </a:spcBef>
              <a:spcAft>
                <a:spcPts val="0"/>
              </a:spcAft>
              <a:buClr>
                <a:srgbClr val="E1061C"/>
              </a:buClr>
              <a:buSzTx/>
              <a:buFont typeface="Arial"/>
              <a:buChar char="•"/>
              <a:tabLst/>
              <a:defRPr sz="1600" kern="1200" baseline="0">
                <a:solidFill>
                  <a:schemeClr val="tx1"/>
                </a:solidFill>
                <a:latin typeface="+mn-lt"/>
                <a:ea typeface="+mn-ea"/>
                <a:cs typeface="Arial" panose="020B0604020202020204" pitchFamily="34" charset="0"/>
              </a:defRPr>
            </a:lvl5pPr>
            <a:lvl6pPr marL="1885809" indent="-171438" algn="l" defTabSz="685749"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684" indent="-171438" algn="l" defTabSz="685749"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558" indent="-171438" algn="l" defTabSz="685749"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433" indent="-171438" algn="l" defTabSz="685749"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r>
              <a:rPr lang="en-US" sz="800">
                <a:hlinkClick r:id="rId10"/>
              </a:rPr>
              <a:t>https://onboarding.devops.internal.unicreditgroup.eu/jira-integration/</a:t>
            </a:r>
            <a:endParaRPr lang="de-DE" sz="800" dirty="0"/>
          </a:p>
        </p:txBody>
      </p:sp>
    </p:spTree>
    <p:extLst>
      <p:ext uri="{BB962C8B-B14F-4D97-AF65-F5344CB8AC3E}">
        <p14:creationId xmlns:p14="http://schemas.microsoft.com/office/powerpoint/2010/main" val="123657628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Object 34" hidden="1">
            <a:extLst>
              <a:ext uri="{FF2B5EF4-FFF2-40B4-BE49-F238E27FC236}">
                <a16:creationId xmlns:a16="http://schemas.microsoft.com/office/drawing/2014/main" id="{4C781002-2313-4803-A01A-071A6AB2FB9B}"/>
              </a:ext>
            </a:extLst>
          </p:cNvPr>
          <p:cNvGraphicFramePr>
            <a:graphicFrameLocks noChangeAspect="1"/>
          </p:cNvGraphicFramePr>
          <p:nvPr>
            <p:custDataLst>
              <p:tags r:id="rId2"/>
            </p:custDataLst>
            <p:extLst>
              <p:ext uri="{D42A27DB-BD31-4B8C-83A1-F6EECF244321}">
                <p14:modId xmlns:p14="http://schemas.microsoft.com/office/powerpoint/2010/main" val="20120932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87" name="think-cell Slide" r:id="rId5" imgW="360" imgH="360" progId="TCLayout.ActiveDocument.1">
                  <p:embed/>
                </p:oleObj>
              </mc:Choice>
              <mc:Fallback>
                <p:oleObj name="think-cell Slide" r:id="rId5" imgW="360" imgH="360" progId="TCLayout.ActiveDocument.1">
                  <p:embed/>
                  <p:pic>
                    <p:nvPicPr>
                      <p:cNvPr id="35" name="Object 34" hidden="1">
                        <a:extLst>
                          <a:ext uri="{FF2B5EF4-FFF2-40B4-BE49-F238E27FC236}">
                            <a16:creationId xmlns:a16="http://schemas.microsoft.com/office/drawing/2014/main" id="{4C781002-2313-4803-A01A-071A6AB2FB9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6" name="Rectangle 35" hidden="1">
            <a:extLst>
              <a:ext uri="{FF2B5EF4-FFF2-40B4-BE49-F238E27FC236}">
                <a16:creationId xmlns:a16="http://schemas.microsoft.com/office/drawing/2014/main" id="{1F08D6A1-39DF-43FB-878F-188581D16D3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UniCredit" panose="02000506040000020004" pitchFamily="2" charset="0"/>
              <a:ea typeface="+mj-ea"/>
              <a:cs typeface="Arial" panose="020B0604020202020204" pitchFamily="34" charset="0"/>
              <a:sym typeface="UniCredit" panose="02000506040000020004" pitchFamily="2" charset="0"/>
            </a:endParaRPr>
          </a:p>
        </p:txBody>
      </p:sp>
      <p:sp>
        <p:nvSpPr>
          <p:cNvPr id="2" name="Text Placeholder 1">
            <a:extLst>
              <a:ext uri="{FF2B5EF4-FFF2-40B4-BE49-F238E27FC236}">
                <a16:creationId xmlns:a16="http://schemas.microsoft.com/office/drawing/2014/main" id="{37C31D72-88E7-4CA4-97CC-DF95C6596AE8}"/>
              </a:ext>
            </a:extLst>
          </p:cNvPr>
          <p:cNvSpPr>
            <a:spLocks noGrp="1"/>
          </p:cNvSpPr>
          <p:nvPr>
            <p:ph type="body" sz="quarter" idx="12"/>
          </p:nvPr>
        </p:nvSpPr>
        <p:spPr/>
        <p:txBody>
          <a:bodyPr/>
          <a:lstStyle/>
          <a:p>
            <a:endParaRPr lang="en-US"/>
          </a:p>
        </p:txBody>
      </p:sp>
      <p:sp>
        <p:nvSpPr>
          <p:cNvPr id="3" name="Text Placeholder 2">
            <a:extLst>
              <a:ext uri="{FF2B5EF4-FFF2-40B4-BE49-F238E27FC236}">
                <a16:creationId xmlns:a16="http://schemas.microsoft.com/office/drawing/2014/main" id="{EBBD6DAB-6B2B-42CC-9A99-3EDE6EF054BF}"/>
              </a:ext>
            </a:extLst>
          </p:cNvPr>
          <p:cNvSpPr>
            <a:spLocks noGrp="1"/>
          </p:cNvSpPr>
          <p:nvPr>
            <p:ph type="body" sz="quarter" idx="16"/>
          </p:nvPr>
        </p:nvSpPr>
        <p:spPr/>
        <p:txBody>
          <a:bodyPr/>
          <a:lstStyle/>
          <a:p>
            <a:endParaRPr lang="en-US"/>
          </a:p>
        </p:txBody>
      </p:sp>
      <p:sp>
        <p:nvSpPr>
          <p:cNvPr id="4" name="Slide Number Placeholder 3">
            <a:extLst>
              <a:ext uri="{FF2B5EF4-FFF2-40B4-BE49-F238E27FC236}">
                <a16:creationId xmlns:a16="http://schemas.microsoft.com/office/drawing/2014/main" id="{82835AA4-731A-42C0-9605-CE5C097D862B}"/>
              </a:ext>
            </a:extLst>
          </p:cNvPr>
          <p:cNvSpPr>
            <a:spLocks noGrp="1"/>
          </p:cNvSpPr>
          <p:nvPr>
            <p:ph type="sldNum" sz="quarter" idx="11"/>
          </p:nvPr>
        </p:nvSpPr>
        <p:spPr/>
        <p:txBody>
          <a:bodyPr/>
          <a:lstStyle/>
          <a:p>
            <a:fld id="{9E8169F0-646E-455B-AF5A-6D6C02EAEAF6}" type="slidenum">
              <a:rPr lang="en-GB" noProof="1" smtClean="0"/>
              <a:t>12</a:t>
            </a:fld>
            <a:endParaRPr lang="en-GB" noProof="1"/>
          </a:p>
        </p:txBody>
      </p:sp>
      <p:graphicFrame>
        <p:nvGraphicFramePr>
          <p:cNvPr id="7" name="Content Placeholder 6">
            <a:extLst>
              <a:ext uri="{FF2B5EF4-FFF2-40B4-BE49-F238E27FC236}">
                <a16:creationId xmlns:a16="http://schemas.microsoft.com/office/drawing/2014/main" id="{B213A504-AF0B-4DEB-B8A6-057B0B9F9935}"/>
              </a:ext>
            </a:extLst>
          </p:cNvPr>
          <p:cNvGraphicFramePr>
            <a:graphicFrameLocks noGrp="1"/>
          </p:cNvGraphicFramePr>
          <p:nvPr>
            <p:ph sz="quarter" idx="15"/>
            <p:extLst>
              <p:ext uri="{D42A27DB-BD31-4B8C-83A1-F6EECF244321}">
                <p14:modId xmlns:p14="http://schemas.microsoft.com/office/powerpoint/2010/main" val="3590345258"/>
              </p:ext>
            </p:extLst>
          </p:nvPr>
        </p:nvGraphicFramePr>
        <p:xfrm>
          <a:off x="232568" y="1662658"/>
          <a:ext cx="8678863" cy="793939"/>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6" name="Title 5">
            <a:extLst>
              <a:ext uri="{FF2B5EF4-FFF2-40B4-BE49-F238E27FC236}">
                <a16:creationId xmlns:a16="http://schemas.microsoft.com/office/drawing/2014/main" id="{4CEBBF5F-7584-4FE7-8A89-E5F2743DBDC0}"/>
              </a:ext>
            </a:extLst>
          </p:cNvPr>
          <p:cNvSpPr>
            <a:spLocks noGrp="1"/>
          </p:cNvSpPr>
          <p:nvPr>
            <p:ph type="title"/>
          </p:nvPr>
        </p:nvSpPr>
        <p:spPr/>
        <p:txBody>
          <a:bodyPr/>
          <a:lstStyle/>
          <a:p>
            <a:r>
              <a:rPr lang="en-US" dirty="0"/>
              <a:t>Version our developments with GIT</a:t>
            </a:r>
          </a:p>
        </p:txBody>
      </p:sp>
      <p:graphicFrame>
        <p:nvGraphicFramePr>
          <p:cNvPr id="8" name="Content Placeholder 6">
            <a:extLst>
              <a:ext uri="{FF2B5EF4-FFF2-40B4-BE49-F238E27FC236}">
                <a16:creationId xmlns:a16="http://schemas.microsoft.com/office/drawing/2014/main" id="{4012480D-4ACF-46ED-A5BC-A161DB9452BD}"/>
              </a:ext>
            </a:extLst>
          </p:cNvPr>
          <p:cNvGraphicFramePr>
            <a:graphicFrameLocks/>
          </p:cNvGraphicFramePr>
          <p:nvPr>
            <p:extLst>
              <p:ext uri="{D42A27DB-BD31-4B8C-83A1-F6EECF244321}">
                <p14:modId xmlns:p14="http://schemas.microsoft.com/office/powerpoint/2010/main" val="1638352191"/>
              </p:ext>
            </p:extLst>
          </p:nvPr>
        </p:nvGraphicFramePr>
        <p:xfrm>
          <a:off x="1958454" y="1330658"/>
          <a:ext cx="6121021" cy="416256"/>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grpSp>
        <p:nvGrpSpPr>
          <p:cNvPr id="12" name="Gruppo 57">
            <a:extLst>
              <a:ext uri="{FF2B5EF4-FFF2-40B4-BE49-F238E27FC236}">
                <a16:creationId xmlns:a16="http://schemas.microsoft.com/office/drawing/2014/main" id="{96E0BE94-53DC-4071-8828-0459313D9456}"/>
              </a:ext>
            </a:extLst>
          </p:cNvPr>
          <p:cNvGrpSpPr/>
          <p:nvPr/>
        </p:nvGrpSpPr>
        <p:grpSpPr>
          <a:xfrm>
            <a:off x="5508245" y="2405035"/>
            <a:ext cx="529106" cy="366887"/>
            <a:chOff x="6946025" y="2094577"/>
            <a:chExt cx="723806" cy="478077"/>
          </a:xfrm>
        </p:grpSpPr>
        <p:pic>
          <p:nvPicPr>
            <p:cNvPr id="25" name="Grafik 143">
              <a:extLst>
                <a:ext uri="{FF2B5EF4-FFF2-40B4-BE49-F238E27FC236}">
                  <a16:creationId xmlns:a16="http://schemas.microsoft.com/office/drawing/2014/main" id="{DEFF508D-9999-4AA0-A2B0-59E721894D31}"/>
                </a:ext>
              </a:extLst>
            </p:cNvPr>
            <p:cNvPicPr>
              <a:picLocks noChangeAspect="1"/>
            </p:cNvPicPr>
            <p:nvPr/>
          </p:nvPicPr>
          <p:blipFill>
            <a:blip r:embed="rId17"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6946025" y="2122512"/>
              <a:ext cx="723806" cy="450142"/>
            </a:xfrm>
            <a:prstGeom prst="rect">
              <a:avLst/>
            </a:prstGeom>
          </p:spPr>
        </p:pic>
        <p:sp>
          <p:nvSpPr>
            <p:cNvPr id="26" name="CasellaDiTesto 59">
              <a:extLst>
                <a:ext uri="{FF2B5EF4-FFF2-40B4-BE49-F238E27FC236}">
                  <a16:creationId xmlns:a16="http://schemas.microsoft.com/office/drawing/2014/main" id="{EF7AC9F6-CBEE-498A-B32B-FECA87197DA1}"/>
                </a:ext>
              </a:extLst>
            </p:cNvPr>
            <p:cNvSpPr txBox="1"/>
            <p:nvPr/>
          </p:nvSpPr>
          <p:spPr>
            <a:xfrm>
              <a:off x="7225224" y="2094577"/>
              <a:ext cx="434106" cy="158833"/>
            </a:xfrm>
            <a:prstGeom prst="rect">
              <a:avLst/>
            </a:prstGeom>
            <a:solidFill>
              <a:sysClr val="window" lastClr="FFFFFF"/>
            </a:solid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1" i="1" u="none" strike="noStrike" kern="0" cap="none" spc="0" normalizeH="0" baseline="0" noProof="0" dirty="0">
                  <a:ln>
                    <a:noFill/>
                  </a:ln>
                  <a:solidFill>
                    <a:srgbClr val="999999"/>
                  </a:solidFill>
                  <a:effectLst/>
                  <a:uLnTx/>
                  <a:uFillTx/>
                  <a:latin typeface="UniCredit"/>
                  <a:cs typeface="Arial" charset="0"/>
                </a:rPr>
                <a:t>DEPLOY</a:t>
              </a:r>
              <a:endParaRPr kumimoji="0" lang="en-US" sz="1400" b="1" i="1" u="none" strike="noStrike" kern="0" cap="none" spc="0" normalizeH="0" baseline="0" noProof="0" dirty="0">
                <a:ln>
                  <a:noFill/>
                </a:ln>
                <a:solidFill>
                  <a:srgbClr val="999999"/>
                </a:solidFill>
                <a:effectLst/>
                <a:uLnTx/>
                <a:uFillTx/>
                <a:latin typeface="UniCredit"/>
                <a:cs typeface="Arial" charset="0"/>
              </a:endParaRPr>
            </a:p>
          </p:txBody>
        </p:sp>
      </p:grpSp>
      <p:pic>
        <p:nvPicPr>
          <p:cNvPr id="13" name="Immagine 68">
            <a:extLst>
              <a:ext uri="{FF2B5EF4-FFF2-40B4-BE49-F238E27FC236}">
                <a16:creationId xmlns:a16="http://schemas.microsoft.com/office/drawing/2014/main" id="{0141B9BC-946F-47F8-B222-7B5FB3E42FAB}"/>
              </a:ext>
            </a:extLst>
          </p:cNvPr>
          <p:cNvPicPr>
            <a:picLocks noChangeAspect="1"/>
          </p:cNvPicPr>
          <p:nvPr/>
        </p:nvPicPr>
        <p:blipFill>
          <a:blip r:embed="rId18"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4988808" y="937660"/>
            <a:ext cx="527698" cy="316419"/>
          </a:xfrm>
          <a:prstGeom prst="rect">
            <a:avLst/>
          </a:prstGeom>
        </p:spPr>
      </p:pic>
      <p:pic>
        <p:nvPicPr>
          <p:cNvPr id="14" name="Immagine 90">
            <a:extLst>
              <a:ext uri="{FF2B5EF4-FFF2-40B4-BE49-F238E27FC236}">
                <a16:creationId xmlns:a16="http://schemas.microsoft.com/office/drawing/2014/main" id="{1F6956C0-6AD7-42B3-8A6D-229457FA84E4}"/>
              </a:ext>
            </a:extLst>
          </p:cNvPr>
          <p:cNvPicPr>
            <a:picLocks noChangeAspect="1"/>
          </p:cNvPicPr>
          <p:nvPr/>
        </p:nvPicPr>
        <p:blipFill>
          <a:blip r:embed="rId19"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6322667" y="2477700"/>
            <a:ext cx="622008" cy="197186"/>
          </a:xfrm>
          <a:prstGeom prst="rect">
            <a:avLst/>
          </a:prstGeom>
        </p:spPr>
      </p:pic>
      <p:pic>
        <p:nvPicPr>
          <p:cNvPr id="15" name="Immagine 92">
            <a:extLst>
              <a:ext uri="{FF2B5EF4-FFF2-40B4-BE49-F238E27FC236}">
                <a16:creationId xmlns:a16="http://schemas.microsoft.com/office/drawing/2014/main" id="{5A757FDC-EB77-47F4-9B34-CA7FB43E3E65}"/>
              </a:ext>
            </a:extLst>
          </p:cNvPr>
          <p:cNvPicPr>
            <a:picLocks noChangeAspect="1"/>
          </p:cNvPicPr>
          <p:nvPr/>
        </p:nvPicPr>
        <p:blipFill>
          <a:blip r:embed="rId20"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7222315" y="2370242"/>
            <a:ext cx="576113" cy="376123"/>
          </a:xfrm>
          <a:prstGeom prst="rect">
            <a:avLst/>
          </a:prstGeom>
        </p:spPr>
      </p:pic>
      <p:pic>
        <p:nvPicPr>
          <p:cNvPr id="17" name="Immagine 124">
            <a:extLst>
              <a:ext uri="{FF2B5EF4-FFF2-40B4-BE49-F238E27FC236}">
                <a16:creationId xmlns:a16="http://schemas.microsoft.com/office/drawing/2014/main" id="{0D3D192C-F36A-401A-BDC0-CD9B1DF67085}"/>
              </a:ext>
            </a:extLst>
          </p:cNvPr>
          <p:cNvPicPr>
            <a:picLocks noChangeAspect="1"/>
          </p:cNvPicPr>
          <p:nvPr/>
        </p:nvPicPr>
        <p:blipFill>
          <a:blip r:embed="rId21"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3576062" y="2400916"/>
            <a:ext cx="1045724" cy="402234"/>
          </a:xfrm>
          <a:prstGeom prst="rect">
            <a:avLst/>
          </a:prstGeom>
        </p:spPr>
      </p:pic>
      <p:pic>
        <p:nvPicPr>
          <p:cNvPr id="18" name="Picture 4" descr="JUnit – About">
            <a:extLst>
              <a:ext uri="{FF2B5EF4-FFF2-40B4-BE49-F238E27FC236}">
                <a16:creationId xmlns:a16="http://schemas.microsoft.com/office/drawing/2014/main" id="{43D69F85-738D-4488-A255-E84FECD44BE3}"/>
              </a:ext>
            </a:extLst>
          </p:cNvPr>
          <p:cNvPicPr>
            <a:picLocks noChangeAspect="1" noChangeArrowheads="1"/>
          </p:cNvPicPr>
          <p:nvPr/>
        </p:nvPicPr>
        <p:blipFill>
          <a:blip r:embed="rId22" cstate="email">
            <a:duotone>
              <a:schemeClr val="bg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3006688" y="2496035"/>
            <a:ext cx="493019" cy="155210"/>
          </a:xfrm>
          <a:prstGeom prst="rect">
            <a:avLst/>
          </a:prstGeom>
          <a:noFill/>
          <a:extLst>
            <a:ext uri="{909E8E84-426E-40DD-AFC4-6F175D3DCCD1}">
              <a14:hiddenFill xmlns:a14="http://schemas.microsoft.com/office/drawing/2010/main">
                <a:solidFill>
                  <a:srgbClr val="FFFFFF"/>
                </a:solidFill>
              </a14:hiddenFill>
            </a:ext>
          </a:extLst>
        </p:spPr>
      </p:pic>
      <p:grpSp>
        <p:nvGrpSpPr>
          <p:cNvPr id="19" name="Gruppo 12">
            <a:extLst>
              <a:ext uri="{FF2B5EF4-FFF2-40B4-BE49-F238E27FC236}">
                <a16:creationId xmlns:a16="http://schemas.microsoft.com/office/drawing/2014/main" id="{F3DC3895-2715-40DE-8A2B-A4D3871C6BC2}"/>
              </a:ext>
            </a:extLst>
          </p:cNvPr>
          <p:cNvGrpSpPr/>
          <p:nvPr/>
        </p:nvGrpSpPr>
        <p:grpSpPr>
          <a:xfrm>
            <a:off x="4708823" y="2238895"/>
            <a:ext cx="547002" cy="457094"/>
            <a:chOff x="8284888" y="2480464"/>
            <a:chExt cx="569212" cy="461665"/>
          </a:xfrm>
        </p:grpSpPr>
        <p:pic>
          <p:nvPicPr>
            <p:cNvPr id="23" name="Immagine 40">
              <a:extLst>
                <a:ext uri="{FF2B5EF4-FFF2-40B4-BE49-F238E27FC236}">
                  <a16:creationId xmlns:a16="http://schemas.microsoft.com/office/drawing/2014/main" id="{8C31A6CE-D9F6-4E08-9C3F-2EAD7378E351}"/>
                </a:ext>
              </a:extLst>
            </p:cNvPr>
            <p:cNvPicPr>
              <a:picLocks noChangeAspect="1"/>
            </p:cNvPicPr>
            <p:nvPr/>
          </p:nvPicPr>
          <p:blipFill>
            <a:blip r:embed="rId23"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8284888" y="2711297"/>
              <a:ext cx="490862" cy="197995"/>
            </a:xfrm>
            <a:prstGeom prst="rect">
              <a:avLst/>
            </a:prstGeom>
            <a:solidFill>
              <a:sysClr val="window" lastClr="FFFFFF"/>
            </a:solidFill>
          </p:spPr>
        </p:pic>
        <p:sp>
          <p:nvSpPr>
            <p:cNvPr id="24" name="CasellaDiTesto 81">
              <a:extLst>
                <a:ext uri="{FF2B5EF4-FFF2-40B4-BE49-F238E27FC236}">
                  <a16:creationId xmlns:a16="http://schemas.microsoft.com/office/drawing/2014/main" id="{6B613A88-89B7-47B0-8A52-A599BD41CADB}"/>
                </a:ext>
              </a:extLst>
            </p:cNvPr>
            <p:cNvSpPr txBox="1"/>
            <p:nvPr/>
          </p:nvSpPr>
          <p:spPr>
            <a:xfrm>
              <a:off x="8669369" y="2480464"/>
              <a:ext cx="184731" cy="461665"/>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dirty="0">
                <a:ln>
                  <a:noFill/>
                </a:ln>
                <a:solidFill>
                  <a:srgbClr val="999999"/>
                </a:solidFill>
                <a:effectLst/>
                <a:uLnTx/>
                <a:uFillTx/>
                <a:latin typeface="UniCredit"/>
                <a:cs typeface="Arial" charset="0"/>
              </a:endParaRPr>
            </a:p>
          </p:txBody>
        </p:sp>
      </p:grpSp>
      <p:pic>
        <p:nvPicPr>
          <p:cNvPr id="20" name="Graphic 19">
            <a:extLst>
              <a:ext uri="{FF2B5EF4-FFF2-40B4-BE49-F238E27FC236}">
                <a16:creationId xmlns:a16="http://schemas.microsoft.com/office/drawing/2014/main" id="{F78FA946-A515-477A-9B6D-1F2533606B92}"/>
              </a:ext>
            </a:extLst>
          </p:cNvPr>
          <p:cNvPicPr>
            <a:picLocks noChangeAspect="1"/>
          </p:cNvPicPr>
          <p:nvPr/>
        </p:nvPicPr>
        <p:blipFill>
          <a:blip r:embed="rId24" cstate="email">
            <a:duotone>
              <a:schemeClr val="bg2">
                <a:shade val="45000"/>
                <a:satMod val="135000"/>
              </a:schemeClr>
              <a:prstClr val="white"/>
            </a:duotone>
            <a:extLst>
              <a:ext uri="{28A0092B-C50C-407E-A947-70E740481C1C}">
                <a14:useLocalDpi xmlns:a14="http://schemas.microsoft.com/office/drawing/2010/main"/>
              </a:ext>
              <a:ext uri="{96DAC541-7B7A-43D3-8B79-37D633B846F1}">
                <asvg:svgBlip xmlns:asvg="http://schemas.microsoft.com/office/drawing/2016/SVG/main" r:embed="rId25"/>
              </a:ext>
            </a:extLst>
          </a:blip>
          <a:stretch>
            <a:fillRect/>
          </a:stretch>
        </p:blipFill>
        <p:spPr>
          <a:xfrm>
            <a:off x="502979" y="2794878"/>
            <a:ext cx="527698" cy="281008"/>
          </a:xfrm>
          <a:prstGeom prst="rect">
            <a:avLst/>
          </a:prstGeom>
        </p:spPr>
      </p:pic>
      <p:pic>
        <p:nvPicPr>
          <p:cNvPr id="21" name="Picture 6" descr="Jira - Logo">
            <a:extLst>
              <a:ext uri="{FF2B5EF4-FFF2-40B4-BE49-F238E27FC236}">
                <a16:creationId xmlns:a16="http://schemas.microsoft.com/office/drawing/2014/main" id="{46421F2C-80A9-4993-A330-F72A33680620}"/>
              </a:ext>
            </a:extLst>
          </p:cNvPr>
          <p:cNvPicPr>
            <a:picLocks noChangeAspect="1" noChangeArrowheads="1"/>
          </p:cNvPicPr>
          <p:nvPr/>
        </p:nvPicPr>
        <p:blipFill>
          <a:blip r:embed="rId26" cstate="email">
            <a:duotone>
              <a:schemeClr val="bg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473623" y="2466704"/>
            <a:ext cx="475044" cy="212178"/>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6">
            <a:extLst>
              <a:ext uri="{FF2B5EF4-FFF2-40B4-BE49-F238E27FC236}">
                <a16:creationId xmlns:a16="http://schemas.microsoft.com/office/drawing/2014/main" id="{8E43D0E3-532C-4C39-99C9-20721793742D}"/>
              </a:ext>
            </a:extLst>
          </p:cNvPr>
          <p:cNvPicPr>
            <a:picLocks noChangeAspect="1"/>
          </p:cNvPicPr>
          <p:nvPr/>
        </p:nvPicPr>
        <p:blipFill>
          <a:blip r:embed="rId27"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3117583" y="3230769"/>
            <a:ext cx="271228" cy="291643"/>
          </a:xfrm>
          <a:prstGeom prst="rect">
            <a:avLst/>
          </a:prstGeom>
        </p:spPr>
      </p:pic>
      <p:grpSp>
        <p:nvGrpSpPr>
          <p:cNvPr id="30" name="Gruppo 57">
            <a:extLst>
              <a:ext uri="{FF2B5EF4-FFF2-40B4-BE49-F238E27FC236}">
                <a16:creationId xmlns:a16="http://schemas.microsoft.com/office/drawing/2014/main" id="{DE5DFB16-D2CA-496C-BD55-F2D48342B748}"/>
              </a:ext>
            </a:extLst>
          </p:cNvPr>
          <p:cNvGrpSpPr/>
          <p:nvPr/>
        </p:nvGrpSpPr>
        <p:grpSpPr>
          <a:xfrm>
            <a:off x="8076068" y="2412332"/>
            <a:ext cx="529106" cy="366887"/>
            <a:chOff x="6946025" y="2094577"/>
            <a:chExt cx="723806" cy="478077"/>
          </a:xfrm>
        </p:grpSpPr>
        <p:pic>
          <p:nvPicPr>
            <p:cNvPr id="31" name="Grafik 143">
              <a:extLst>
                <a:ext uri="{FF2B5EF4-FFF2-40B4-BE49-F238E27FC236}">
                  <a16:creationId xmlns:a16="http://schemas.microsoft.com/office/drawing/2014/main" id="{C74DA0A2-E42C-419D-A1E6-613AA6E5A8E6}"/>
                </a:ext>
              </a:extLst>
            </p:cNvPr>
            <p:cNvPicPr>
              <a:picLocks noChangeAspect="1"/>
            </p:cNvPicPr>
            <p:nvPr/>
          </p:nvPicPr>
          <p:blipFill>
            <a:blip r:embed="rId17"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6946025" y="2122512"/>
              <a:ext cx="723806" cy="450142"/>
            </a:xfrm>
            <a:prstGeom prst="rect">
              <a:avLst/>
            </a:prstGeom>
          </p:spPr>
        </p:pic>
        <p:sp>
          <p:nvSpPr>
            <p:cNvPr id="32" name="CasellaDiTesto 59">
              <a:extLst>
                <a:ext uri="{FF2B5EF4-FFF2-40B4-BE49-F238E27FC236}">
                  <a16:creationId xmlns:a16="http://schemas.microsoft.com/office/drawing/2014/main" id="{C6BE75B0-EEDD-42DA-8834-701850B9CB36}"/>
                </a:ext>
              </a:extLst>
            </p:cNvPr>
            <p:cNvSpPr txBox="1"/>
            <p:nvPr/>
          </p:nvSpPr>
          <p:spPr>
            <a:xfrm>
              <a:off x="7225224" y="2094577"/>
              <a:ext cx="434106" cy="158833"/>
            </a:xfrm>
            <a:prstGeom prst="rect">
              <a:avLst/>
            </a:prstGeom>
            <a:solidFill>
              <a:sysClr val="window" lastClr="FFFFFF"/>
            </a:solid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1" i="1" u="none" strike="noStrike" kern="0" cap="none" spc="0" normalizeH="0" baseline="0" noProof="0" dirty="0">
                  <a:ln>
                    <a:noFill/>
                  </a:ln>
                  <a:solidFill>
                    <a:srgbClr val="999999"/>
                  </a:solidFill>
                  <a:effectLst/>
                  <a:uLnTx/>
                  <a:uFillTx/>
                  <a:latin typeface="UniCredit"/>
                  <a:cs typeface="Arial" charset="0"/>
                </a:rPr>
                <a:t>DEPLOY</a:t>
              </a:r>
              <a:endParaRPr kumimoji="0" lang="en-US" sz="1400" b="1" i="1" u="none" strike="noStrike" kern="0" cap="none" spc="0" normalizeH="0" baseline="0" noProof="0" dirty="0">
                <a:ln>
                  <a:noFill/>
                </a:ln>
                <a:solidFill>
                  <a:srgbClr val="999999"/>
                </a:solidFill>
                <a:effectLst/>
                <a:uLnTx/>
                <a:uFillTx/>
                <a:latin typeface="UniCredit"/>
                <a:cs typeface="Arial" charset="0"/>
              </a:endParaRPr>
            </a:p>
          </p:txBody>
        </p:sp>
      </p:grpSp>
      <p:pic>
        <p:nvPicPr>
          <p:cNvPr id="33" name="Picture 28" descr="WireMock for Java Developers | Udemy">
            <a:extLst>
              <a:ext uri="{FF2B5EF4-FFF2-40B4-BE49-F238E27FC236}">
                <a16:creationId xmlns:a16="http://schemas.microsoft.com/office/drawing/2014/main" id="{24A9A257-90C9-4533-934C-7A70205C7E26}"/>
              </a:ext>
            </a:extLst>
          </p:cNvPr>
          <p:cNvPicPr>
            <a:picLocks noChangeAspect="1" noChangeArrowheads="1"/>
          </p:cNvPicPr>
          <p:nvPr/>
        </p:nvPicPr>
        <p:blipFill>
          <a:blip r:embed="rId28" cstate="print">
            <a:duotone>
              <a:schemeClr val="bg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6806341" y="2862878"/>
            <a:ext cx="518476" cy="291643"/>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20" descr="Liquibase | Database CI/CD &amp; Automation | Database DevOps">
            <a:extLst>
              <a:ext uri="{FF2B5EF4-FFF2-40B4-BE49-F238E27FC236}">
                <a16:creationId xmlns:a16="http://schemas.microsoft.com/office/drawing/2014/main" id="{98ABEE39-4DFB-4526-B645-77E5F85F754A}"/>
              </a:ext>
            </a:extLst>
          </p:cNvPr>
          <p:cNvPicPr>
            <a:picLocks noChangeAspect="1" noChangeArrowheads="1"/>
          </p:cNvPicPr>
          <p:nvPr/>
        </p:nvPicPr>
        <p:blipFill>
          <a:blip r:embed="rId29"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871008" y="2901167"/>
            <a:ext cx="545935" cy="360000"/>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10" descr="Flyway (software) - Wikipedia">
            <a:extLst>
              <a:ext uri="{FF2B5EF4-FFF2-40B4-BE49-F238E27FC236}">
                <a16:creationId xmlns:a16="http://schemas.microsoft.com/office/drawing/2014/main" id="{C8C05ECE-D2ED-4084-89F3-5DB603C030C3}"/>
              </a:ext>
            </a:extLst>
          </p:cNvPr>
          <p:cNvPicPr>
            <a:picLocks noChangeAspect="1" noChangeArrowheads="1"/>
          </p:cNvPicPr>
          <p:nvPr/>
        </p:nvPicPr>
        <p:blipFill>
          <a:blip r:embed="rId30"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359763" y="2871407"/>
            <a:ext cx="511245" cy="406440"/>
          </a:xfrm>
          <a:prstGeom prst="rect">
            <a:avLst/>
          </a:prstGeom>
          <a:noFill/>
          <a:extLst>
            <a:ext uri="{909E8E84-426E-40DD-AFC4-6F175D3DCCD1}">
              <a14:hiddenFill xmlns:a14="http://schemas.microsoft.com/office/drawing/2010/main">
                <a:solidFill>
                  <a:srgbClr val="FFFFFF"/>
                </a:solidFill>
              </a14:hiddenFill>
            </a:ext>
          </a:extLst>
        </p:spPr>
      </p:pic>
      <p:pic>
        <p:nvPicPr>
          <p:cNvPr id="37894" name="Picture 6" descr="Branding Guidelines (Draft WIP) | OWASP">
            <a:extLst>
              <a:ext uri="{FF2B5EF4-FFF2-40B4-BE49-F238E27FC236}">
                <a16:creationId xmlns:a16="http://schemas.microsoft.com/office/drawing/2014/main" id="{ECA8E031-C4DE-49C3-98F8-336E375E2F06}"/>
              </a:ext>
            </a:extLst>
          </p:cNvPr>
          <p:cNvPicPr>
            <a:picLocks noChangeAspect="1" noChangeArrowheads="1"/>
          </p:cNvPicPr>
          <p:nvPr/>
        </p:nvPicPr>
        <p:blipFill>
          <a:blip r:embed="rId31"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710231" y="2855669"/>
            <a:ext cx="725763" cy="252505"/>
          </a:xfrm>
          <a:prstGeom prst="rect">
            <a:avLst/>
          </a:prstGeom>
          <a:noFill/>
          <a:extLst>
            <a:ext uri="{909E8E84-426E-40DD-AFC4-6F175D3DCCD1}">
              <a14:hiddenFill xmlns:a14="http://schemas.microsoft.com/office/drawing/2010/main">
                <a:solidFill>
                  <a:srgbClr val="FFFFFF"/>
                </a:solidFill>
              </a14:hiddenFill>
            </a:ext>
          </a:extLst>
        </p:spPr>
      </p:pic>
      <p:pic>
        <p:nvPicPr>
          <p:cNvPr id="37896" name="Picture 8">
            <a:extLst>
              <a:ext uri="{FF2B5EF4-FFF2-40B4-BE49-F238E27FC236}">
                <a16:creationId xmlns:a16="http://schemas.microsoft.com/office/drawing/2014/main" id="{B7DD6AF4-1615-4535-807F-237487883906}"/>
              </a:ext>
            </a:extLst>
          </p:cNvPr>
          <p:cNvPicPr>
            <a:picLocks noChangeAspect="1" noChangeArrowheads="1"/>
          </p:cNvPicPr>
          <p:nvPr/>
        </p:nvPicPr>
        <p:blipFill>
          <a:blip r:embed="rId32"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133631" y="2494295"/>
            <a:ext cx="661499" cy="167442"/>
          </a:xfrm>
          <a:prstGeom prst="rect">
            <a:avLst/>
          </a:prstGeom>
          <a:noFill/>
          <a:extLst>
            <a:ext uri="{909E8E84-426E-40DD-AFC4-6F175D3DCCD1}">
              <a14:hiddenFill xmlns:a14="http://schemas.microsoft.com/office/drawing/2010/main">
                <a:solidFill>
                  <a:srgbClr val="FFFFFF"/>
                </a:solidFill>
              </a14:hiddenFill>
            </a:ext>
          </a:extLst>
        </p:spPr>
      </p:pic>
      <p:pic>
        <p:nvPicPr>
          <p:cNvPr id="37898" name="Picture 10" descr="Press Kit | Atlassian">
            <a:extLst>
              <a:ext uri="{FF2B5EF4-FFF2-40B4-BE49-F238E27FC236}">
                <a16:creationId xmlns:a16="http://schemas.microsoft.com/office/drawing/2014/main" id="{9ECAA01F-D03E-4060-B5BB-87503731390E}"/>
              </a:ext>
            </a:extLst>
          </p:cNvPr>
          <p:cNvPicPr>
            <a:picLocks noChangeAspect="1" noChangeArrowheads="1"/>
          </p:cNvPicPr>
          <p:nvPr/>
        </p:nvPicPr>
        <p:blipFill>
          <a:blip r:embed="rId33" cstate="print">
            <a:extLst>
              <a:ext uri="{28A0092B-C50C-407E-A947-70E740481C1C}">
                <a14:useLocalDpi xmlns:a14="http://schemas.microsoft.com/office/drawing/2010/main" val="0"/>
              </a:ext>
            </a:extLst>
          </a:blip>
          <a:srcRect/>
          <a:stretch>
            <a:fillRect/>
          </a:stretch>
        </p:blipFill>
        <p:spPr bwMode="auto">
          <a:xfrm>
            <a:off x="1148118" y="2517890"/>
            <a:ext cx="810336" cy="116805"/>
          </a:xfrm>
          <a:prstGeom prst="rect">
            <a:avLst/>
          </a:prstGeom>
          <a:noFill/>
          <a:extLst>
            <a:ext uri="{909E8E84-426E-40DD-AFC4-6F175D3DCCD1}">
              <a14:hiddenFill xmlns:a14="http://schemas.microsoft.com/office/drawing/2010/main">
                <a:solidFill>
                  <a:srgbClr val="FFFFFF"/>
                </a:solidFill>
              </a14:hiddenFill>
            </a:ext>
          </a:extLst>
        </p:spPr>
      </p:pic>
      <p:pic>
        <p:nvPicPr>
          <p:cNvPr id="37903" name="Picture 15" descr="How to install Node.js 7 and NPM 4 on CentOS 6/7, Debian 8 and Ubuntu 16">
            <a:extLst>
              <a:ext uri="{FF2B5EF4-FFF2-40B4-BE49-F238E27FC236}">
                <a16:creationId xmlns:a16="http://schemas.microsoft.com/office/drawing/2014/main" id="{7873FB91-1337-4A7F-8995-6F82AEF761CD}"/>
              </a:ext>
            </a:extLst>
          </p:cNvPr>
          <p:cNvPicPr>
            <a:picLocks noChangeAspect="1" noChangeArrowheads="1"/>
          </p:cNvPicPr>
          <p:nvPr/>
        </p:nvPicPr>
        <p:blipFill>
          <a:blip r:embed="rId34"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992296" y="2803150"/>
            <a:ext cx="926045" cy="360000"/>
          </a:xfrm>
          <a:prstGeom prst="rect">
            <a:avLst/>
          </a:prstGeom>
          <a:noFill/>
          <a:extLst>
            <a:ext uri="{909E8E84-426E-40DD-AFC4-6F175D3DCCD1}">
              <a14:hiddenFill xmlns:a14="http://schemas.microsoft.com/office/drawing/2010/main">
                <a:solidFill>
                  <a:srgbClr val="FFFFFF"/>
                </a:solidFill>
              </a14:hiddenFill>
            </a:ext>
          </a:extLst>
        </p:spPr>
      </p:pic>
      <p:pic>
        <p:nvPicPr>
          <p:cNvPr id="37905" name="Picture 17" descr="PowerMock (Android). Often, in order to write unit tests… | by Gioacchino  Lonardo | Medium">
            <a:extLst>
              <a:ext uri="{FF2B5EF4-FFF2-40B4-BE49-F238E27FC236}">
                <a16:creationId xmlns:a16="http://schemas.microsoft.com/office/drawing/2014/main" id="{D068A2D2-A3E1-43A2-9A0A-99C002C43726}"/>
              </a:ext>
            </a:extLst>
          </p:cNvPr>
          <p:cNvPicPr>
            <a:picLocks noChangeAspect="1" noChangeArrowheads="1"/>
          </p:cNvPicPr>
          <p:nvPr/>
        </p:nvPicPr>
        <p:blipFill>
          <a:blip r:embed="rId35"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024516" y="2835505"/>
            <a:ext cx="493019" cy="2473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5521126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42ABE2D-1728-4460-A8CA-6AD4EA84EB4B}"/>
              </a:ext>
            </a:extLst>
          </p:cNvPr>
          <p:cNvGraphicFramePr>
            <a:graphicFrameLocks noChangeAspect="1"/>
          </p:cNvGraphicFramePr>
          <p:nvPr>
            <p:custDataLst>
              <p:tags r:id="rId2"/>
            </p:custDataLst>
            <p:extLst>
              <p:ext uri="{D42A27DB-BD31-4B8C-83A1-F6EECF244321}">
                <p14:modId xmlns:p14="http://schemas.microsoft.com/office/powerpoint/2010/main" val="16199102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863" name="think-cell Slide" r:id="rId5" imgW="360" imgH="360" progId="TCLayout.ActiveDocument.1">
                  <p:embed/>
                </p:oleObj>
              </mc:Choice>
              <mc:Fallback>
                <p:oleObj name="think-cell Slide" r:id="rId5" imgW="360" imgH="360" progId="TCLayout.ActiveDocument.1">
                  <p:embed/>
                  <p:pic>
                    <p:nvPicPr>
                      <p:cNvPr id="4" name="Object 3" hidden="1">
                        <a:extLst>
                          <a:ext uri="{FF2B5EF4-FFF2-40B4-BE49-F238E27FC236}">
                            <a16:creationId xmlns:a16="http://schemas.microsoft.com/office/drawing/2014/main" id="{742ABE2D-1728-4460-A8CA-6AD4EA84EB4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27D392F-46EE-48D5-826C-7D431AA04B3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sz="2400" b="1" dirty="0">
              <a:latin typeface="UniCredit" panose="02000506040000020004" pitchFamily="2" charset="0"/>
              <a:ea typeface="+mj-ea"/>
              <a:cs typeface="Arial" panose="020B0604020202020204" pitchFamily="34" charset="0"/>
              <a:sym typeface="UniCredit" panose="02000506040000020004" pitchFamily="2" charset="0"/>
            </a:endParaRPr>
          </a:p>
        </p:txBody>
      </p:sp>
      <p:sp>
        <p:nvSpPr>
          <p:cNvPr id="64" name="Rectangle 63"/>
          <p:cNvSpPr/>
          <p:nvPr/>
        </p:nvSpPr>
        <p:spPr>
          <a:xfrm>
            <a:off x="1" y="942036"/>
            <a:ext cx="9144000" cy="3551849"/>
          </a:xfrm>
          <a:prstGeom prst="rect">
            <a:avLst/>
          </a:prstGeom>
          <a:gradFill flip="none" rotWithShape="1">
            <a:gsLst>
              <a:gs pos="100000">
                <a:srgbClr val="FFFFFF"/>
              </a:gs>
              <a:gs pos="0">
                <a:schemeClr val="bg1"/>
              </a:gs>
              <a:gs pos="50000">
                <a:srgbClr val="E1F3F7"/>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360000" tIns="0" bIns="0" rtlCol="0" anchor="ctr"/>
          <a:lstStyle/>
          <a:p>
            <a:pPr>
              <a:buClr>
                <a:srgbClr val="C00000"/>
              </a:buClr>
            </a:pPr>
            <a:endParaRPr lang="en-US" sz="1800" dirty="0">
              <a:solidFill>
                <a:schemeClr val="tx1"/>
              </a:solidFill>
            </a:endParaRPr>
          </a:p>
        </p:txBody>
      </p:sp>
      <p:sp>
        <p:nvSpPr>
          <p:cNvPr id="11" name="Text Placeholder 10"/>
          <p:cNvSpPr>
            <a:spLocks noGrp="1"/>
          </p:cNvSpPr>
          <p:nvPr>
            <p:ph type="body" sz="quarter" idx="17"/>
          </p:nvPr>
        </p:nvSpPr>
        <p:spPr/>
        <p:txBody>
          <a:bodyPr/>
          <a:lstStyle/>
          <a:p>
            <a:r>
              <a:rPr lang="en-US" dirty="0">
                <a:hlinkClick r:id="rId7"/>
              </a:rPr>
              <a:t>https://onboarding.devops.internal.unicreditgroup.eu/svn-to-git/</a:t>
            </a:r>
            <a:endParaRPr lang="de-DE" dirty="0"/>
          </a:p>
        </p:txBody>
      </p:sp>
      <p:sp>
        <p:nvSpPr>
          <p:cNvPr id="10" name="Content Placeholder 9"/>
          <p:cNvSpPr>
            <a:spLocks noGrp="1"/>
          </p:cNvSpPr>
          <p:nvPr>
            <p:ph sz="quarter" idx="16"/>
          </p:nvPr>
        </p:nvSpPr>
        <p:spPr>
          <a:xfrm>
            <a:off x="5140372" y="2412801"/>
            <a:ext cx="2386367" cy="988673"/>
          </a:xfrm>
        </p:spPr>
        <p:txBody>
          <a:bodyPr>
            <a:normAutofit/>
          </a:bodyPr>
          <a:lstStyle/>
          <a:p>
            <a:pPr marL="0" indent="0">
              <a:buNone/>
            </a:pPr>
            <a:r>
              <a:rPr lang="de-DE" sz="900" dirty="0">
                <a:latin typeface="Lucida Console" panose="020B0609040504020204" pitchFamily="49" charset="0"/>
              </a:rPr>
              <a:t>svn co &lt;repo_url&gt;</a:t>
            </a:r>
          </a:p>
          <a:p>
            <a:pPr marL="0" indent="0">
              <a:buNone/>
            </a:pPr>
            <a:r>
              <a:rPr lang="de-DE" sz="900" dirty="0">
                <a:latin typeface="Lucida Console" panose="020B0609040504020204" pitchFamily="49" charset="0"/>
              </a:rPr>
              <a:t>svn add filename.txt</a:t>
            </a:r>
          </a:p>
          <a:p>
            <a:pPr marL="0" indent="0">
              <a:buNone/>
            </a:pPr>
            <a:r>
              <a:rPr lang="de-DE" sz="900" b="1" dirty="0">
                <a:solidFill>
                  <a:srgbClr val="FF0000"/>
                </a:solidFill>
                <a:latin typeface="Lucida Console" panose="020B0609040504020204" pitchFamily="49" charset="0"/>
              </a:rPr>
              <a:t>svn commit –m "added file"</a:t>
            </a:r>
          </a:p>
          <a:p>
            <a:pPr marL="0" indent="0">
              <a:buNone/>
            </a:pPr>
            <a:r>
              <a:rPr lang="de-DE" sz="900" dirty="0">
                <a:latin typeface="Lucida Console" panose="020B0609040504020204" pitchFamily="49" charset="0"/>
              </a:rPr>
              <a:t>…editing file…</a:t>
            </a:r>
          </a:p>
          <a:p>
            <a:pPr marL="0" indent="0">
              <a:buNone/>
            </a:pPr>
            <a:r>
              <a:rPr lang="de-DE" sz="900" b="1" dirty="0">
                <a:solidFill>
                  <a:srgbClr val="FF0000"/>
                </a:solidFill>
                <a:latin typeface="Lucida Console" panose="020B0609040504020204" pitchFamily="49" charset="0"/>
              </a:rPr>
              <a:t>svn commit –m "file modified"</a:t>
            </a:r>
          </a:p>
          <a:p>
            <a:endParaRPr lang="de-DE" sz="900" dirty="0"/>
          </a:p>
        </p:txBody>
      </p:sp>
      <p:sp>
        <p:nvSpPr>
          <p:cNvPr id="9" name="Content Placeholder 8"/>
          <p:cNvSpPr>
            <a:spLocks noGrp="1"/>
          </p:cNvSpPr>
          <p:nvPr>
            <p:ph sz="quarter" idx="15"/>
          </p:nvPr>
        </p:nvSpPr>
        <p:spPr>
          <a:xfrm>
            <a:off x="1825141" y="2408694"/>
            <a:ext cx="2133342" cy="1109144"/>
          </a:xfrm>
        </p:spPr>
        <p:txBody>
          <a:bodyPr>
            <a:normAutofit fontScale="92500"/>
          </a:bodyPr>
          <a:lstStyle/>
          <a:p>
            <a:pPr marL="0" indent="0">
              <a:buNone/>
            </a:pPr>
            <a:r>
              <a:rPr lang="de-DE" sz="1000" dirty="0">
                <a:latin typeface="Lucida Console" panose="020B0609040504020204" pitchFamily="49" charset="0"/>
              </a:rPr>
              <a:t>git clone &lt;repo_url&gt;</a:t>
            </a:r>
          </a:p>
          <a:p>
            <a:pPr marL="0" indent="0">
              <a:buNone/>
            </a:pPr>
            <a:r>
              <a:rPr lang="de-DE" sz="1000" dirty="0">
                <a:latin typeface="Lucida Console" panose="020B0609040504020204" pitchFamily="49" charset="0"/>
              </a:rPr>
              <a:t>git add filename.txt</a:t>
            </a:r>
          </a:p>
          <a:p>
            <a:pPr marL="0" indent="0">
              <a:buNone/>
            </a:pPr>
            <a:r>
              <a:rPr lang="de-DE" sz="1000" dirty="0">
                <a:latin typeface="Lucida Console" panose="020B0609040504020204" pitchFamily="49" charset="0"/>
              </a:rPr>
              <a:t>git commit –m "added file"</a:t>
            </a:r>
          </a:p>
          <a:p>
            <a:pPr marL="0" indent="0">
              <a:buNone/>
            </a:pPr>
            <a:r>
              <a:rPr lang="de-DE" sz="1000" dirty="0">
                <a:latin typeface="Lucida Console" panose="020B0609040504020204" pitchFamily="49" charset="0"/>
              </a:rPr>
              <a:t>…editing file..</a:t>
            </a:r>
          </a:p>
          <a:p>
            <a:pPr marL="0" indent="0">
              <a:buNone/>
            </a:pPr>
            <a:r>
              <a:rPr lang="de-DE" sz="1000" dirty="0">
                <a:latin typeface="Lucida Console" panose="020B0609040504020204" pitchFamily="49" charset="0"/>
              </a:rPr>
              <a:t>git commit –m "file modified"</a:t>
            </a:r>
          </a:p>
          <a:p>
            <a:pPr marL="0" indent="0">
              <a:buNone/>
            </a:pPr>
            <a:r>
              <a:rPr lang="de-DE" sz="1000" b="1" dirty="0">
                <a:solidFill>
                  <a:srgbClr val="FF0000"/>
                </a:solidFill>
                <a:latin typeface="Lucida Console" panose="020B0609040504020204" pitchFamily="49" charset="0"/>
              </a:rPr>
              <a:t>git push origin/master</a:t>
            </a:r>
          </a:p>
        </p:txBody>
      </p:sp>
      <p:sp>
        <p:nvSpPr>
          <p:cNvPr id="7" name="Title 6"/>
          <p:cNvSpPr>
            <a:spLocks noGrp="1"/>
          </p:cNvSpPr>
          <p:nvPr>
            <p:ph type="title"/>
          </p:nvPr>
        </p:nvSpPr>
        <p:spPr/>
        <p:txBody>
          <a:bodyPr/>
          <a:lstStyle/>
          <a:p>
            <a:r>
              <a:rPr lang="de-DE" dirty="0" err="1"/>
              <a:t>BitBucket</a:t>
            </a:r>
            <a:r>
              <a:rPr lang="de-DE" dirty="0"/>
              <a:t> – GIT </a:t>
            </a:r>
            <a:r>
              <a:rPr lang="de-DE" dirty="0" err="1"/>
              <a:t>version</a:t>
            </a:r>
            <a:r>
              <a:rPr lang="de-DE" dirty="0"/>
              <a:t> </a:t>
            </a:r>
            <a:r>
              <a:rPr lang="de-DE" dirty="0" err="1"/>
              <a:t>control</a:t>
            </a:r>
            <a:r>
              <a:rPr lang="de-DE" dirty="0"/>
              <a:t> and </a:t>
            </a:r>
            <a:r>
              <a:rPr lang="de-DE" dirty="0" err="1"/>
              <a:t>migration</a:t>
            </a:r>
            <a:r>
              <a:rPr lang="de-DE" dirty="0"/>
              <a:t> </a:t>
            </a:r>
            <a:r>
              <a:rPr lang="de-DE" dirty="0" err="1"/>
              <a:t>from</a:t>
            </a:r>
            <a:r>
              <a:rPr lang="de-DE" dirty="0"/>
              <a:t> SVN</a:t>
            </a:r>
          </a:p>
        </p:txBody>
      </p:sp>
      <p:sp>
        <p:nvSpPr>
          <p:cNvPr id="13" name="TextBox 12"/>
          <p:cNvSpPr txBox="1"/>
          <p:nvPr/>
        </p:nvSpPr>
        <p:spPr>
          <a:xfrm>
            <a:off x="1676889" y="2097584"/>
            <a:ext cx="346570" cy="246221"/>
          </a:xfrm>
          <a:prstGeom prst="rect">
            <a:avLst/>
          </a:prstGeom>
          <a:noFill/>
        </p:spPr>
        <p:txBody>
          <a:bodyPr wrap="none" rtlCol="0">
            <a:spAutoFit/>
          </a:bodyPr>
          <a:lstStyle/>
          <a:p>
            <a:r>
              <a:rPr lang="de-DE" sz="1000" dirty="0"/>
              <a:t>GIT</a:t>
            </a:r>
          </a:p>
        </p:txBody>
      </p:sp>
      <p:sp>
        <p:nvSpPr>
          <p:cNvPr id="14" name="TextBox 13"/>
          <p:cNvSpPr txBox="1"/>
          <p:nvPr/>
        </p:nvSpPr>
        <p:spPr>
          <a:xfrm>
            <a:off x="4981934" y="2097399"/>
            <a:ext cx="388248" cy="246221"/>
          </a:xfrm>
          <a:prstGeom prst="rect">
            <a:avLst/>
          </a:prstGeom>
          <a:noFill/>
        </p:spPr>
        <p:txBody>
          <a:bodyPr wrap="none" rtlCol="0">
            <a:spAutoFit/>
          </a:bodyPr>
          <a:lstStyle/>
          <a:p>
            <a:r>
              <a:rPr lang="de-DE" sz="1000" dirty="0"/>
              <a:t>SVN</a:t>
            </a:r>
          </a:p>
        </p:txBody>
      </p:sp>
      <p:sp>
        <p:nvSpPr>
          <p:cNvPr id="15" name="Right Brace 14"/>
          <p:cNvSpPr/>
          <p:nvPr/>
        </p:nvSpPr>
        <p:spPr>
          <a:xfrm>
            <a:off x="3823468" y="2408695"/>
            <a:ext cx="431943" cy="814159"/>
          </a:xfrm>
          <a:prstGeom prst="rightBrace">
            <a:avLst>
              <a:gd name="adj1" fmla="val 8333"/>
              <a:gd name="adj2" fmla="val 51190"/>
            </a:avLst>
          </a:prstGeom>
          <a:ln>
            <a:solidFill>
              <a:srgbClr val="00AFD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000" dirty="0"/>
          </a:p>
        </p:txBody>
      </p:sp>
      <p:sp>
        <p:nvSpPr>
          <p:cNvPr id="18" name="TextBox 17"/>
          <p:cNvSpPr txBox="1"/>
          <p:nvPr/>
        </p:nvSpPr>
        <p:spPr>
          <a:xfrm>
            <a:off x="4255411" y="2573399"/>
            <a:ext cx="684803" cy="400110"/>
          </a:xfrm>
          <a:prstGeom prst="rect">
            <a:avLst/>
          </a:prstGeom>
          <a:noFill/>
        </p:spPr>
        <p:txBody>
          <a:bodyPr wrap="none" rtlCol="0">
            <a:spAutoFit/>
          </a:bodyPr>
          <a:lstStyle/>
          <a:p>
            <a:r>
              <a:rPr lang="de-DE" sz="1000" dirty="0"/>
              <a:t>On DEV</a:t>
            </a:r>
          </a:p>
          <a:p>
            <a:r>
              <a:rPr lang="de-DE" sz="1000" dirty="0"/>
              <a:t>local copy</a:t>
            </a:r>
          </a:p>
        </p:txBody>
      </p:sp>
      <p:sp>
        <p:nvSpPr>
          <p:cNvPr id="19" name="TextBox 18"/>
          <p:cNvSpPr txBox="1"/>
          <p:nvPr/>
        </p:nvSpPr>
        <p:spPr>
          <a:xfrm>
            <a:off x="4997068" y="3357764"/>
            <a:ext cx="3062057" cy="246221"/>
          </a:xfrm>
          <a:prstGeom prst="rect">
            <a:avLst/>
          </a:prstGeom>
          <a:noFill/>
        </p:spPr>
        <p:txBody>
          <a:bodyPr wrap="none" rtlCol="0">
            <a:spAutoFit/>
          </a:bodyPr>
          <a:lstStyle/>
          <a:p>
            <a:r>
              <a:rPr lang="de-DE" sz="1000" dirty="0">
                <a:solidFill>
                  <a:srgbClr val="FF0000"/>
                </a:solidFill>
              </a:rPr>
              <a:t>RED commands actually put the version on central server.</a:t>
            </a:r>
          </a:p>
        </p:txBody>
      </p:sp>
      <p:sp>
        <p:nvSpPr>
          <p:cNvPr id="60" name="Round Diagonal Corner Rectangle 59"/>
          <p:cNvSpPr/>
          <p:nvPr/>
        </p:nvSpPr>
        <p:spPr>
          <a:xfrm>
            <a:off x="307388" y="942036"/>
            <a:ext cx="8529225" cy="982374"/>
          </a:xfrm>
          <a:prstGeom prst="round2DiagRect">
            <a:avLst/>
          </a:prstGeom>
          <a:solidFill>
            <a:srgbClr val="D0EBF2">
              <a:alpha val="46000"/>
            </a:srgbClr>
          </a:solidFill>
          <a:ln>
            <a:solidFill>
              <a:schemeClr val="accent1"/>
            </a:solidFill>
          </a:ln>
        </p:spPr>
        <p:txBody>
          <a:bodyPr wrap="square" lIns="684000" tIns="0" rIns="0" bIns="0" anchor="ctr">
            <a:noAutofit/>
          </a:bodyPr>
          <a:lstStyle/>
          <a:p>
            <a:r>
              <a:rPr lang="en-US" sz="1200" b="1" dirty="0"/>
              <a:t>Distributed version control </a:t>
            </a:r>
            <a:r>
              <a:rPr lang="en-US" sz="1200" dirty="0"/>
              <a:t>system features:</a:t>
            </a:r>
          </a:p>
          <a:p>
            <a:pPr marL="214313" indent="-214313">
              <a:buClr>
                <a:schemeClr val="accent1"/>
              </a:buClr>
              <a:buFont typeface="Wingdings" panose="05000000000000000000" pitchFamily="2" charset="2"/>
              <a:buChar char="§"/>
            </a:pPr>
            <a:r>
              <a:rPr lang="en-US" sz="1200" dirty="0"/>
              <a:t>Every working copy contains the whole history and set of </a:t>
            </a:r>
            <a:r>
              <a:rPr lang="en-US" sz="1200" b="1" dirty="0"/>
              <a:t>branches/tags </a:t>
            </a:r>
            <a:r>
              <a:rPr lang="en-US" sz="1200" dirty="0"/>
              <a:t>got from central server at last update</a:t>
            </a:r>
          </a:p>
          <a:p>
            <a:pPr marL="214313" indent="-214313">
              <a:buClr>
                <a:schemeClr val="accent1"/>
              </a:buClr>
              <a:buFont typeface="Wingdings" panose="05000000000000000000" pitchFamily="2" charset="2"/>
              <a:buChar char="§"/>
            </a:pPr>
            <a:r>
              <a:rPr lang="en-US" sz="1200" dirty="0"/>
              <a:t>Developer can branch/tag and go forward/backward in </a:t>
            </a:r>
            <a:r>
              <a:rPr lang="en-US" sz="1200" b="1" dirty="0"/>
              <a:t>history directly</a:t>
            </a:r>
            <a:r>
              <a:rPr lang="en-US" sz="1200" dirty="0"/>
              <a:t> on the local copy</a:t>
            </a:r>
          </a:p>
          <a:p>
            <a:pPr marL="214313" indent="-214313">
              <a:buClr>
                <a:schemeClr val="accent1"/>
              </a:buClr>
              <a:buFont typeface="Wingdings" panose="05000000000000000000" pitchFamily="2" charset="2"/>
              <a:buChar char="§"/>
            </a:pPr>
            <a:r>
              <a:rPr lang="en-US" sz="1200" dirty="0"/>
              <a:t>Every working copy is a de-facto backup of the </a:t>
            </a:r>
            <a:r>
              <a:rPr lang="en-US" sz="1200" b="1" dirty="0"/>
              <a:t>central server</a:t>
            </a:r>
          </a:p>
          <a:p>
            <a:pPr marL="214313" indent="-214313">
              <a:buClr>
                <a:schemeClr val="accent1"/>
              </a:buClr>
              <a:buFont typeface="Wingdings" panose="05000000000000000000" pitchFamily="2" charset="2"/>
              <a:buChar char="§"/>
            </a:pPr>
            <a:r>
              <a:rPr lang="en-US" sz="1200" dirty="0"/>
              <a:t>Good for </a:t>
            </a:r>
            <a:r>
              <a:rPr lang="en-US" sz="1200" b="1" dirty="0"/>
              <a:t>remote working</a:t>
            </a:r>
            <a:r>
              <a:rPr lang="en-US" sz="1200" dirty="0"/>
              <a:t>, no need to be always connected to server</a:t>
            </a:r>
          </a:p>
        </p:txBody>
      </p:sp>
      <p:sp>
        <p:nvSpPr>
          <p:cNvPr id="61" name="Round Diagonal Corner Rectangle 60"/>
          <p:cNvSpPr/>
          <p:nvPr/>
        </p:nvSpPr>
        <p:spPr>
          <a:xfrm>
            <a:off x="307388" y="3676668"/>
            <a:ext cx="8529225" cy="670975"/>
          </a:xfrm>
          <a:prstGeom prst="round2DiagRect">
            <a:avLst/>
          </a:prstGeom>
          <a:solidFill>
            <a:schemeClr val="bg1">
              <a:lumMod val="95000"/>
              <a:alpha val="46000"/>
            </a:schemeClr>
          </a:solidFill>
          <a:ln>
            <a:solidFill>
              <a:schemeClr val="bg1">
                <a:lumMod val="75000"/>
              </a:schemeClr>
            </a:solidFill>
          </a:ln>
        </p:spPr>
        <p:txBody>
          <a:bodyPr wrap="square" lIns="684000" tIns="0" rIns="0" bIns="0" anchor="ctr">
            <a:noAutofit/>
          </a:bodyPr>
          <a:lstStyle/>
          <a:p>
            <a:r>
              <a:rPr lang="en-US" sz="1200" b="1" dirty="0"/>
              <a:t>Migration approach from SVN to </a:t>
            </a:r>
            <a:r>
              <a:rPr lang="en-US" sz="1200" b="1" dirty="0" err="1"/>
              <a:t>BitBucket</a:t>
            </a:r>
            <a:endParaRPr lang="en-US" sz="1200" b="1" dirty="0"/>
          </a:p>
          <a:p>
            <a:pPr marL="171450" indent="-171450">
              <a:buClr>
                <a:schemeClr val="accent1"/>
              </a:buClr>
              <a:buFont typeface="Wingdings" panose="05000000000000000000" pitchFamily="2" charset="2"/>
              <a:buChar char="§"/>
            </a:pPr>
            <a:r>
              <a:rPr lang="en-US" sz="1200" dirty="0"/>
              <a:t>If you are not interested in historical data: checkout, </a:t>
            </a:r>
            <a:r>
              <a:rPr lang="en-US" sz="1200" dirty="0" err="1"/>
              <a:t>git</a:t>
            </a:r>
            <a:r>
              <a:rPr lang="en-US" sz="1200" dirty="0"/>
              <a:t> </a:t>
            </a:r>
            <a:r>
              <a:rPr lang="en-US" sz="1200" dirty="0" err="1"/>
              <a:t>init</a:t>
            </a:r>
            <a:r>
              <a:rPr lang="en-US" sz="1200" dirty="0"/>
              <a:t>, </a:t>
            </a:r>
            <a:r>
              <a:rPr lang="en-US" sz="1200" dirty="0" err="1"/>
              <a:t>git</a:t>
            </a:r>
            <a:r>
              <a:rPr lang="en-US" sz="1200" dirty="0"/>
              <a:t> set-remote, </a:t>
            </a:r>
            <a:r>
              <a:rPr lang="en-US" sz="1200" dirty="0" err="1"/>
              <a:t>git</a:t>
            </a:r>
            <a:r>
              <a:rPr lang="en-US" sz="1200" dirty="0"/>
              <a:t> add, </a:t>
            </a:r>
            <a:r>
              <a:rPr lang="en-US" sz="1200" dirty="0" err="1"/>
              <a:t>git</a:t>
            </a:r>
            <a:r>
              <a:rPr lang="en-US" sz="1200" dirty="0"/>
              <a:t> commit, </a:t>
            </a:r>
            <a:r>
              <a:rPr lang="en-US" sz="1200" dirty="0" err="1"/>
              <a:t>git</a:t>
            </a:r>
            <a:r>
              <a:rPr lang="en-US" sz="1200" dirty="0"/>
              <a:t> push.</a:t>
            </a:r>
          </a:p>
          <a:p>
            <a:pPr marL="171450" indent="-171450">
              <a:buClr>
                <a:schemeClr val="accent1"/>
              </a:buClr>
              <a:buFont typeface="Wingdings" panose="05000000000000000000" pitchFamily="2" charset="2"/>
              <a:buChar char="§"/>
            </a:pPr>
            <a:r>
              <a:rPr lang="en-US" sz="1200" dirty="0"/>
              <a:t>Otherwise to maintain history for a branch is required some extra work described in our internal documentation</a:t>
            </a:r>
            <a:endParaRPr lang="en-US" sz="1200" baseline="30000" dirty="0"/>
          </a:p>
        </p:txBody>
      </p:sp>
      <p:sp>
        <p:nvSpPr>
          <p:cNvPr id="62" name="Freeform 57"/>
          <p:cNvSpPr>
            <a:spLocks noEditPoints="1"/>
          </p:cNvSpPr>
          <p:nvPr/>
        </p:nvSpPr>
        <p:spPr bwMode="auto">
          <a:xfrm rot="5400000">
            <a:off x="377152" y="1261334"/>
            <a:ext cx="580765" cy="343778"/>
          </a:xfrm>
          <a:custGeom>
            <a:avLst/>
            <a:gdLst>
              <a:gd name="T0" fmla="*/ 2771 w 3968"/>
              <a:gd name="T1" fmla="*/ 988 h 2349"/>
              <a:gd name="T2" fmla="*/ 2571 w 3968"/>
              <a:gd name="T3" fmla="*/ 1217 h 2349"/>
              <a:gd name="T4" fmla="*/ 2558 w 3968"/>
              <a:gd name="T5" fmla="*/ 1528 h 2349"/>
              <a:gd name="T6" fmla="*/ 2735 w 3968"/>
              <a:gd name="T7" fmla="*/ 1772 h 2349"/>
              <a:gd name="T8" fmla="*/ 3038 w 3968"/>
              <a:gd name="T9" fmla="*/ 1856 h 2349"/>
              <a:gd name="T10" fmla="*/ 3314 w 3968"/>
              <a:gd name="T11" fmla="*/ 1736 h 2349"/>
              <a:gd name="T12" fmla="*/ 3462 w 3968"/>
              <a:gd name="T13" fmla="*/ 1462 h 2349"/>
              <a:gd name="T14" fmla="*/ 3406 w 3968"/>
              <a:gd name="T15" fmla="*/ 1161 h 2349"/>
              <a:gd name="T16" fmla="*/ 3176 w 3968"/>
              <a:gd name="T17" fmla="*/ 961 h 2349"/>
              <a:gd name="T18" fmla="*/ 519 w 3968"/>
              <a:gd name="T19" fmla="*/ 888 h 2349"/>
              <a:gd name="T20" fmla="*/ 336 w 3968"/>
              <a:gd name="T21" fmla="*/ 1025 h 2349"/>
              <a:gd name="T22" fmla="*/ 320 w 3968"/>
              <a:gd name="T23" fmla="*/ 1261 h 2349"/>
              <a:gd name="T24" fmla="*/ 482 w 3968"/>
              <a:gd name="T25" fmla="*/ 1422 h 2349"/>
              <a:gd name="T26" fmla="*/ 715 w 3968"/>
              <a:gd name="T27" fmla="*/ 1405 h 2349"/>
              <a:gd name="T28" fmla="*/ 853 w 3968"/>
              <a:gd name="T29" fmla="*/ 1219 h 2349"/>
              <a:gd name="T30" fmla="*/ 804 w 3968"/>
              <a:gd name="T31" fmla="*/ 993 h 2349"/>
              <a:gd name="T32" fmla="*/ 598 w 3968"/>
              <a:gd name="T33" fmla="*/ 882 h 2349"/>
              <a:gd name="T34" fmla="*/ 798 w 3968"/>
              <a:gd name="T35" fmla="*/ 757 h 2349"/>
              <a:gd name="T36" fmla="*/ 1085 w 3968"/>
              <a:gd name="T37" fmla="*/ 870 h 2349"/>
              <a:gd name="T38" fmla="*/ 1006 w 3968"/>
              <a:gd name="T39" fmla="*/ 1316 h 2349"/>
              <a:gd name="T40" fmla="*/ 745 w 3968"/>
              <a:gd name="T41" fmla="*/ 1582 h 2349"/>
              <a:gd name="T42" fmla="*/ 410 w 3968"/>
              <a:gd name="T43" fmla="*/ 1582 h 2349"/>
              <a:gd name="T44" fmla="*/ 227 w 3968"/>
              <a:gd name="T45" fmla="*/ 1627 h 2349"/>
              <a:gd name="T46" fmla="*/ 7 w 3968"/>
              <a:gd name="T47" fmla="*/ 1045 h 2349"/>
              <a:gd name="T48" fmla="*/ 402 w 3968"/>
              <a:gd name="T49" fmla="*/ 737 h 2349"/>
              <a:gd name="T50" fmla="*/ 480 w 3968"/>
              <a:gd name="T51" fmla="*/ 711 h 2349"/>
              <a:gd name="T52" fmla="*/ 3352 w 3968"/>
              <a:gd name="T53" fmla="*/ 714 h 2349"/>
              <a:gd name="T54" fmla="*/ 3445 w 3968"/>
              <a:gd name="T55" fmla="*/ 770 h 2349"/>
              <a:gd name="T56" fmla="*/ 3733 w 3968"/>
              <a:gd name="T57" fmla="*/ 1193 h 2349"/>
              <a:gd name="T58" fmla="*/ 3640 w 3968"/>
              <a:gd name="T59" fmla="*/ 1793 h 2349"/>
              <a:gd name="T60" fmla="*/ 3085 w 3968"/>
              <a:gd name="T61" fmla="*/ 2349 h 2349"/>
              <a:gd name="T62" fmla="*/ 2653 w 3968"/>
              <a:gd name="T63" fmla="*/ 2064 h 2349"/>
              <a:gd name="T64" fmla="*/ 2368 w 3968"/>
              <a:gd name="T65" fmla="*/ 2132 h 2349"/>
              <a:gd name="T66" fmla="*/ 2030 w 3968"/>
              <a:gd name="T67" fmla="*/ 1452 h 2349"/>
              <a:gd name="T68" fmla="*/ 2305 w 3968"/>
              <a:gd name="T69" fmla="*/ 709 h 2349"/>
              <a:gd name="T70" fmla="*/ 2822 w 3968"/>
              <a:gd name="T71" fmla="*/ 648 h 2349"/>
              <a:gd name="T72" fmla="*/ 2996 w 3968"/>
              <a:gd name="T73" fmla="*/ 413 h 2349"/>
              <a:gd name="T74" fmla="*/ 1490 w 3968"/>
              <a:gd name="T75" fmla="*/ 364 h 2349"/>
              <a:gd name="T76" fmla="*/ 1379 w 3968"/>
              <a:gd name="T77" fmla="*/ 570 h 2349"/>
              <a:gd name="T78" fmla="*/ 1459 w 3968"/>
              <a:gd name="T79" fmla="*/ 784 h 2349"/>
              <a:gd name="T80" fmla="*/ 1680 w 3968"/>
              <a:gd name="T81" fmla="*/ 865 h 2349"/>
              <a:gd name="T82" fmla="*/ 1880 w 3968"/>
              <a:gd name="T83" fmla="*/ 755 h 2349"/>
              <a:gd name="T84" fmla="*/ 1930 w 3968"/>
              <a:gd name="T85" fmla="*/ 525 h 2349"/>
              <a:gd name="T86" fmla="*/ 1793 w 3968"/>
              <a:gd name="T87" fmla="*/ 343 h 2349"/>
              <a:gd name="T88" fmla="*/ 1835 w 3968"/>
              <a:gd name="T89" fmla="*/ 165 h 2349"/>
              <a:gd name="T90" fmla="*/ 1905 w 3968"/>
              <a:gd name="T91" fmla="*/ 201 h 2349"/>
              <a:gd name="T92" fmla="*/ 2097 w 3968"/>
              <a:gd name="T93" fmla="*/ 469 h 2349"/>
              <a:gd name="T94" fmla="*/ 2120 w 3968"/>
              <a:gd name="T95" fmla="*/ 939 h 2349"/>
              <a:gd name="T96" fmla="*/ 1556 w 3968"/>
              <a:gd name="T97" fmla="*/ 1155 h 2349"/>
              <a:gd name="T98" fmla="*/ 1450 w 3968"/>
              <a:gd name="T99" fmla="*/ 994 h 2349"/>
              <a:gd name="T100" fmla="*/ 1232 w 3968"/>
              <a:gd name="T101" fmla="*/ 749 h 2349"/>
              <a:gd name="T102" fmla="*/ 1270 w 3968"/>
              <a:gd name="T103" fmla="*/ 341 h 2349"/>
              <a:gd name="T104" fmla="*/ 1522 w 3968"/>
              <a:gd name="T105" fmla="*/ 149 h 2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968" h="2349">
                <a:moveTo>
                  <a:pt x="3018" y="927"/>
                </a:moveTo>
                <a:lnTo>
                  <a:pt x="2966" y="928"/>
                </a:lnTo>
                <a:lnTo>
                  <a:pt x="2915" y="934"/>
                </a:lnTo>
                <a:lnTo>
                  <a:pt x="2865" y="948"/>
                </a:lnTo>
                <a:lnTo>
                  <a:pt x="2817" y="965"/>
                </a:lnTo>
                <a:lnTo>
                  <a:pt x="2771" y="988"/>
                </a:lnTo>
                <a:lnTo>
                  <a:pt x="2728" y="1016"/>
                </a:lnTo>
                <a:lnTo>
                  <a:pt x="2688" y="1047"/>
                </a:lnTo>
                <a:lnTo>
                  <a:pt x="2653" y="1085"/>
                </a:lnTo>
                <a:lnTo>
                  <a:pt x="2621" y="1125"/>
                </a:lnTo>
                <a:lnTo>
                  <a:pt x="2594" y="1170"/>
                </a:lnTo>
                <a:lnTo>
                  <a:pt x="2571" y="1217"/>
                </a:lnTo>
                <a:lnTo>
                  <a:pt x="2554" y="1269"/>
                </a:lnTo>
                <a:lnTo>
                  <a:pt x="2542" y="1322"/>
                </a:lnTo>
                <a:lnTo>
                  <a:pt x="2537" y="1374"/>
                </a:lnTo>
                <a:lnTo>
                  <a:pt x="2538" y="1428"/>
                </a:lnTo>
                <a:lnTo>
                  <a:pt x="2545" y="1479"/>
                </a:lnTo>
                <a:lnTo>
                  <a:pt x="2558" y="1528"/>
                </a:lnTo>
                <a:lnTo>
                  <a:pt x="2575" y="1577"/>
                </a:lnTo>
                <a:lnTo>
                  <a:pt x="2598" y="1622"/>
                </a:lnTo>
                <a:lnTo>
                  <a:pt x="2625" y="1665"/>
                </a:lnTo>
                <a:lnTo>
                  <a:pt x="2658" y="1704"/>
                </a:lnTo>
                <a:lnTo>
                  <a:pt x="2695" y="1741"/>
                </a:lnTo>
                <a:lnTo>
                  <a:pt x="2735" y="1772"/>
                </a:lnTo>
                <a:lnTo>
                  <a:pt x="2779" y="1800"/>
                </a:lnTo>
                <a:lnTo>
                  <a:pt x="2828" y="1823"/>
                </a:lnTo>
                <a:lnTo>
                  <a:pt x="2879" y="1840"/>
                </a:lnTo>
                <a:lnTo>
                  <a:pt x="2932" y="1851"/>
                </a:lnTo>
                <a:lnTo>
                  <a:pt x="2985" y="1857"/>
                </a:lnTo>
                <a:lnTo>
                  <a:pt x="3038" y="1856"/>
                </a:lnTo>
                <a:lnTo>
                  <a:pt x="3088" y="1848"/>
                </a:lnTo>
                <a:lnTo>
                  <a:pt x="3138" y="1836"/>
                </a:lnTo>
                <a:lnTo>
                  <a:pt x="3187" y="1818"/>
                </a:lnTo>
                <a:lnTo>
                  <a:pt x="3232" y="1795"/>
                </a:lnTo>
                <a:lnTo>
                  <a:pt x="3275" y="1768"/>
                </a:lnTo>
                <a:lnTo>
                  <a:pt x="3314" y="1736"/>
                </a:lnTo>
                <a:lnTo>
                  <a:pt x="3350" y="1699"/>
                </a:lnTo>
                <a:lnTo>
                  <a:pt x="3383" y="1658"/>
                </a:lnTo>
                <a:lnTo>
                  <a:pt x="3410" y="1614"/>
                </a:lnTo>
                <a:lnTo>
                  <a:pt x="3433" y="1566"/>
                </a:lnTo>
                <a:lnTo>
                  <a:pt x="3450" y="1514"/>
                </a:lnTo>
                <a:lnTo>
                  <a:pt x="3462" y="1462"/>
                </a:lnTo>
                <a:lnTo>
                  <a:pt x="3467" y="1408"/>
                </a:lnTo>
                <a:lnTo>
                  <a:pt x="3465" y="1356"/>
                </a:lnTo>
                <a:lnTo>
                  <a:pt x="3458" y="1305"/>
                </a:lnTo>
                <a:lnTo>
                  <a:pt x="3446" y="1254"/>
                </a:lnTo>
                <a:lnTo>
                  <a:pt x="3428" y="1207"/>
                </a:lnTo>
                <a:lnTo>
                  <a:pt x="3406" y="1161"/>
                </a:lnTo>
                <a:lnTo>
                  <a:pt x="3378" y="1119"/>
                </a:lnTo>
                <a:lnTo>
                  <a:pt x="3345" y="1079"/>
                </a:lnTo>
                <a:lnTo>
                  <a:pt x="3309" y="1042"/>
                </a:lnTo>
                <a:lnTo>
                  <a:pt x="3268" y="1011"/>
                </a:lnTo>
                <a:lnTo>
                  <a:pt x="3224" y="983"/>
                </a:lnTo>
                <a:lnTo>
                  <a:pt x="3176" y="961"/>
                </a:lnTo>
                <a:lnTo>
                  <a:pt x="3125" y="943"/>
                </a:lnTo>
                <a:lnTo>
                  <a:pt x="3072" y="932"/>
                </a:lnTo>
                <a:lnTo>
                  <a:pt x="3018" y="927"/>
                </a:lnTo>
                <a:close/>
                <a:moveTo>
                  <a:pt x="598" y="882"/>
                </a:moveTo>
                <a:lnTo>
                  <a:pt x="558" y="882"/>
                </a:lnTo>
                <a:lnTo>
                  <a:pt x="519" y="888"/>
                </a:lnTo>
                <a:lnTo>
                  <a:pt x="481" y="899"/>
                </a:lnTo>
                <a:lnTo>
                  <a:pt x="446" y="916"/>
                </a:lnTo>
                <a:lnTo>
                  <a:pt x="413" y="937"/>
                </a:lnTo>
                <a:lnTo>
                  <a:pt x="383" y="962"/>
                </a:lnTo>
                <a:lnTo>
                  <a:pt x="358" y="993"/>
                </a:lnTo>
                <a:lnTo>
                  <a:pt x="336" y="1025"/>
                </a:lnTo>
                <a:lnTo>
                  <a:pt x="319" y="1062"/>
                </a:lnTo>
                <a:lnTo>
                  <a:pt x="308" y="1102"/>
                </a:lnTo>
                <a:lnTo>
                  <a:pt x="302" y="1143"/>
                </a:lnTo>
                <a:lnTo>
                  <a:pt x="302" y="1183"/>
                </a:lnTo>
                <a:lnTo>
                  <a:pt x="308" y="1223"/>
                </a:lnTo>
                <a:lnTo>
                  <a:pt x="320" y="1261"/>
                </a:lnTo>
                <a:lnTo>
                  <a:pt x="336" y="1296"/>
                </a:lnTo>
                <a:lnTo>
                  <a:pt x="358" y="1328"/>
                </a:lnTo>
                <a:lnTo>
                  <a:pt x="383" y="1357"/>
                </a:lnTo>
                <a:lnTo>
                  <a:pt x="412" y="1383"/>
                </a:lnTo>
                <a:lnTo>
                  <a:pt x="446" y="1405"/>
                </a:lnTo>
                <a:lnTo>
                  <a:pt x="482" y="1422"/>
                </a:lnTo>
                <a:lnTo>
                  <a:pt x="522" y="1434"/>
                </a:lnTo>
                <a:lnTo>
                  <a:pt x="564" y="1439"/>
                </a:lnTo>
                <a:lnTo>
                  <a:pt x="604" y="1439"/>
                </a:lnTo>
                <a:lnTo>
                  <a:pt x="642" y="1433"/>
                </a:lnTo>
                <a:lnTo>
                  <a:pt x="680" y="1422"/>
                </a:lnTo>
                <a:lnTo>
                  <a:pt x="715" y="1405"/>
                </a:lnTo>
                <a:lnTo>
                  <a:pt x="748" y="1384"/>
                </a:lnTo>
                <a:lnTo>
                  <a:pt x="778" y="1359"/>
                </a:lnTo>
                <a:lnTo>
                  <a:pt x="804" y="1328"/>
                </a:lnTo>
                <a:lnTo>
                  <a:pt x="825" y="1296"/>
                </a:lnTo>
                <a:lnTo>
                  <a:pt x="842" y="1258"/>
                </a:lnTo>
                <a:lnTo>
                  <a:pt x="853" y="1219"/>
                </a:lnTo>
                <a:lnTo>
                  <a:pt x="859" y="1178"/>
                </a:lnTo>
                <a:lnTo>
                  <a:pt x="859" y="1138"/>
                </a:lnTo>
                <a:lnTo>
                  <a:pt x="853" y="1098"/>
                </a:lnTo>
                <a:lnTo>
                  <a:pt x="841" y="1061"/>
                </a:lnTo>
                <a:lnTo>
                  <a:pt x="825" y="1025"/>
                </a:lnTo>
                <a:lnTo>
                  <a:pt x="804" y="993"/>
                </a:lnTo>
                <a:lnTo>
                  <a:pt x="778" y="964"/>
                </a:lnTo>
                <a:lnTo>
                  <a:pt x="749" y="937"/>
                </a:lnTo>
                <a:lnTo>
                  <a:pt x="715" y="916"/>
                </a:lnTo>
                <a:lnTo>
                  <a:pt x="679" y="899"/>
                </a:lnTo>
                <a:lnTo>
                  <a:pt x="639" y="887"/>
                </a:lnTo>
                <a:lnTo>
                  <a:pt x="598" y="882"/>
                </a:lnTo>
                <a:close/>
                <a:moveTo>
                  <a:pt x="544" y="573"/>
                </a:moveTo>
                <a:lnTo>
                  <a:pt x="727" y="593"/>
                </a:lnTo>
                <a:lnTo>
                  <a:pt x="758" y="738"/>
                </a:lnTo>
                <a:lnTo>
                  <a:pt x="771" y="744"/>
                </a:lnTo>
                <a:lnTo>
                  <a:pt x="784" y="750"/>
                </a:lnTo>
                <a:lnTo>
                  <a:pt x="798" y="757"/>
                </a:lnTo>
                <a:lnTo>
                  <a:pt x="811" y="765"/>
                </a:lnTo>
                <a:lnTo>
                  <a:pt x="822" y="771"/>
                </a:lnTo>
                <a:lnTo>
                  <a:pt x="828" y="774"/>
                </a:lnTo>
                <a:lnTo>
                  <a:pt x="832" y="777"/>
                </a:lnTo>
                <a:lnTo>
                  <a:pt x="972" y="725"/>
                </a:lnTo>
                <a:lnTo>
                  <a:pt x="1085" y="870"/>
                </a:lnTo>
                <a:lnTo>
                  <a:pt x="1004" y="991"/>
                </a:lnTo>
                <a:lnTo>
                  <a:pt x="1012" y="1017"/>
                </a:lnTo>
                <a:lnTo>
                  <a:pt x="1021" y="1041"/>
                </a:lnTo>
                <a:lnTo>
                  <a:pt x="1159" y="1094"/>
                </a:lnTo>
                <a:lnTo>
                  <a:pt x="1148" y="1279"/>
                </a:lnTo>
                <a:lnTo>
                  <a:pt x="1006" y="1316"/>
                </a:lnTo>
                <a:lnTo>
                  <a:pt x="993" y="1349"/>
                </a:lnTo>
                <a:lnTo>
                  <a:pt x="977" y="1379"/>
                </a:lnTo>
                <a:lnTo>
                  <a:pt x="1042" y="1513"/>
                </a:lnTo>
                <a:lnTo>
                  <a:pt x="908" y="1639"/>
                </a:lnTo>
                <a:lnTo>
                  <a:pt x="779" y="1566"/>
                </a:lnTo>
                <a:lnTo>
                  <a:pt x="745" y="1582"/>
                </a:lnTo>
                <a:lnTo>
                  <a:pt x="710" y="1594"/>
                </a:lnTo>
                <a:lnTo>
                  <a:pt x="663" y="1731"/>
                </a:lnTo>
                <a:lnTo>
                  <a:pt x="479" y="1728"/>
                </a:lnTo>
                <a:lnTo>
                  <a:pt x="438" y="1591"/>
                </a:lnTo>
                <a:lnTo>
                  <a:pt x="424" y="1587"/>
                </a:lnTo>
                <a:lnTo>
                  <a:pt x="410" y="1582"/>
                </a:lnTo>
                <a:lnTo>
                  <a:pt x="395" y="1576"/>
                </a:lnTo>
                <a:lnTo>
                  <a:pt x="383" y="1571"/>
                </a:lnTo>
                <a:lnTo>
                  <a:pt x="372" y="1567"/>
                </a:lnTo>
                <a:lnTo>
                  <a:pt x="365" y="1564"/>
                </a:lnTo>
                <a:lnTo>
                  <a:pt x="362" y="1562"/>
                </a:lnTo>
                <a:lnTo>
                  <a:pt x="227" y="1627"/>
                </a:lnTo>
                <a:lnTo>
                  <a:pt x="101" y="1491"/>
                </a:lnTo>
                <a:lnTo>
                  <a:pt x="172" y="1364"/>
                </a:lnTo>
                <a:lnTo>
                  <a:pt x="154" y="1322"/>
                </a:lnTo>
                <a:lnTo>
                  <a:pt x="141" y="1280"/>
                </a:lnTo>
                <a:lnTo>
                  <a:pt x="0" y="1229"/>
                </a:lnTo>
                <a:lnTo>
                  <a:pt x="7" y="1045"/>
                </a:lnTo>
                <a:lnTo>
                  <a:pt x="149" y="1005"/>
                </a:lnTo>
                <a:lnTo>
                  <a:pt x="168" y="957"/>
                </a:lnTo>
                <a:lnTo>
                  <a:pt x="194" y="914"/>
                </a:lnTo>
                <a:lnTo>
                  <a:pt x="141" y="774"/>
                </a:lnTo>
                <a:lnTo>
                  <a:pt x="284" y="659"/>
                </a:lnTo>
                <a:lnTo>
                  <a:pt x="402" y="737"/>
                </a:lnTo>
                <a:lnTo>
                  <a:pt x="416" y="732"/>
                </a:lnTo>
                <a:lnTo>
                  <a:pt x="430" y="726"/>
                </a:lnTo>
                <a:lnTo>
                  <a:pt x="446" y="721"/>
                </a:lnTo>
                <a:lnTo>
                  <a:pt x="461" y="717"/>
                </a:lnTo>
                <a:lnTo>
                  <a:pt x="472" y="714"/>
                </a:lnTo>
                <a:lnTo>
                  <a:pt x="480" y="711"/>
                </a:lnTo>
                <a:lnTo>
                  <a:pt x="484" y="710"/>
                </a:lnTo>
                <a:lnTo>
                  <a:pt x="544" y="573"/>
                </a:lnTo>
                <a:close/>
                <a:moveTo>
                  <a:pt x="2996" y="413"/>
                </a:moveTo>
                <a:lnTo>
                  <a:pt x="3299" y="462"/>
                </a:lnTo>
                <a:lnTo>
                  <a:pt x="3337" y="705"/>
                </a:lnTo>
                <a:lnTo>
                  <a:pt x="3352" y="714"/>
                </a:lnTo>
                <a:lnTo>
                  <a:pt x="3368" y="724"/>
                </a:lnTo>
                <a:lnTo>
                  <a:pt x="3387" y="733"/>
                </a:lnTo>
                <a:lnTo>
                  <a:pt x="3404" y="744"/>
                </a:lnTo>
                <a:lnTo>
                  <a:pt x="3419" y="754"/>
                </a:lnTo>
                <a:lnTo>
                  <a:pt x="3433" y="764"/>
                </a:lnTo>
                <a:lnTo>
                  <a:pt x="3445" y="770"/>
                </a:lnTo>
                <a:lnTo>
                  <a:pt x="3452" y="774"/>
                </a:lnTo>
                <a:lnTo>
                  <a:pt x="3455" y="777"/>
                </a:lnTo>
                <a:lnTo>
                  <a:pt x="3693" y="704"/>
                </a:lnTo>
                <a:lnTo>
                  <a:pt x="3868" y="956"/>
                </a:lnTo>
                <a:lnTo>
                  <a:pt x="3720" y="1150"/>
                </a:lnTo>
                <a:lnTo>
                  <a:pt x="3733" y="1193"/>
                </a:lnTo>
                <a:lnTo>
                  <a:pt x="3743" y="1235"/>
                </a:lnTo>
                <a:lnTo>
                  <a:pt x="3968" y="1337"/>
                </a:lnTo>
                <a:lnTo>
                  <a:pt x="3935" y="1641"/>
                </a:lnTo>
                <a:lnTo>
                  <a:pt x="3696" y="1691"/>
                </a:lnTo>
                <a:lnTo>
                  <a:pt x="3669" y="1743"/>
                </a:lnTo>
                <a:lnTo>
                  <a:pt x="3640" y="1793"/>
                </a:lnTo>
                <a:lnTo>
                  <a:pt x="3737" y="2022"/>
                </a:lnTo>
                <a:lnTo>
                  <a:pt x="3502" y="2217"/>
                </a:lnTo>
                <a:lnTo>
                  <a:pt x="3293" y="2085"/>
                </a:lnTo>
                <a:lnTo>
                  <a:pt x="3236" y="2108"/>
                </a:lnTo>
                <a:lnTo>
                  <a:pt x="3177" y="2125"/>
                </a:lnTo>
                <a:lnTo>
                  <a:pt x="3085" y="2349"/>
                </a:lnTo>
                <a:lnTo>
                  <a:pt x="2779" y="2325"/>
                </a:lnTo>
                <a:lnTo>
                  <a:pt x="2724" y="2094"/>
                </a:lnTo>
                <a:lnTo>
                  <a:pt x="2707" y="2087"/>
                </a:lnTo>
                <a:lnTo>
                  <a:pt x="2688" y="2080"/>
                </a:lnTo>
                <a:lnTo>
                  <a:pt x="2670" y="2071"/>
                </a:lnTo>
                <a:lnTo>
                  <a:pt x="2653" y="2064"/>
                </a:lnTo>
                <a:lnTo>
                  <a:pt x="2636" y="2057"/>
                </a:lnTo>
                <a:lnTo>
                  <a:pt x="2622" y="2050"/>
                </a:lnTo>
                <a:lnTo>
                  <a:pt x="2611" y="2045"/>
                </a:lnTo>
                <a:lnTo>
                  <a:pt x="2604" y="2041"/>
                </a:lnTo>
                <a:lnTo>
                  <a:pt x="2601" y="2040"/>
                </a:lnTo>
                <a:lnTo>
                  <a:pt x="2368" y="2132"/>
                </a:lnTo>
                <a:lnTo>
                  <a:pt x="2173" y="1897"/>
                </a:lnTo>
                <a:lnTo>
                  <a:pt x="2304" y="1690"/>
                </a:lnTo>
                <a:lnTo>
                  <a:pt x="2286" y="1645"/>
                </a:lnTo>
                <a:lnTo>
                  <a:pt x="2270" y="1597"/>
                </a:lnTo>
                <a:lnTo>
                  <a:pt x="2258" y="1550"/>
                </a:lnTo>
                <a:lnTo>
                  <a:pt x="2030" y="1452"/>
                </a:lnTo>
                <a:lnTo>
                  <a:pt x="2058" y="1147"/>
                </a:lnTo>
                <a:lnTo>
                  <a:pt x="2299" y="1092"/>
                </a:lnTo>
                <a:lnTo>
                  <a:pt x="2324" y="1041"/>
                </a:lnTo>
                <a:lnTo>
                  <a:pt x="2352" y="993"/>
                </a:lnTo>
                <a:lnTo>
                  <a:pt x="2382" y="945"/>
                </a:lnTo>
                <a:lnTo>
                  <a:pt x="2305" y="709"/>
                </a:lnTo>
                <a:lnTo>
                  <a:pt x="2555" y="530"/>
                </a:lnTo>
                <a:lnTo>
                  <a:pt x="2745" y="670"/>
                </a:lnTo>
                <a:lnTo>
                  <a:pt x="2762" y="665"/>
                </a:lnTo>
                <a:lnTo>
                  <a:pt x="2782" y="659"/>
                </a:lnTo>
                <a:lnTo>
                  <a:pt x="2802" y="654"/>
                </a:lnTo>
                <a:lnTo>
                  <a:pt x="2822" y="648"/>
                </a:lnTo>
                <a:lnTo>
                  <a:pt x="2841" y="645"/>
                </a:lnTo>
                <a:lnTo>
                  <a:pt x="2857" y="641"/>
                </a:lnTo>
                <a:lnTo>
                  <a:pt x="2870" y="637"/>
                </a:lnTo>
                <a:lnTo>
                  <a:pt x="2879" y="636"/>
                </a:lnTo>
                <a:lnTo>
                  <a:pt x="2882" y="635"/>
                </a:lnTo>
                <a:lnTo>
                  <a:pt x="2996" y="413"/>
                </a:lnTo>
                <a:close/>
                <a:moveTo>
                  <a:pt x="1675" y="309"/>
                </a:moveTo>
                <a:lnTo>
                  <a:pt x="1635" y="309"/>
                </a:lnTo>
                <a:lnTo>
                  <a:pt x="1595" y="315"/>
                </a:lnTo>
                <a:lnTo>
                  <a:pt x="1558" y="326"/>
                </a:lnTo>
                <a:lnTo>
                  <a:pt x="1522" y="343"/>
                </a:lnTo>
                <a:lnTo>
                  <a:pt x="1490" y="364"/>
                </a:lnTo>
                <a:lnTo>
                  <a:pt x="1461" y="389"/>
                </a:lnTo>
                <a:lnTo>
                  <a:pt x="1434" y="419"/>
                </a:lnTo>
                <a:lnTo>
                  <a:pt x="1413" y="452"/>
                </a:lnTo>
                <a:lnTo>
                  <a:pt x="1396" y="490"/>
                </a:lnTo>
                <a:lnTo>
                  <a:pt x="1384" y="528"/>
                </a:lnTo>
                <a:lnTo>
                  <a:pt x="1379" y="570"/>
                </a:lnTo>
                <a:lnTo>
                  <a:pt x="1379" y="610"/>
                </a:lnTo>
                <a:lnTo>
                  <a:pt x="1385" y="650"/>
                </a:lnTo>
                <a:lnTo>
                  <a:pt x="1396" y="687"/>
                </a:lnTo>
                <a:lnTo>
                  <a:pt x="1413" y="722"/>
                </a:lnTo>
                <a:lnTo>
                  <a:pt x="1434" y="755"/>
                </a:lnTo>
                <a:lnTo>
                  <a:pt x="1459" y="784"/>
                </a:lnTo>
                <a:lnTo>
                  <a:pt x="1490" y="810"/>
                </a:lnTo>
                <a:lnTo>
                  <a:pt x="1522" y="831"/>
                </a:lnTo>
                <a:lnTo>
                  <a:pt x="1559" y="848"/>
                </a:lnTo>
                <a:lnTo>
                  <a:pt x="1599" y="861"/>
                </a:lnTo>
                <a:lnTo>
                  <a:pt x="1640" y="865"/>
                </a:lnTo>
                <a:lnTo>
                  <a:pt x="1680" y="865"/>
                </a:lnTo>
                <a:lnTo>
                  <a:pt x="1720" y="859"/>
                </a:lnTo>
                <a:lnTo>
                  <a:pt x="1758" y="848"/>
                </a:lnTo>
                <a:lnTo>
                  <a:pt x="1793" y="831"/>
                </a:lnTo>
                <a:lnTo>
                  <a:pt x="1825" y="811"/>
                </a:lnTo>
                <a:lnTo>
                  <a:pt x="1855" y="785"/>
                </a:lnTo>
                <a:lnTo>
                  <a:pt x="1880" y="755"/>
                </a:lnTo>
                <a:lnTo>
                  <a:pt x="1902" y="722"/>
                </a:lnTo>
                <a:lnTo>
                  <a:pt x="1919" y="685"/>
                </a:lnTo>
                <a:lnTo>
                  <a:pt x="1931" y="646"/>
                </a:lnTo>
                <a:lnTo>
                  <a:pt x="1936" y="605"/>
                </a:lnTo>
                <a:lnTo>
                  <a:pt x="1936" y="565"/>
                </a:lnTo>
                <a:lnTo>
                  <a:pt x="1930" y="525"/>
                </a:lnTo>
                <a:lnTo>
                  <a:pt x="1919" y="487"/>
                </a:lnTo>
                <a:lnTo>
                  <a:pt x="1902" y="452"/>
                </a:lnTo>
                <a:lnTo>
                  <a:pt x="1881" y="419"/>
                </a:lnTo>
                <a:lnTo>
                  <a:pt x="1856" y="390"/>
                </a:lnTo>
                <a:lnTo>
                  <a:pt x="1825" y="365"/>
                </a:lnTo>
                <a:lnTo>
                  <a:pt x="1793" y="343"/>
                </a:lnTo>
                <a:lnTo>
                  <a:pt x="1755" y="326"/>
                </a:lnTo>
                <a:lnTo>
                  <a:pt x="1716" y="314"/>
                </a:lnTo>
                <a:lnTo>
                  <a:pt x="1675" y="309"/>
                </a:lnTo>
                <a:close/>
                <a:moveTo>
                  <a:pt x="1622" y="0"/>
                </a:moveTo>
                <a:lnTo>
                  <a:pt x="1805" y="19"/>
                </a:lnTo>
                <a:lnTo>
                  <a:pt x="1835" y="165"/>
                </a:lnTo>
                <a:lnTo>
                  <a:pt x="1847" y="171"/>
                </a:lnTo>
                <a:lnTo>
                  <a:pt x="1861" y="177"/>
                </a:lnTo>
                <a:lnTo>
                  <a:pt x="1875" y="184"/>
                </a:lnTo>
                <a:lnTo>
                  <a:pt x="1887" y="191"/>
                </a:lnTo>
                <a:lnTo>
                  <a:pt x="1898" y="197"/>
                </a:lnTo>
                <a:lnTo>
                  <a:pt x="1905" y="201"/>
                </a:lnTo>
                <a:lnTo>
                  <a:pt x="1908" y="204"/>
                </a:lnTo>
                <a:lnTo>
                  <a:pt x="2050" y="151"/>
                </a:lnTo>
                <a:lnTo>
                  <a:pt x="2162" y="297"/>
                </a:lnTo>
                <a:lnTo>
                  <a:pt x="2080" y="418"/>
                </a:lnTo>
                <a:lnTo>
                  <a:pt x="2090" y="444"/>
                </a:lnTo>
                <a:lnTo>
                  <a:pt x="2097" y="469"/>
                </a:lnTo>
                <a:lnTo>
                  <a:pt x="2235" y="521"/>
                </a:lnTo>
                <a:lnTo>
                  <a:pt x="2225" y="705"/>
                </a:lnTo>
                <a:lnTo>
                  <a:pt x="2084" y="743"/>
                </a:lnTo>
                <a:lnTo>
                  <a:pt x="2070" y="776"/>
                </a:lnTo>
                <a:lnTo>
                  <a:pt x="2053" y="806"/>
                </a:lnTo>
                <a:lnTo>
                  <a:pt x="2120" y="939"/>
                </a:lnTo>
                <a:lnTo>
                  <a:pt x="1985" y="1065"/>
                </a:lnTo>
                <a:lnTo>
                  <a:pt x="1856" y="993"/>
                </a:lnTo>
                <a:lnTo>
                  <a:pt x="1822" y="1008"/>
                </a:lnTo>
                <a:lnTo>
                  <a:pt x="1787" y="1021"/>
                </a:lnTo>
                <a:lnTo>
                  <a:pt x="1739" y="1157"/>
                </a:lnTo>
                <a:lnTo>
                  <a:pt x="1556" y="1155"/>
                </a:lnTo>
                <a:lnTo>
                  <a:pt x="1514" y="1018"/>
                </a:lnTo>
                <a:lnTo>
                  <a:pt x="1501" y="1013"/>
                </a:lnTo>
                <a:lnTo>
                  <a:pt x="1487" y="1008"/>
                </a:lnTo>
                <a:lnTo>
                  <a:pt x="1473" y="1002"/>
                </a:lnTo>
                <a:lnTo>
                  <a:pt x="1459" y="997"/>
                </a:lnTo>
                <a:lnTo>
                  <a:pt x="1450" y="994"/>
                </a:lnTo>
                <a:lnTo>
                  <a:pt x="1442" y="990"/>
                </a:lnTo>
                <a:lnTo>
                  <a:pt x="1439" y="989"/>
                </a:lnTo>
                <a:lnTo>
                  <a:pt x="1303" y="1053"/>
                </a:lnTo>
                <a:lnTo>
                  <a:pt x="1178" y="917"/>
                </a:lnTo>
                <a:lnTo>
                  <a:pt x="1248" y="790"/>
                </a:lnTo>
                <a:lnTo>
                  <a:pt x="1232" y="749"/>
                </a:lnTo>
                <a:lnTo>
                  <a:pt x="1217" y="707"/>
                </a:lnTo>
                <a:lnTo>
                  <a:pt x="1078" y="656"/>
                </a:lnTo>
                <a:lnTo>
                  <a:pt x="1084" y="471"/>
                </a:lnTo>
                <a:lnTo>
                  <a:pt x="1227" y="431"/>
                </a:lnTo>
                <a:lnTo>
                  <a:pt x="1246" y="384"/>
                </a:lnTo>
                <a:lnTo>
                  <a:pt x="1270" y="341"/>
                </a:lnTo>
                <a:lnTo>
                  <a:pt x="1217" y="201"/>
                </a:lnTo>
                <a:lnTo>
                  <a:pt x="1360" y="86"/>
                </a:lnTo>
                <a:lnTo>
                  <a:pt x="1480" y="164"/>
                </a:lnTo>
                <a:lnTo>
                  <a:pt x="1493" y="159"/>
                </a:lnTo>
                <a:lnTo>
                  <a:pt x="1508" y="154"/>
                </a:lnTo>
                <a:lnTo>
                  <a:pt x="1522" y="149"/>
                </a:lnTo>
                <a:lnTo>
                  <a:pt x="1537" y="144"/>
                </a:lnTo>
                <a:lnTo>
                  <a:pt x="1549" y="141"/>
                </a:lnTo>
                <a:lnTo>
                  <a:pt x="1558" y="138"/>
                </a:lnTo>
                <a:lnTo>
                  <a:pt x="1560" y="138"/>
                </a:lnTo>
                <a:lnTo>
                  <a:pt x="1622"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p>
        </p:txBody>
      </p:sp>
      <p:sp>
        <p:nvSpPr>
          <p:cNvPr id="63" name="Freeform 38"/>
          <p:cNvSpPr>
            <a:spLocks noEditPoints="1"/>
          </p:cNvSpPr>
          <p:nvPr/>
        </p:nvSpPr>
        <p:spPr bwMode="auto">
          <a:xfrm>
            <a:off x="415222" y="3840239"/>
            <a:ext cx="504624" cy="343831"/>
          </a:xfrm>
          <a:custGeom>
            <a:avLst/>
            <a:gdLst>
              <a:gd name="T0" fmla="*/ 3137 w 3968"/>
              <a:gd name="T1" fmla="*/ 2284 h 2703"/>
              <a:gd name="T2" fmla="*/ 3087 w 3968"/>
              <a:gd name="T3" fmla="*/ 2309 h 2703"/>
              <a:gd name="T4" fmla="*/ 3052 w 3968"/>
              <a:gd name="T5" fmla="*/ 2351 h 2703"/>
              <a:gd name="T6" fmla="*/ 3040 w 3968"/>
              <a:gd name="T7" fmla="*/ 2407 h 2703"/>
              <a:gd name="T8" fmla="*/ 3052 w 3968"/>
              <a:gd name="T9" fmla="*/ 2463 h 2703"/>
              <a:gd name="T10" fmla="*/ 3087 w 3968"/>
              <a:gd name="T11" fmla="*/ 2507 h 2703"/>
              <a:gd name="T12" fmla="*/ 3137 w 3968"/>
              <a:gd name="T13" fmla="*/ 2531 h 2703"/>
              <a:gd name="T14" fmla="*/ 3195 w 3968"/>
              <a:gd name="T15" fmla="*/ 2531 h 2703"/>
              <a:gd name="T16" fmla="*/ 3245 w 3968"/>
              <a:gd name="T17" fmla="*/ 2507 h 2703"/>
              <a:gd name="T18" fmla="*/ 3280 w 3968"/>
              <a:gd name="T19" fmla="*/ 2463 h 2703"/>
              <a:gd name="T20" fmla="*/ 3293 w 3968"/>
              <a:gd name="T21" fmla="*/ 2407 h 2703"/>
              <a:gd name="T22" fmla="*/ 3280 w 3968"/>
              <a:gd name="T23" fmla="*/ 2351 h 2703"/>
              <a:gd name="T24" fmla="*/ 3245 w 3968"/>
              <a:gd name="T25" fmla="*/ 2309 h 2703"/>
              <a:gd name="T26" fmla="*/ 3195 w 3968"/>
              <a:gd name="T27" fmla="*/ 2284 h 2703"/>
              <a:gd name="T28" fmla="*/ 2887 w 3968"/>
              <a:gd name="T29" fmla="*/ 615 h 2703"/>
              <a:gd name="T30" fmla="*/ 3553 w 3968"/>
              <a:gd name="T31" fmla="*/ 1280 h 2703"/>
              <a:gd name="T32" fmla="*/ 2887 w 3968"/>
              <a:gd name="T33" fmla="*/ 1947 h 2703"/>
              <a:gd name="T34" fmla="*/ 2842 w 3968"/>
              <a:gd name="T35" fmla="*/ 1885 h 2703"/>
              <a:gd name="T36" fmla="*/ 2821 w 3968"/>
              <a:gd name="T37" fmla="*/ 1816 h 2703"/>
              <a:gd name="T38" fmla="*/ 2821 w 3968"/>
              <a:gd name="T39" fmla="*/ 1744 h 2703"/>
              <a:gd name="T40" fmla="*/ 2842 w 3968"/>
              <a:gd name="T41" fmla="*/ 1674 h 2703"/>
              <a:gd name="T42" fmla="*/ 2887 w 3968"/>
              <a:gd name="T43" fmla="*/ 1613 h 2703"/>
              <a:gd name="T44" fmla="*/ 868 w 3968"/>
              <a:gd name="T45" fmla="*/ 1398 h 2703"/>
              <a:gd name="T46" fmla="*/ 3102 w 3968"/>
              <a:gd name="T47" fmla="*/ 1162 h 2703"/>
              <a:gd name="T48" fmla="*/ 2862 w 3968"/>
              <a:gd name="T49" fmla="*/ 918 h 2703"/>
              <a:gd name="T50" fmla="*/ 2829 w 3968"/>
              <a:gd name="T51" fmla="*/ 852 h 2703"/>
              <a:gd name="T52" fmla="*/ 2818 w 3968"/>
              <a:gd name="T53" fmla="*/ 781 h 2703"/>
              <a:gd name="T54" fmla="*/ 2829 w 3968"/>
              <a:gd name="T55" fmla="*/ 709 h 2703"/>
              <a:gd name="T56" fmla="*/ 2862 w 3968"/>
              <a:gd name="T57" fmla="*/ 644 h 2703"/>
              <a:gd name="T58" fmla="*/ 0 w 3968"/>
              <a:gd name="T59" fmla="*/ 10 h 2703"/>
              <a:gd name="T60" fmla="*/ 1808 w 3968"/>
              <a:gd name="T61" fmla="*/ 13 h 2703"/>
              <a:gd name="T62" fmla="*/ 1884 w 3968"/>
              <a:gd name="T63" fmla="*/ 38 h 2703"/>
              <a:gd name="T64" fmla="*/ 1945 w 3968"/>
              <a:gd name="T65" fmla="*/ 84 h 2703"/>
              <a:gd name="T66" fmla="*/ 1992 w 3968"/>
              <a:gd name="T67" fmla="*/ 147 h 2703"/>
              <a:gd name="T68" fmla="*/ 2017 w 3968"/>
              <a:gd name="T69" fmla="*/ 222 h 2703"/>
              <a:gd name="T70" fmla="*/ 2019 w 3968"/>
              <a:gd name="T71" fmla="*/ 1050 h 2703"/>
              <a:gd name="T72" fmla="*/ 755 w 3968"/>
              <a:gd name="T73" fmla="*/ 1510 h 2703"/>
              <a:gd name="T74" fmla="*/ 2019 w 3968"/>
              <a:gd name="T75" fmla="*/ 2703 h 2703"/>
              <a:gd name="T76" fmla="*/ 212 w 3968"/>
              <a:gd name="T77" fmla="*/ 2699 h 2703"/>
              <a:gd name="T78" fmla="*/ 137 w 3968"/>
              <a:gd name="T79" fmla="*/ 2675 h 2703"/>
              <a:gd name="T80" fmla="*/ 74 w 3968"/>
              <a:gd name="T81" fmla="*/ 2629 h 2703"/>
              <a:gd name="T82" fmla="*/ 28 w 3968"/>
              <a:gd name="T83" fmla="*/ 2566 h 2703"/>
              <a:gd name="T84" fmla="*/ 4 w 3968"/>
              <a:gd name="T85" fmla="*/ 2491 h 2703"/>
              <a:gd name="T86" fmla="*/ 0 w 3968"/>
              <a:gd name="T87" fmla="*/ 10 h 2703"/>
              <a:gd name="T88" fmla="*/ 3968 w 3968"/>
              <a:gd name="T89" fmla="*/ 0 h 2703"/>
              <a:gd name="T90" fmla="*/ 3965 w 3968"/>
              <a:gd name="T91" fmla="*/ 2415 h 2703"/>
              <a:gd name="T92" fmla="*/ 3937 w 3968"/>
              <a:gd name="T93" fmla="*/ 2508 h 2703"/>
              <a:gd name="T94" fmla="*/ 3886 w 3968"/>
              <a:gd name="T95" fmla="*/ 2587 h 2703"/>
              <a:gd name="T96" fmla="*/ 3815 w 3968"/>
              <a:gd name="T97" fmla="*/ 2648 h 2703"/>
              <a:gd name="T98" fmla="*/ 3728 w 3968"/>
              <a:gd name="T99" fmla="*/ 2688 h 2703"/>
              <a:gd name="T100" fmla="*/ 3630 w 3968"/>
              <a:gd name="T101" fmla="*/ 2703 h 2703"/>
              <a:gd name="T102" fmla="*/ 2279 w 3968"/>
              <a:gd name="T103" fmla="*/ 1510 h 2703"/>
              <a:gd name="T104" fmla="*/ 2532 w 3968"/>
              <a:gd name="T105" fmla="*/ 2196 h 2703"/>
              <a:gd name="T106" fmla="*/ 3715 w 3968"/>
              <a:gd name="T107" fmla="*/ 338 h 2703"/>
              <a:gd name="T108" fmla="*/ 2532 w 3968"/>
              <a:gd name="T109" fmla="*/ 1050 h 2703"/>
              <a:gd name="T110" fmla="*/ 2279 w 3968"/>
              <a:gd name="T111" fmla="*/ 338 h 2703"/>
              <a:gd name="T112" fmla="*/ 2293 w 3968"/>
              <a:gd name="T113" fmla="*/ 240 h 2703"/>
              <a:gd name="T114" fmla="*/ 2333 w 3968"/>
              <a:gd name="T115" fmla="*/ 154 h 2703"/>
              <a:gd name="T116" fmla="*/ 2395 w 3968"/>
              <a:gd name="T117" fmla="*/ 84 h 2703"/>
              <a:gd name="T118" fmla="*/ 2475 w 3968"/>
              <a:gd name="T119" fmla="*/ 31 h 2703"/>
              <a:gd name="T120" fmla="*/ 2567 w 3968"/>
              <a:gd name="T121" fmla="*/ 4 h 27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968" h="2703">
                <a:moveTo>
                  <a:pt x="3166" y="2281"/>
                </a:moveTo>
                <a:lnTo>
                  <a:pt x="3137" y="2284"/>
                </a:lnTo>
                <a:lnTo>
                  <a:pt x="3110" y="2293"/>
                </a:lnTo>
                <a:lnTo>
                  <a:pt x="3087" y="2309"/>
                </a:lnTo>
                <a:lnTo>
                  <a:pt x="3067" y="2328"/>
                </a:lnTo>
                <a:lnTo>
                  <a:pt x="3052" y="2351"/>
                </a:lnTo>
                <a:lnTo>
                  <a:pt x="3042" y="2378"/>
                </a:lnTo>
                <a:lnTo>
                  <a:pt x="3040" y="2407"/>
                </a:lnTo>
                <a:lnTo>
                  <a:pt x="3042" y="2436"/>
                </a:lnTo>
                <a:lnTo>
                  <a:pt x="3052" y="2463"/>
                </a:lnTo>
                <a:lnTo>
                  <a:pt x="3067" y="2486"/>
                </a:lnTo>
                <a:lnTo>
                  <a:pt x="3087" y="2507"/>
                </a:lnTo>
                <a:lnTo>
                  <a:pt x="3110" y="2521"/>
                </a:lnTo>
                <a:lnTo>
                  <a:pt x="3137" y="2531"/>
                </a:lnTo>
                <a:lnTo>
                  <a:pt x="3166" y="2535"/>
                </a:lnTo>
                <a:lnTo>
                  <a:pt x="3195" y="2531"/>
                </a:lnTo>
                <a:lnTo>
                  <a:pt x="3222" y="2521"/>
                </a:lnTo>
                <a:lnTo>
                  <a:pt x="3245" y="2507"/>
                </a:lnTo>
                <a:lnTo>
                  <a:pt x="3265" y="2486"/>
                </a:lnTo>
                <a:lnTo>
                  <a:pt x="3280" y="2463"/>
                </a:lnTo>
                <a:lnTo>
                  <a:pt x="3290" y="2436"/>
                </a:lnTo>
                <a:lnTo>
                  <a:pt x="3293" y="2407"/>
                </a:lnTo>
                <a:lnTo>
                  <a:pt x="3290" y="2378"/>
                </a:lnTo>
                <a:lnTo>
                  <a:pt x="3280" y="2351"/>
                </a:lnTo>
                <a:lnTo>
                  <a:pt x="3265" y="2328"/>
                </a:lnTo>
                <a:lnTo>
                  <a:pt x="3245" y="2309"/>
                </a:lnTo>
                <a:lnTo>
                  <a:pt x="3222" y="2293"/>
                </a:lnTo>
                <a:lnTo>
                  <a:pt x="3195" y="2284"/>
                </a:lnTo>
                <a:lnTo>
                  <a:pt x="3166" y="2281"/>
                </a:lnTo>
                <a:close/>
                <a:moveTo>
                  <a:pt x="2887" y="615"/>
                </a:moveTo>
                <a:lnTo>
                  <a:pt x="3387" y="1114"/>
                </a:lnTo>
                <a:lnTo>
                  <a:pt x="3553" y="1280"/>
                </a:lnTo>
                <a:lnTo>
                  <a:pt x="3387" y="1447"/>
                </a:lnTo>
                <a:lnTo>
                  <a:pt x="2887" y="1947"/>
                </a:lnTo>
                <a:lnTo>
                  <a:pt x="2862" y="1918"/>
                </a:lnTo>
                <a:lnTo>
                  <a:pt x="2842" y="1885"/>
                </a:lnTo>
                <a:lnTo>
                  <a:pt x="2829" y="1851"/>
                </a:lnTo>
                <a:lnTo>
                  <a:pt x="2821" y="1816"/>
                </a:lnTo>
                <a:lnTo>
                  <a:pt x="2818" y="1779"/>
                </a:lnTo>
                <a:lnTo>
                  <a:pt x="2821" y="1744"/>
                </a:lnTo>
                <a:lnTo>
                  <a:pt x="2829" y="1708"/>
                </a:lnTo>
                <a:lnTo>
                  <a:pt x="2842" y="1674"/>
                </a:lnTo>
                <a:lnTo>
                  <a:pt x="2862" y="1642"/>
                </a:lnTo>
                <a:lnTo>
                  <a:pt x="2887" y="1613"/>
                </a:lnTo>
                <a:lnTo>
                  <a:pt x="3102" y="1398"/>
                </a:lnTo>
                <a:lnTo>
                  <a:pt x="868" y="1398"/>
                </a:lnTo>
                <a:lnTo>
                  <a:pt x="868" y="1162"/>
                </a:lnTo>
                <a:lnTo>
                  <a:pt x="3102" y="1162"/>
                </a:lnTo>
                <a:lnTo>
                  <a:pt x="2887" y="947"/>
                </a:lnTo>
                <a:lnTo>
                  <a:pt x="2862" y="918"/>
                </a:lnTo>
                <a:lnTo>
                  <a:pt x="2842" y="886"/>
                </a:lnTo>
                <a:lnTo>
                  <a:pt x="2829" y="852"/>
                </a:lnTo>
                <a:lnTo>
                  <a:pt x="2821" y="817"/>
                </a:lnTo>
                <a:lnTo>
                  <a:pt x="2818" y="781"/>
                </a:lnTo>
                <a:lnTo>
                  <a:pt x="2821" y="744"/>
                </a:lnTo>
                <a:lnTo>
                  <a:pt x="2829" y="709"/>
                </a:lnTo>
                <a:lnTo>
                  <a:pt x="2842" y="675"/>
                </a:lnTo>
                <a:lnTo>
                  <a:pt x="2862" y="644"/>
                </a:lnTo>
                <a:lnTo>
                  <a:pt x="2887" y="615"/>
                </a:lnTo>
                <a:close/>
                <a:moveTo>
                  <a:pt x="0" y="10"/>
                </a:moveTo>
                <a:lnTo>
                  <a:pt x="1767" y="10"/>
                </a:lnTo>
                <a:lnTo>
                  <a:pt x="1808" y="13"/>
                </a:lnTo>
                <a:lnTo>
                  <a:pt x="1847" y="23"/>
                </a:lnTo>
                <a:lnTo>
                  <a:pt x="1884" y="38"/>
                </a:lnTo>
                <a:lnTo>
                  <a:pt x="1916" y="58"/>
                </a:lnTo>
                <a:lnTo>
                  <a:pt x="1945" y="84"/>
                </a:lnTo>
                <a:lnTo>
                  <a:pt x="1971" y="113"/>
                </a:lnTo>
                <a:lnTo>
                  <a:pt x="1992" y="147"/>
                </a:lnTo>
                <a:lnTo>
                  <a:pt x="2007" y="183"/>
                </a:lnTo>
                <a:lnTo>
                  <a:pt x="2017" y="222"/>
                </a:lnTo>
                <a:lnTo>
                  <a:pt x="2019" y="262"/>
                </a:lnTo>
                <a:lnTo>
                  <a:pt x="2019" y="1050"/>
                </a:lnTo>
                <a:lnTo>
                  <a:pt x="755" y="1050"/>
                </a:lnTo>
                <a:lnTo>
                  <a:pt x="755" y="1510"/>
                </a:lnTo>
                <a:lnTo>
                  <a:pt x="2019" y="1510"/>
                </a:lnTo>
                <a:lnTo>
                  <a:pt x="2019" y="2703"/>
                </a:lnTo>
                <a:lnTo>
                  <a:pt x="252" y="2703"/>
                </a:lnTo>
                <a:lnTo>
                  <a:pt x="212" y="2699"/>
                </a:lnTo>
                <a:lnTo>
                  <a:pt x="172" y="2690"/>
                </a:lnTo>
                <a:lnTo>
                  <a:pt x="137" y="2675"/>
                </a:lnTo>
                <a:lnTo>
                  <a:pt x="103" y="2655"/>
                </a:lnTo>
                <a:lnTo>
                  <a:pt x="74" y="2629"/>
                </a:lnTo>
                <a:lnTo>
                  <a:pt x="48" y="2600"/>
                </a:lnTo>
                <a:lnTo>
                  <a:pt x="28" y="2566"/>
                </a:lnTo>
                <a:lnTo>
                  <a:pt x="13" y="2531"/>
                </a:lnTo>
                <a:lnTo>
                  <a:pt x="4" y="2491"/>
                </a:lnTo>
                <a:lnTo>
                  <a:pt x="0" y="2451"/>
                </a:lnTo>
                <a:lnTo>
                  <a:pt x="0" y="10"/>
                </a:lnTo>
                <a:close/>
                <a:moveTo>
                  <a:pt x="2617" y="0"/>
                </a:moveTo>
                <a:lnTo>
                  <a:pt x="3968" y="0"/>
                </a:lnTo>
                <a:lnTo>
                  <a:pt x="3968" y="2365"/>
                </a:lnTo>
                <a:lnTo>
                  <a:pt x="3965" y="2415"/>
                </a:lnTo>
                <a:lnTo>
                  <a:pt x="3954" y="2463"/>
                </a:lnTo>
                <a:lnTo>
                  <a:pt x="3937" y="2508"/>
                </a:lnTo>
                <a:lnTo>
                  <a:pt x="3914" y="2549"/>
                </a:lnTo>
                <a:lnTo>
                  <a:pt x="3886" y="2587"/>
                </a:lnTo>
                <a:lnTo>
                  <a:pt x="3852" y="2621"/>
                </a:lnTo>
                <a:lnTo>
                  <a:pt x="3815" y="2648"/>
                </a:lnTo>
                <a:lnTo>
                  <a:pt x="3773" y="2671"/>
                </a:lnTo>
                <a:lnTo>
                  <a:pt x="3728" y="2688"/>
                </a:lnTo>
                <a:lnTo>
                  <a:pt x="3680" y="2699"/>
                </a:lnTo>
                <a:lnTo>
                  <a:pt x="3630" y="2703"/>
                </a:lnTo>
                <a:lnTo>
                  <a:pt x="2279" y="2703"/>
                </a:lnTo>
                <a:lnTo>
                  <a:pt x="2279" y="1510"/>
                </a:lnTo>
                <a:lnTo>
                  <a:pt x="2532" y="1510"/>
                </a:lnTo>
                <a:lnTo>
                  <a:pt x="2532" y="2196"/>
                </a:lnTo>
                <a:lnTo>
                  <a:pt x="3715" y="2196"/>
                </a:lnTo>
                <a:lnTo>
                  <a:pt x="3715" y="338"/>
                </a:lnTo>
                <a:lnTo>
                  <a:pt x="2532" y="338"/>
                </a:lnTo>
                <a:lnTo>
                  <a:pt x="2532" y="1050"/>
                </a:lnTo>
                <a:lnTo>
                  <a:pt x="2279" y="1050"/>
                </a:lnTo>
                <a:lnTo>
                  <a:pt x="2279" y="338"/>
                </a:lnTo>
                <a:lnTo>
                  <a:pt x="2282" y="288"/>
                </a:lnTo>
                <a:lnTo>
                  <a:pt x="2293" y="240"/>
                </a:lnTo>
                <a:lnTo>
                  <a:pt x="2310" y="195"/>
                </a:lnTo>
                <a:lnTo>
                  <a:pt x="2333" y="154"/>
                </a:lnTo>
                <a:lnTo>
                  <a:pt x="2362" y="116"/>
                </a:lnTo>
                <a:lnTo>
                  <a:pt x="2395" y="84"/>
                </a:lnTo>
                <a:lnTo>
                  <a:pt x="2433" y="55"/>
                </a:lnTo>
                <a:lnTo>
                  <a:pt x="2475" y="31"/>
                </a:lnTo>
                <a:lnTo>
                  <a:pt x="2520" y="15"/>
                </a:lnTo>
                <a:lnTo>
                  <a:pt x="2567" y="4"/>
                </a:lnTo>
                <a:lnTo>
                  <a:pt x="2617" y="0"/>
                </a:lnTo>
                <a:close/>
              </a:path>
            </a:pathLst>
          </a:custGeom>
          <a:solidFill>
            <a:schemeClr val="bg1">
              <a:lumMod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p>
        </p:txBody>
      </p:sp>
      <p:sp>
        <p:nvSpPr>
          <p:cNvPr id="20" name="Slide Number Placeholder 3">
            <a:extLst>
              <a:ext uri="{FF2B5EF4-FFF2-40B4-BE49-F238E27FC236}">
                <a16:creationId xmlns:a16="http://schemas.microsoft.com/office/drawing/2014/main" id="{DBCB5FF5-AA48-441F-8825-2F9EDB3F181E}"/>
              </a:ext>
            </a:extLst>
          </p:cNvPr>
          <p:cNvSpPr>
            <a:spLocks noGrp="1"/>
          </p:cNvSpPr>
          <p:nvPr>
            <p:ph type="sldNum" sz="quarter" idx="11"/>
          </p:nvPr>
        </p:nvSpPr>
        <p:spPr>
          <a:xfrm>
            <a:off x="270000" y="4604400"/>
            <a:ext cx="270000" cy="360000"/>
          </a:xfrm>
        </p:spPr>
        <p:txBody>
          <a:bodyPr/>
          <a:lstStyle/>
          <a:p>
            <a:fld id="{9E8169F0-646E-455B-AF5A-6D6C02EAEAF6}" type="slidenum">
              <a:rPr lang="en-US" noProof="1" smtClean="0"/>
              <a:t>13</a:t>
            </a:fld>
            <a:endParaRPr lang="en-US" noProof="1"/>
          </a:p>
        </p:txBody>
      </p:sp>
    </p:spTree>
    <p:extLst>
      <p:ext uri="{BB962C8B-B14F-4D97-AF65-F5344CB8AC3E}">
        <p14:creationId xmlns:p14="http://schemas.microsoft.com/office/powerpoint/2010/main" val="105303946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4E755E3-734C-415D-ADEC-A0A43EC2A50F}"/>
              </a:ext>
            </a:extLst>
          </p:cNvPr>
          <p:cNvGraphicFramePr>
            <a:graphicFrameLocks noChangeAspect="1"/>
          </p:cNvGraphicFramePr>
          <p:nvPr>
            <p:custDataLst>
              <p:tags r:id="rId2"/>
            </p:custDataLst>
            <p:extLst>
              <p:ext uri="{D42A27DB-BD31-4B8C-83A1-F6EECF244321}">
                <p14:modId xmlns:p14="http://schemas.microsoft.com/office/powerpoint/2010/main" val="8026931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8883" name="think-cell Slide" r:id="rId5" imgW="360" imgH="360" progId="TCLayout.ActiveDocument.1">
                  <p:embed/>
                </p:oleObj>
              </mc:Choice>
              <mc:Fallback>
                <p:oleObj name="think-cell Slide" r:id="rId5" imgW="360" imgH="360" progId="TCLayout.ActiveDocument.1">
                  <p:embed/>
                  <p:pic>
                    <p:nvPicPr>
                      <p:cNvPr id="6" name="Object 5" hidden="1">
                        <a:extLst>
                          <a:ext uri="{FF2B5EF4-FFF2-40B4-BE49-F238E27FC236}">
                            <a16:creationId xmlns:a16="http://schemas.microsoft.com/office/drawing/2014/main" id="{94E755E3-734C-415D-ADEC-A0A43EC2A50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3ABF388-B7CA-4643-87BF-4A1A1111788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sz="2400" b="1" dirty="0">
              <a:latin typeface="UniCredit" panose="02000506040000020004" pitchFamily="2" charset="0"/>
              <a:ea typeface="+mj-ea"/>
              <a:cs typeface="Arial" panose="020B0604020202020204" pitchFamily="34" charset="0"/>
              <a:sym typeface="UniCredit" panose="02000506040000020004" pitchFamily="2" charset="0"/>
            </a:endParaRPr>
          </a:p>
        </p:txBody>
      </p:sp>
      <p:sp>
        <p:nvSpPr>
          <p:cNvPr id="4" name="Slide Number Placeholder 3"/>
          <p:cNvSpPr>
            <a:spLocks noGrp="1"/>
          </p:cNvSpPr>
          <p:nvPr>
            <p:ph type="sldNum" sz="quarter" idx="11"/>
          </p:nvPr>
        </p:nvSpPr>
        <p:spPr/>
        <p:txBody>
          <a:bodyPr/>
          <a:lstStyle/>
          <a:p>
            <a:pPr>
              <a:defRPr/>
            </a:pPr>
            <a:fld id="{1D1043DC-2681-49D5-9D69-158B3FA3398E}" type="slidenum">
              <a:rPr lang="en-GB" noProof="1" smtClean="0"/>
              <a:pPr>
                <a:defRPr/>
              </a:pPr>
              <a:t>14</a:t>
            </a:fld>
            <a:endParaRPr lang="en-GB" noProof="1"/>
          </a:p>
        </p:txBody>
      </p:sp>
      <p:sp>
        <p:nvSpPr>
          <p:cNvPr id="22" name="Content Placeholder 21"/>
          <p:cNvSpPr>
            <a:spLocks noGrp="1"/>
          </p:cNvSpPr>
          <p:nvPr>
            <p:ph sz="quarter" idx="15"/>
          </p:nvPr>
        </p:nvSpPr>
        <p:spPr>
          <a:xfrm>
            <a:off x="758172" y="2192852"/>
            <a:ext cx="1228372" cy="216024"/>
          </a:xfrm>
        </p:spPr>
        <p:txBody>
          <a:bodyPr>
            <a:normAutofit fontScale="77500" lnSpcReduction="20000"/>
          </a:bodyPr>
          <a:lstStyle/>
          <a:p>
            <a:pPr marL="0" indent="0">
              <a:buNone/>
            </a:pPr>
            <a:r>
              <a:rPr lang="de-DE" b="1" dirty="0">
                <a:solidFill>
                  <a:schemeClr val="accent1"/>
                </a:solidFill>
              </a:rPr>
              <a:t>GIT-FLOW Sample</a:t>
            </a:r>
          </a:p>
        </p:txBody>
      </p:sp>
      <p:sp>
        <p:nvSpPr>
          <p:cNvPr id="8" name="Title 7"/>
          <p:cNvSpPr>
            <a:spLocks noGrp="1"/>
          </p:cNvSpPr>
          <p:nvPr>
            <p:ph type="title"/>
          </p:nvPr>
        </p:nvSpPr>
        <p:spPr/>
        <p:txBody>
          <a:bodyPr/>
          <a:lstStyle/>
          <a:p>
            <a:r>
              <a:rPr lang="de-DE" dirty="0" err="1"/>
              <a:t>BitBucket</a:t>
            </a:r>
            <a:r>
              <a:rPr lang="de-DE" dirty="0"/>
              <a:t> – Branching strategies</a:t>
            </a:r>
          </a:p>
        </p:txBody>
      </p:sp>
      <p:sp>
        <p:nvSpPr>
          <p:cNvPr id="25" name="TextBox 24"/>
          <p:cNvSpPr txBox="1"/>
          <p:nvPr/>
        </p:nvSpPr>
        <p:spPr>
          <a:xfrm>
            <a:off x="4821059" y="1293195"/>
            <a:ext cx="3916097" cy="1384995"/>
          </a:xfrm>
          <a:prstGeom prst="rect">
            <a:avLst/>
          </a:prstGeom>
          <a:noFill/>
        </p:spPr>
        <p:txBody>
          <a:bodyPr wrap="square" rtlCol="0">
            <a:spAutoFit/>
          </a:bodyPr>
          <a:lstStyle/>
          <a:p>
            <a:r>
              <a:rPr lang="de-DE" sz="1200" b="1" dirty="0">
                <a:solidFill>
                  <a:schemeClr val="bg1">
                    <a:lumMod val="50000"/>
                  </a:schemeClr>
                </a:solidFill>
              </a:rPr>
              <a:t>Pull Request</a:t>
            </a:r>
            <a:r>
              <a:rPr lang="de-DE" sz="1200" b="1" dirty="0"/>
              <a:t> </a:t>
            </a:r>
            <a:r>
              <a:rPr lang="de-DE" sz="1200" dirty="0" err="1"/>
              <a:t>adds</a:t>
            </a:r>
            <a:r>
              <a:rPr lang="de-DE" sz="1200" dirty="0"/>
              <a:t> an additional </a:t>
            </a:r>
            <a:r>
              <a:rPr lang="de-DE" sz="1200" dirty="0" err="1"/>
              <a:t>security</a:t>
            </a:r>
            <a:r>
              <a:rPr lang="de-DE" sz="1200" dirty="0"/>
              <a:t> </a:t>
            </a:r>
            <a:r>
              <a:rPr lang="de-DE" sz="1200" dirty="0" err="1"/>
              <a:t>layer</a:t>
            </a:r>
            <a:r>
              <a:rPr lang="de-DE" sz="1200" dirty="0"/>
              <a:t> to the </a:t>
            </a:r>
            <a:r>
              <a:rPr lang="de-DE" sz="1200" dirty="0" err="1"/>
              <a:t>flow</a:t>
            </a:r>
            <a:endParaRPr lang="de-DE" sz="1200" dirty="0"/>
          </a:p>
          <a:p>
            <a:pPr marL="214313" indent="-214313">
              <a:buClr>
                <a:schemeClr val="bg1">
                  <a:lumMod val="50000"/>
                </a:schemeClr>
              </a:buClr>
              <a:buFont typeface="Wingdings" panose="05000000000000000000" pitchFamily="2" charset="2"/>
              <a:buChar char="§"/>
            </a:pPr>
            <a:r>
              <a:rPr lang="de-DE" sz="1200" dirty="0"/>
              <a:t>The developer works on his local copy, then emits a "pull request"</a:t>
            </a:r>
          </a:p>
          <a:p>
            <a:pPr marL="214313" indent="-214313">
              <a:buClr>
                <a:schemeClr val="bg1">
                  <a:lumMod val="50000"/>
                </a:schemeClr>
              </a:buClr>
              <a:buFont typeface="Wingdings" panose="05000000000000000000" pitchFamily="2" charset="2"/>
              <a:buChar char="§"/>
            </a:pPr>
            <a:r>
              <a:rPr lang="de-DE" sz="1200" dirty="0"/>
              <a:t>Another developer, tipically senior or expert, validates and approves the changes on bitbucket</a:t>
            </a:r>
          </a:p>
          <a:p>
            <a:pPr marL="214313" indent="-214313">
              <a:buClr>
                <a:schemeClr val="bg1">
                  <a:lumMod val="50000"/>
                </a:schemeClr>
              </a:buClr>
              <a:buFont typeface="Wingdings" panose="05000000000000000000" pitchFamily="2" charset="2"/>
              <a:buChar char="§"/>
            </a:pPr>
            <a:r>
              <a:rPr lang="de-DE" sz="1200" dirty="0"/>
              <a:t>Role based: only allowed developers can push or merge on the official branches</a:t>
            </a:r>
          </a:p>
        </p:txBody>
      </p:sp>
      <p:pic>
        <p:nvPicPr>
          <p:cNvPr id="3" name="Picture 2" hidden="1">
            <a:extLst>
              <a:ext uri="{FF2B5EF4-FFF2-40B4-BE49-F238E27FC236}">
                <a16:creationId xmlns:a16="http://schemas.microsoft.com/office/drawing/2014/main" id="{0B1F72C9-1074-412E-8E0E-379639CF5283}"/>
              </a:ext>
            </a:extLst>
          </p:cNvPr>
          <p:cNvPicPr>
            <a:picLocks noChangeAspect="1"/>
          </p:cNvPicPr>
          <p:nvPr/>
        </p:nvPicPr>
        <p:blipFill>
          <a:blip r:embed="rId7"/>
          <a:stretch>
            <a:fillRect/>
          </a:stretch>
        </p:blipFill>
        <p:spPr>
          <a:xfrm>
            <a:off x="5909156" y="375368"/>
            <a:ext cx="3224117" cy="2034364"/>
          </a:xfrm>
          <a:prstGeom prst="rect">
            <a:avLst/>
          </a:prstGeom>
        </p:spPr>
      </p:pic>
      <p:pic>
        <p:nvPicPr>
          <p:cNvPr id="2" name="Picture 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58172" y="2423866"/>
            <a:ext cx="3060164" cy="2087375"/>
          </a:xfrm>
          <a:prstGeom prst="rect">
            <a:avLst/>
          </a:prstGeom>
        </p:spPr>
      </p:pic>
      <p:pic>
        <p:nvPicPr>
          <p:cNvPr id="10" name="Picture 2" descr="5 elements of a perfect pull request - Work Life by Atlassian">
            <a:extLst>
              <a:ext uri="{FF2B5EF4-FFF2-40B4-BE49-F238E27FC236}">
                <a16:creationId xmlns:a16="http://schemas.microsoft.com/office/drawing/2014/main" id="{A251C0E0-F445-490C-9839-36C0E9D5F966}"/>
              </a:ext>
            </a:extLst>
          </p:cNvPr>
          <p:cNvPicPr>
            <a:picLocks noChangeAspect="1" noChangeArrowheads="1"/>
          </p:cNvPicPr>
          <p:nvPr/>
        </p:nvPicPr>
        <p:blipFill>
          <a:blip r:embed="rId9" cstate="print">
            <a:clrChange>
              <a:clrFrom>
                <a:srgbClr val="E6E7E8"/>
              </a:clrFrom>
              <a:clrTo>
                <a:srgbClr val="E6E7E8">
                  <a:alpha val="0"/>
                </a:srgbClr>
              </a:clrTo>
            </a:clrChange>
            <a:extLst>
              <a:ext uri="{28A0092B-C50C-407E-A947-70E740481C1C}">
                <a14:useLocalDpi xmlns:a14="http://schemas.microsoft.com/office/drawing/2010/main" val="0"/>
              </a:ext>
            </a:extLst>
          </a:blip>
          <a:srcRect/>
          <a:stretch>
            <a:fillRect/>
          </a:stretch>
        </p:blipFill>
        <p:spPr bwMode="auto">
          <a:xfrm>
            <a:off x="5185308" y="2752529"/>
            <a:ext cx="3187598" cy="1758712"/>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8B2E8889-54BF-46FB-95EC-59EBF0213B29}"/>
              </a:ext>
            </a:extLst>
          </p:cNvPr>
          <p:cNvSpPr txBox="1"/>
          <p:nvPr/>
        </p:nvSpPr>
        <p:spPr>
          <a:xfrm>
            <a:off x="330206" y="1293195"/>
            <a:ext cx="3916097" cy="830997"/>
          </a:xfrm>
          <a:prstGeom prst="rect">
            <a:avLst/>
          </a:prstGeom>
          <a:noFill/>
        </p:spPr>
        <p:txBody>
          <a:bodyPr wrap="square" rtlCol="0">
            <a:spAutoFit/>
          </a:bodyPr>
          <a:lstStyle/>
          <a:p>
            <a:r>
              <a:rPr lang="en-US" sz="1200" dirty="0"/>
              <a:t>The </a:t>
            </a:r>
            <a:r>
              <a:rPr lang="en-US" sz="1200" b="1" dirty="0" err="1">
                <a:solidFill>
                  <a:schemeClr val="accent1"/>
                </a:solidFill>
              </a:rPr>
              <a:t>Gitflow</a:t>
            </a:r>
            <a:r>
              <a:rPr lang="en-US" sz="1200" dirty="0"/>
              <a:t> Workflow defines a strict branching model designed around the project release. This provides a robust framework for managing larger projects</a:t>
            </a:r>
          </a:p>
          <a:p>
            <a:endParaRPr lang="de-DE" sz="1200" dirty="0"/>
          </a:p>
        </p:txBody>
      </p:sp>
      <p:sp>
        <p:nvSpPr>
          <p:cNvPr id="23" name="Rounded Rectangle 43"/>
          <p:cNvSpPr/>
          <p:nvPr/>
        </p:nvSpPr>
        <p:spPr bwMode="gray">
          <a:xfrm>
            <a:off x="304654" y="1093171"/>
            <a:ext cx="3967200" cy="3511230"/>
          </a:xfrm>
          <a:prstGeom prst="round2DiagRect">
            <a:avLst>
              <a:gd name="adj1" fmla="val 3637"/>
              <a:gd name="adj2" fmla="val 0"/>
            </a:avLst>
          </a:prstGeom>
          <a:noFill/>
          <a:ln w="3175">
            <a:solidFill>
              <a:schemeClr val="accent1"/>
            </a:solidFill>
          </a:ln>
          <a:effectLst/>
        </p:spPr>
        <p:style>
          <a:lnRef idx="1">
            <a:schemeClr val="accent1"/>
          </a:lnRef>
          <a:fillRef idx="3">
            <a:schemeClr val="accent1"/>
          </a:fillRef>
          <a:effectRef idx="2">
            <a:schemeClr val="accent1"/>
          </a:effectRef>
          <a:fontRef idx="minor">
            <a:schemeClr val="lt1"/>
          </a:fontRef>
        </p:style>
        <p:txBody>
          <a:bodyPr tIns="90000" bIns="90000" rtlCol="0" anchor="ctr"/>
          <a:lstStyle/>
          <a:p>
            <a:pPr algn="ctr"/>
            <a:endParaRPr lang="en-US" sz="1600" b="1" dirty="0">
              <a:solidFill>
                <a:schemeClr val="bg1"/>
              </a:solidFill>
              <a:latin typeface="+mj-lt"/>
            </a:endParaRPr>
          </a:p>
        </p:txBody>
      </p:sp>
      <p:sp>
        <p:nvSpPr>
          <p:cNvPr id="19" name="Rounded Rectangle 43"/>
          <p:cNvSpPr/>
          <p:nvPr/>
        </p:nvSpPr>
        <p:spPr bwMode="gray">
          <a:xfrm>
            <a:off x="304654" y="897708"/>
            <a:ext cx="3967200" cy="322263"/>
          </a:xfrm>
          <a:prstGeom prst="round2DiagRect">
            <a:avLst>
              <a:gd name="adj1" fmla="val 50000"/>
              <a:gd name="adj2" fmla="val 0"/>
            </a:avLst>
          </a:prstGeom>
          <a:solidFill>
            <a:schemeClr val="accent1"/>
          </a:solidFill>
          <a:ln w="41275">
            <a:noFill/>
          </a:ln>
          <a:effectLst/>
        </p:spPr>
        <p:style>
          <a:lnRef idx="1">
            <a:schemeClr val="accent1"/>
          </a:lnRef>
          <a:fillRef idx="3">
            <a:schemeClr val="accent1"/>
          </a:fillRef>
          <a:effectRef idx="2">
            <a:schemeClr val="accent1"/>
          </a:effectRef>
          <a:fontRef idx="minor">
            <a:schemeClr val="lt1"/>
          </a:fontRef>
        </p:style>
        <p:txBody>
          <a:bodyPr tIns="90000" bIns="90000" rtlCol="0" anchor="ctr"/>
          <a:lstStyle/>
          <a:p>
            <a:pPr algn="ctr"/>
            <a:r>
              <a:rPr lang="en-US" sz="1600" b="1" dirty="0">
                <a:solidFill>
                  <a:schemeClr val="bg1"/>
                </a:solidFill>
                <a:latin typeface="+mj-lt"/>
              </a:rPr>
              <a:t>GIT-Flow Workflow</a:t>
            </a:r>
          </a:p>
        </p:txBody>
      </p:sp>
      <p:sp>
        <p:nvSpPr>
          <p:cNvPr id="26" name="Rounded Rectangle 43"/>
          <p:cNvSpPr/>
          <p:nvPr/>
        </p:nvSpPr>
        <p:spPr bwMode="gray">
          <a:xfrm>
            <a:off x="4795507" y="1093171"/>
            <a:ext cx="3967200" cy="3511230"/>
          </a:xfrm>
          <a:prstGeom prst="round2DiagRect">
            <a:avLst>
              <a:gd name="adj1" fmla="val 3637"/>
              <a:gd name="adj2" fmla="val 0"/>
            </a:avLst>
          </a:prstGeom>
          <a:noFill/>
          <a:ln w="3175">
            <a:solidFill>
              <a:schemeClr val="tx2"/>
            </a:solidFill>
          </a:ln>
          <a:effectLst/>
        </p:spPr>
        <p:style>
          <a:lnRef idx="1">
            <a:schemeClr val="accent1"/>
          </a:lnRef>
          <a:fillRef idx="3">
            <a:schemeClr val="accent1"/>
          </a:fillRef>
          <a:effectRef idx="2">
            <a:schemeClr val="accent1"/>
          </a:effectRef>
          <a:fontRef idx="minor">
            <a:schemeClr val="lt1"/>
          </a:fontRef>
        </p:style>
        <p:txBody>
          <a:bodyPr tIns="90000" bIns="90000" rtlCol="0" anchor="ctr"/>
          <a:lstStyle/>
          <a:p>
            <a:pPr algn="ctr"/>
            <a:endParaRPr lang="en-US" sz="1600" b="1" dirty="0">
              <a:solidFill>
                <a:schemeClr val="bg1"/>
              </a:solidFill>
              <a:latin typeface="+mj-lt"/>
            </a:endParaRPr>
          </a:p>
        </p:txBody>
      </p:sp>
      <p:sp>
        <p:nvSpPr>
          <p:cNvPr id="20" name="Rounded Rectangle 43"/>
          <p:cNvSpPr/>
          <p:nvPr/>
        </p:nvSpPr>
        <p:spPr bwMode="gray">
          <a:xfrm>
            <a:off x="4795507" y="897708"/>
            <a:ext cx="3967200" cy="322263"/>
          </a:xfrm>
          <a:prstGeom prst="round2DiagRect">
            <a:avLst>
              <a:gd name="adj1" fmla="val 50000"/>
              <a:gd name="adj2" fmla="val 0"/>
            </a:avLst>
          </a:prstGeom>
          <a:solidFill>
            <a:schemeClr val="bg1">
              <a:lumMod val="50000"/>
            </a:schemeClr>
          </a:solidFill>
          <a:ln w="41275">
            <a:noFill/>
          </a:ln>
          <a:effectLst/>
        </p:spPr>
        <p:style>
          <a:lnRef idx="1">
            <a:schemeClr val="accent1"/>
          </a:lnRef>
          <a:fillRef idx="3">
            <a:schemeClr val="accent1"/>
          </a:fillRef>
          <a:effectRef idx="2">
            <a:schemeClr val="accent1"/>
          </a:effectRef>
          <a:fontRef idx="minor">
            <a:schemeClr val="lt1"/>
          </a:fontRef>
        </p:style>
        <p:txBody>
          <a:bodyPr tIns="90000" bIns="90000" rtlCol="0" anchor="ctr"/>
          <a:lstStyle/>
          <a:p>
            <a:pPr algn="ctr"/>
            <a:r>
              <a:rPr lang="en-US" sz="1600" b="1" dirty="0">
                <a:solidFill>
                  <a:schemeClr val="bg1"/>
                </a:solidFill>
                <a:latin typeface="+mj-lt"/>
              </a:rPr>
              <a:t>Pull Request</a:t>
            </a:r>
          </a:p>
        </p:txBody>
      </p:sp>
      <p:pic>
        <p:nvPicPr>
          <p:cNvPr id="27" name="Immagine 4" descr="40a biaco-01.png"/>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47607" y="827898"/>
            <a:ext cx="530545" cy="530545"/>
          </a:xfrm>
          <a:prstGeom prst="ellipse">
            <a:avLst/>
          </a:prstGeom>
          <a:solidFill>
            <a:srgbClr val="00AFD0"/>
          </a:solidFill>
          <a:ln w="12700">
            <a:solidFill>
              <a:schemeClr val="bg1"/>
            </a:solidFill>
          </a:ln>
        </p:spPr>
      </p:pic>
      <p:pic>
        <p:nvPicPr>
          <p:cNvPr id="28" name="Immagine 116" descr="41a biaco-01.png"/>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4512837" y="827898"/>
            <a:ext cx="529200" cy="529200"/>
          </a:xfrm>
          <a:prstGeom prst="ellipse">
            <a:avLst/>
          </a:prstGeom>
          <a:solidFill>
            <a:schemeClr val="bg1">
              <a:lumMod val="50000"/>
            </a:schemeClr>
          </a:solidFill>
          <a:ln w="12700">
            <a:solidFill>
              <a:schemeClr val="bg1"/>
            </a:solidFill>
          </a:ln>
        </p:spPr>
      </p:pic>
      <p:sp>
        <p:nvSpPr>
          <p:cNvPr id="18" name="Text Placeholder 10">
            <a:extLst>
              <a:ext uri="{FF2B5EF4-FFF2-40B4-BE49-F238E27FC236}">
                <a16:creationId xmlns:a16="http://schemas.microsoft.com/office/drawing/2014/main" id="{50405C9E-F837-4989-A450-2FF1D2D8DE99}"/>
              </a:ext>
            </a:extLst>
          </p:cNvPr>
          <p:cNvSpPr txBox="1">
            <a:spLocks/>
          </p:cNvSpPr>
          <p:nvPr/>
        </p:nvSpPr>
        <p:spPr>
          <a:xfrm>
            <a:off x="668906" y="4724075"/>
            <a:ext cx="7704000" cy="360000"/>
          </a:xfrm>
          <a:prstGeom prst="rect">
            <a:avLst/>
          </a:prstGeom>
        </p:spPr>
        <p:txBody>
          <a:bodyPr vert="horz" lIns="0" tIns="0" rIns="0" bIns="0" rtlCol="0">
            <a:noAutofit/>
          </a:bodyPr>
          <a:lstStyle>
            <a:lvl1pPr marL="0" marR="0" indent="0" algn="l" defTabSz="342875" rtl="0" eaLnBrk="1" fontAlgn="auto" latinLnBrk="0" hangingPunct="1">
              <a:lnSpc>
                <a:spcPct val="100000"/>
              </a:lnSpc>
              <a:spcBef>
                <a:spcPct val="20000"/>
              </a:spcBef>
              <a:spcAft>
                <a:spcPts val="0"/>
              </a:spcAft>
              <a:buClr>
                <a:srgbClr val="E1061C"/>
              </a:buClr>
              <a:buSzTx/>
              <a:buFont typeface="Arial"/>
              <a:buNone/>
              <a:tabLst/>
              <a:defRPr sz="800" kern="1200" baseline="0">
                <a:solidFill>
                  <a:schemeClr val="tx1"/>
                </a:solidFill>
                <a:latin typeface="+mn-lt"/>
                <a:ea typeface="+mn-ea"/>
                <a:cs typeface="Arial" panose="020B0604020202020204" pitchFamily="34" charset="0"/>
              </a:defRPr>
            </a:lvl1pPr>
            <a:lvl2pPr marL="342882" marR="0" indent="0" algn="l" defTabSz="342875" rtl="0" eaLnBrk="1" fontAlgn="auto" latinLnBrk="0" hangingPunct="1">
              <a:lnSpc>
                <a:spcPct val="100000"/>
              </a:lnSpc>
              <a:spcBef>
                <a:spcPct val="20000"/>
              </a:spcBef>
              <a:spcAft>
                <a:spcPts val="0"/>
              </a:spcAft>
              <a:buClr>
                <a:srgbClr val="E1061C"/>
              </a:buClr>
              <a:buSzTx/>
              <a:buFont typeface="Arial"/>
              <a:buNone/>
              <a:tabLst/>
              <a:defRPr sz="700" kern="1200" baseline="0">
                <a:solidFill>
                  <a:schemeClr val="tx1"/>
                </a:solidFill>
                <a:latin typeface="Arial" panose="020B0604020202020204" pitchFamily="34" charset="0"/>
                <a:ea typeface="+mn-ea"/>
                <a:cs typeface="Arial" panose="020B0604020202020204" pitchFamily="34" charset="0"/>
              </a:defRPr>
            </a:lvl2pPr>
            <a:lvl3pPr marL="685766" marR="0" indent="0" algn="l" defTabSz="342875" rtl="0" eaLnBrk="1" fontAlgn="auto" latinLnBrk="0" hangingPunct="1">
              <a:lnSpc>
                <a:spcPct val="100000"/>
              </a:lnSpc>
              <a:spcBef>
                <a:spcPct val="20000"/>
              </a:spcBef>
              <a:spcAft>
                <a:spcPts val="0"/>
              </a:spcAft>
              <a:buClr>
                <a:srgbClr val="E1061C"/>
              </a:buClr>
              <a:buSzTx/>
              <a:buFont typeface="Arial"/>
              <a:buNone/>
              <a:tabLst/>
              <a:defRPr sz="700" kern="1200" baseline="0">
                <a:solidFill>
                  <a:schemeClr val="tx1"/>
                </a:solidFill>
                <a:latin typeface="Arial" panose="020B0604020202020204" pitchFamily="34" charset="0"/>
                <a:ea typeface="+mn-ea"/>
                <a:cs typeface="Arial" panose="020B0604020202020204" pitchFamily="34" charset="0"/>
              </a:defRPr>
            </a:lvl3pPr>
            <a:lvl4pPr marL="1028648" marR="0" indent="0" algn="l" defTabSz="342875" rtl="0" eaLnBrk="1" fontAlgn="auto" latinLnBrk="0" hangingPunct="1">
              <a:lnSpc>
                <a:spcPct val="100000"/>
              </a:lnSpc>
              <a:spcBef>
                <a:spcPct val="20000"/>
              </a:spcBef>
              <a:spcAft>
                <a:spcPts val="0"/>
              </a:spcAft>
              <a:buClr>
                <a:srgbClr val="E1061C"/>
              </a:buClr>
              <a:buSzTx/>
              <a:buFont typeface="Arial"/>
              <a:buNone/>
              <a:tabLst/>
              <a:defRPr sz="700" kern="1200" baseline="0">
                <a:solidFill>
                  <a:schemeClr val="tx1"/>
                </a:solidFill>
                <a:latin typeface="Arial" panose="020B0604020202020204" pitchFamily="34" charset="0"/>
                <a:ea typeface="+mn-ea"/>
                <a:cs typeface="Arial" panose="020B0604020202020204" pitchFamily="34" charset="0"/>
              </a:defRPr>
            </a:lvl4pPr>
            <a:lvl5pPr marL="1371532" marR="0" indent="0" algn="l" defTabSz="342875" rtl="0" eaLnBrk="1" fontAlgn="auto" latinLnBrk="0" hangingPunct="1">
              <a:lnSpc>
                <a:spcPct val="100000"/>
              </a:lnSpc>
              <a:spcBef>
                <a:spcPct val="20000"/>
              </a:spcBef>
              <a:spcAft>
                <a:spcPts val="0"/>
              </a:spcAft>
              <a:buClr>
                <a:srgbClr val="E1061C"/>
              </a:buClr>
              <a:buSzTx/>
              <a:buFont typeface="Arial"/>
              <a:buNone/>
              <a:tabLst/>
              <a:defRPr sz="700" kern="1200" baseline="0">
                <a:solidFill>
                  <a:schemeClr val="tx1"/>
                </a:solidFill>
                <a:latin typeface="Arial" panose="020B0604020202020204" pitchFamily="34" charset="0"/>
                <a:ea typeface="+mn-ea"/>
                <a:cs typeface="Arial" panose="020B0604020202020204" pitchFamily="34" charset="0"/>
              </a:defRPr>
            </a:lvl5pPr>
            <a:lvl6pPr marL="1885809" indent="-171438" algn="l" defTabSz="685749"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684" indent="-171438" algn="l" defTabSz="685749"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558" indent="-171438" algn="l" defTabSz="685749"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433" indent="-171438" algn="l" defTabSz="685749"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171450" indent="-171450">
              <a:buFont typeface="Arial" panose="020B0604020202020204" pitchFamily="34" charset="0"/>
              <a:buChar char="•"/>
            </a:pPr>
            <a:r>
              <a:rPr lang="en-US" dirty="0">
                <a:hlinkClick r:id="rId12"/>
              </a:rPr>
              <a:t>https://www.atlassian.com/git/tutorials/comparing-workflows</a:t>
            </a:r>
            <a:endParaRPr lang="en-US" dirty="0"/>
          </a:p>
          <a:p>
            <a:pPr marL="171450" indent="-171450">
              <a:buFont typeface="Arial" panose="020B0604020202020204" pitchFamily="34" charset="0"/>
              <a:buChar char="•"/>
            </a:pPr>
            <a:r>
              <a:rPr lang="en-US" dirty="0">
                <a:hlinkClick r:id="rId13"/>
              </a:rPr>
              <a:t>https://www.atlassian.com/git/tutorials/making-a-pull-request</a:t>
            </a:r>
            <a:endParaRPr lang="de-DE" dirty="0"/>
          </a:p>
        </p:txBody>
      </p:sp>
    </p:spTree>
    <p:extLst>
      <p:ext uri="{BB962C8B-B14F-4D97-AF65-F5344CB8AC3E}">
        <p14:creationId xmlns:p14="http://schemas.microsoft.com/office/powerpoint/2010/main" val="188598609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Object 34" hidden="1">
            <a:extLst>
              <a:ext uri="{FF2B5EF4-FFF2-40B4-BE49-F238E27FC236}">
                <a16:creationId xmlns:a16="http://schemas.microsoft.com/office/drawing/2014/main" id="{4C781002-2313-4803-A01A-071A6AB2FB9B}"/>
              </a:ext>
            </a:extLst>
          </p:cNvPr>
          <p:cNvGraphicFramePr>
            <a:graphicFrameLocks noChangeAspect="1"/>
          </p:cNvGraphicFramePr>
          <p:nvPr>
            <p:custDataLst>
              <p:tags r:id="rId2"/>
            </p:custDataLst>
            <p:extLst>
              <p:ext uri="{D42A27DB-BD31-4B8C-83A1-F6EECF244321}">
                <p14:modId xmlns:p14="http://schemas.microsoft.com/office/powerpoint/2010/main" val="22209390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056" name="think-cell Slide" r:id="rId6" imgW="360" imgH="360" progId="TCLayout.ActiveDocument.1">
                  <p:embed/>
                </p:oleObj>
              </mc:Choice>
              <mc:Fallback>
                <p:oleObj name="think-cell Slide" r:id="rId6" imgW="360" imgH="360" progId="TCLayout.ActiveDocument.1">
                  <p:embed/>
                  <p:pic>
                    <p:nvPicPr>
                      <p:cNvPr id="35" name="Object 34" hidden="1">
                        <a:extLst>
                          <a:ext uri="{FF2B5EF4-FFF2-40B4-BE49-F238E27FC236}">
                            <a16:creationId xmlns:a16="http://schemas.microsoft.com/office/drawing/2014/main" id="{4C781002-2313-4803-A01A-071A6AB2FB9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6" name="Rectangle 35" hidden="1">
            <a:extLst>
              <a:ext uri="{FF2B5EF4-FFF2-40B4-BE49-F238E27FC236}">
                <a16:creationId xmlns:a16="http://schemas.microsoft.com/office/drawing/2014/main" id="{1F08D6A1-39DF-43FB-878F-188581D16D3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UniCredit" panose="02000506040000020004" pitchFamily="2" charset="0"/>
              <a:ea typeface="+mj-ea"/>
              <a:cs typeface="Arial" panose="020B0604020202020204" pitchFamily="34" charset="0"/>
              <a:sym typeface="UniCredit" panose="02000506040000020004" pitchFamily="2" charset="0"/>
            </a:endParaRPr>
          </a:p>
        </p:txBody>
      </p:sp>
      <p:sp>
        <p:nvSpPr>
          <p:cNvPr id="2" name="Text Placeholder 1">
            <a:extLst>
              <a:ext uri="{FF2B5EF4-FFF2-40B4-BE49-F238E27FC236}">
                <a16:creationId xmlns:a16="http://schemas.microsoft.com/office/drawing/2014/main" id="{37C31D72-88E7-4CA4-97CC-DF95C6596AE8}"/>
              </a:ext>
            </a:extLst>
          </p:cNvPr>
          <p:cNvSpPr>
            <a:spLocks noGrp="1"/>
          </p:cNvSpPr>
          <p:nvPr>
            <p:ph type="body" sz="quarter" idx="12"/>
          </p:nvPr>
        </p:nvSpPr>
        <p:spPr/>
        <p:txBody>
          <a:bodyPr/>
          <a:lstStyle/>
          <a:p>
            <a:endParaRPr lang="en-US"/>
          </a:p>
        </p:txBody>
      </p:sp>
      <p:sp>
        <p:nvSpPr>
          <p:cNvPr id="3" name="Text Placeholder 2">
            <a:extLst>
              <a:ext uri="{FF2B5EF4-FFF2-40B4-BE49-F238E27FC236}">
                <a16:creationId xmlns:a16="http://schemas.microsoft.com/office/drawing/2014/main" id="{EBBD6DAB-6B2B-42CC-9A99-3EDE6EF054BF}"/>
              </a:ext>
            </a:extLst>
          </p:cNvPr>
          <p:cNvSpPr>
            <a:spLocks noGrp="1"/>
          </p:cNvSpPr>
          <p:nvPr>
            <p:ph type="body" sz="quarter" idx="16"/>
          </p:nvPr>
        </p:nvSpPr>
        <p:spPr/>
        <p:txBody>
          <a:bodyPr/>
          <a:lstStyle/>
          <a:p>
            <a:endParaRPr lang="en-US"/>
          </a:p>
        </p:txBody>
      </p:sp>
      <p:sp>
        <p:nvSpPr>
          <p:cNvPr id="4" name="Slide Number Placeholder 3">
            <a:extLst>
              <a:ext uri="{FF2B5EF4-FFF2-40B4-BE49-F238E27FC236}">
                <a16:creationId xmlns:a16="http://schemas.microsoft.com/office/drawing/2014/main" id="{82835AA4-731A-42C0-9605-CE5C097D862B}"/>
              </a:ext>
            </a:extLst>
          </p:cNvPr>
          <p:cNvSpPr>
            <a:spLocks noGrp="1"/>
          </p:cNvSpPr>
          <p:nvPr>
            <p:ph type="sldNum" sz="quarter" idx="11"/>
          </p:nvPr>
        </p:nvSpPr>
        <p:spPr/>
        <p:txBody>
          <a:bodyPr/>
          <a:lstStyle/>
          <a:p>
            <a:fld id="{9E8169F0-646E-455B-AF5A-6D6C02EAEAF6}" type="slidenum">
              <a:rPr lang="en-GB" noProof="1" smtClean="0"/>
              <a:t>15</a:t>
            </a:fld>
            <a:endParaRPr lang="en-GB" noProof="1"/>
          </a:p>
        </p:txBody>
      </p:sp>
      <p:graphicFrame>
        <p:nvGraphicFramePr>
          <p:cNvPr id="7" name="Content Placeholder 6">
            <a:extLst>
              <a:ext uri="{FF2B5EF4-FFF2-40B4-BE49-F238E27FC236}">
                <a16:creationId xmlns:a16="http://schemas.microsoft.com/office/drawing/2014/main" id="{B213A504-AF0B-4DEB-B8A6-057B0B9F9935}"/>
              </a:ext>
            </a:extLst>
          </p:cNvPr>
          <p:cNvGraphicFramePr>
            <a:graphicFrameLocks noGrp="1"/>
          </p:cNvGraphicFramePr>
          <p:nvPr>
            <p:ph sz="quarter" idx="15"/>
            <p:extLst>
              <p:ext uri="{D42A27DB-BD31-4B8C-83A1-F6EECF244321}">
                <p14:modId xmlns:p14="http://schemas.microsoft.com/office/powerpoint/2010/main" val="2891599584"/>
              </p:ext>
            </p:extLst>
          </p:nvPr>
        </p:nvGraphicFramePr>
        <p:xfrm>
          <a:off x="232568" y="1662658"/>
          <a:ext cx="8678863" cy="793939"/>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6" name="Title 5">
            <a:extLst>
              <a:ext uri="{FF2B5EF4-FFF2-40B4-BE49-F238E27FC236}">
                <a16:creationId xmlns:a16="http://schemas.microsoft.com/office/drawing/2014/main" id="{4CEBBF5F-7584-4FE7-8A89-E5F2743DBDC0}"/>
              </a:ext>
            </a:extLst>
          </p:cNvPr>
          <p:cNvSpPr>
            <a:spLocks noGrp="1"/>
          </p:cNvSpPr>
          <p:nvPr>
            <p:ph type="title"/>
          </p:nvPr>
        </p:nvSpPr>
        <p:spPr/>
        <p:txBody>
          <a:bodyPr/>
          <a:lstStyle/>
          <a:p>
            <a:r>
              <a:rPr lang="en-US" dirty="0"/>
              <a:t>Start the automated CI/CD pipeline with Jenkins</a:t>
            </a:r>
          </a:p>
        </p:txBody>
      </p:sp>
      <p:graphicFrame>
        <p:nvGraphicFramePr>
          <p:cNvPr id="8" name="Content Placeholder 6">
            <a:extLst>
              <a:ext uri="{FF2B5EF4-FFF2-40B4-BE49-F238E27FC236}">
                <a16:creationId xmlns:a16="http://schemas.microsoft.com/office/drawing/2014/main" id="{4012480D-4ACF-46ED-A5BC-A161DB9452BD}"/>
              </a:ext>
            </a:extLst>
          </p:cNvPr>
          <p:cNvGraphicFramePr>
            <a:graphicFrameLocks/>
          </p:cNvGraphicFramePr>
          <p:nvPr/>
        </p:nvGraphicFramePr>
        <p:xfrm>
          <a:off x="1958454" y="1330658"/>
          <a:ext cx="6121021" cy="416256"/>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grpSp>
        <p:nvGrpSpPr>
          <p:cNvPr id="12" name="Gruppo 57">
            <a:extLst>
              <a:ext uri="{FF2B5EF4-FFF2-40B4-BE49-F238E27FC236}">
                <a16:creationId xmlns:a16="http://schemas.microsoft.com/office/drawing/2014/main" id="{96E0BE94-53DC-4071-8828-0459313D9456}"/>
              </a:ext>
            </a:extLst>
          </p:cNvPr>
          <p:cNvGrpSpPr/>
          <p:nvPr/>
        </p:nvGrpSpPr>
        <p:grpSpPr>
          <a:xfrm>
            <a:off x="5508245" y="2405035"/>
            <a:ext cx="529106" cy="366887"/>
            <a:chOff x="6946025" y="2094577"/>
            <a:chExt cx="723806" cy="478077"/>
          </a:xfrm>
        </p:grpSpPr>
        <p:pic>
          <p:nvPicPr>
            <p:cNvPr id="25" name="Grafik 143">
              <a:extLst>
                <a:ext uri="{FF2B5EF4-FFF2-40B4-BE49-F238E27FC236}">
                  <a16:creationId xmlns:a16="http://schemas.microsoft.com/office/drawing/2014/main" id="{DEFF508D-9999-4AA0-A2B0-59E721894D31}"/>
                </a:ext>
              </a:extLst>
            </p:cNvPr>
            <p:cNvPicPr>
              <a:picLocks noChangeAspect="1"/>
            </p:cNvPicPr>
            <p:nvPr/>
          </p:nvPicPr>
          <p:blipFill>
            <a:blip r:embed="rId18"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6946025" y="2122512"/>
              <a:ext cx="723806" cy="450142"/>
            </a:xfrm>
            <a:prstGeom prst="rect">
              <a:avLst/>
            </a:prstGeom>
          </p:spPr>
        </p:pic>
        <p:sp>
          <p:nvSpPr>
            <p:cNvPr id="26" name="CasellaDiTesto 59">
              <a:extLst>
                <a:ext uri="{FF2B5EF4-FFF2-40B4-BE49-F238E27FC236}">
                  <a16:creationId xmlns:a16="http://schemas.microsoft.com/office/drawing/2014/main" id="{EF7AC9F6-CBEE-498A-B32B-FECA87197DA1}"/>
                </a:ext>
              </a:extLst>
            </p:cNvPr>
            <p:cNvSpPr txBox="1"/>
            <p:nvPr/>
          </p:nvSpPr>
          <p:spPr>
            <a:xfrm>
              <a:off x="7225224" y="2094577"/>
              <a:ext cx="434106" cy="158833"/>
            </a:xfrm>
            <a:prstGeom prst="rect">
              <a:avLst/>
            </a:prstGeom>
            <a:solidFill>
              <a:sysClr val="window" lastClr="FFFFFF"/>
            </a:solid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1" i="1" u="none" strike="noStrike" kern="0" cap="none" spc="0" normalizeH="0" baseline="0" noProof="0" dirty="0">
                  <a:ln>
                    <a:noFill/>
                  </a:ln>
                  <a:solidFill>
                    <a:srgbClr val="999999"/>
                  </a:solidFill>
                  <a:effectLst/>
                  <a:uLnTx/>
                  <a:uFillTx/>
                  <a:latin typeface="UniCredit"/>
                  <a:cs typeface="Arial" charset="0"/>
                </a:rPr>
                <a:t>DEPLOY</a:t>
              </a:r>
              <a:endParaRPr kumimoji="0" lang="en-US" sz="1400" b="1" i="1" u="none" strike="noStrike" kern="0" cap="none" spc="0" normalizeH="0" baseline="0" noProof="0" dirty="0">
                <a:ln>
                  <a:noFill/>
                </a:ln>
                <a:solidFill>
                  <a:srgbClr val="999999"/>
                </a:solidFill>
                <a:effectLst/>
                <a:uLnTx/>
                <a:uFillTx/>
                <a:latin typeface="UniCredit"/>
                <a:cs typeface="Arial" charset="0"/>
              </a:endParaRPr>
            </a:p>
          </p:txBody>
        </p:sp>
      </p:grpSp>
      <p:pic>
        <p:nvPicPr>
          <p:cNvPr id="13" name="Immagine 68">
            <a:extLst>
              <a:ext uri="{FF2B5EF4-FFF2-40B4-BE49-F238E27FC236}">
                <a16:creationId xmlns:a16="http://schemas.microsoft.com/office/drawing/2014/main" id="{0141B9BC-946F-47F8-B222-7B5FB3E42FAB}"/>
              </a:ext>
            </a:extLst>
          </p:cNvPr>
          <p:cNvPicPr>
            <a:picLocks noChangeAspect="1"/>
          </p:cNvPicPr>
          <p:nvPr/>
        </p:nvPicPr>
        <p:blipFill>
          <a:blip r:embed="rId19" cstate="email">
            <a:extLst>
              <a:ext uri="{28A0092B-C50C-407E-A947-70E740481C1C}">
                <a14:useLocalDpi xmlns:a14="http://schemas.microsoft.com/office/drawing/2010/main"/>
              </a:ext>
            </a:extLst>
          </a:blip>
          <a:stretch>
            <a:fillRect/>
          </a:stretch>
        </p:blipFill>
        <p:spPr>
          <a:xfrm>
            <a:off x="4988808" y="937660"/>
            <a:ext cx="527698" cy="316419"/>
          </a:xfrm>
          <a:prstGeom prst="rect">
            <a:avLst/>
          </a:prstGeom>
        </p:spPr>
      </p:pic>
      <p:pic>
        <p:nvPicPr>
          <p:cNvPr id="14" name="Immagine 90">
            <a:extLst>
              <a:ext uri="{FF2B5EF4-FFF2-40B4-BE49-F238E27FC236}">
                <a16:creationId xmlns:a16="http://schemas.microsoft.com/office/drawing/2014/main" id="{1F6956C0-6AD7-42B3-8A6D-229457FA84E4}"/>
              </a:ext>
            </a:extLst>
          </p:cNvPr>
          <p:cNvPicPr>
            <a:picLocks noChangeAspect="1"/>
          </p:cNvPicPr>
          <p:nvPr/>
        </p:nvPicPr>
        <p:blipFill>
          <a:blip r:embed="rId20"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6322667" y="2477700"/>
            <a:ext cx="622008" cy="197186"/>
          </a:xfrm>
          <a:prstGeom prst="rect">
            <a:avLst/>
          </a:prstGeom>
        </p:spPr>
      </p:pic>
      <p:pic>
        <p:nvPicPr>
          <p:cNvPr id="15" name="Immagine 92">
            <a:extLst>
              <a:ext uri="{FF2B5EF4-FFF2-40B4-BE49-F238E27FC236}">
                <a16:creationId xmlns:a16="http://schemas.microsoft.com/office/drawing/2014/main" id="{5A757FDC-EB77-47F4-9B34-CA7FB43E3E65}"/>
              </a:ext>
            </a:extLst>
          </p:cNvPr>
          <p:cNvPicPr>
            <a:picLocks noChangeAspect="1"/>
          </p:cNvPicPr>
          <p:nvPr/>
        </p:nvPicPr>
        <p:blipFill>
          <a:blip r:embed="rId21"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7222315" y="2370242"/>
            <a:ext cx="576113" cy="376123"/>
          </a:xfrm>
          <a:prstGeom prst="rect">
            <a:avLst/>
          </a:prstGeom>
        </p:spPr>
      </p:pic>
      <p:pic>
        <p:nvPicPr>
          <p:cNvPr id="17" name="Immagine 124">
            <a:extLst>
              <a:ext uri="{FF2B5EF4-FFF2-40B4-BE49-F238E27FC236}">
                <a16:creationId xmlns:a16="http://schemas.microsoft.com/office/drawing/2014/main" id="{0D3D192C-F36A-401A-BDC0-CD9B1DF67085}"/>
              </a:ext>
            </a:extLst>
          </p:cNvPr>
          <p:cNvPicPr>
            <a:picLocks noChangeAspect="1"/>
          </p:cNvPicPr>
          <p:nvPr/>
        </p:nvPicPr>
        <p:blipFill>
          <a:blip r:embed="rId22"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3576062" y="2400916"/>
            <a:ext cx="1045724" cy="402234"/>
          </a:xfrm>
          <a:prstGeom prst="rect">
            <a:avLst/>
          </a:prstGeom>
        </p:spPr>
      </p:pic>
      <p:pic>
        <p:nvPicPr>
          <p:cNvPr id="18" name="Picture 4" descr="JUnit – About">
            <a:extLst>
              <a:ext uri="{FF2B5EF4-FFF2-40B4-BE49-F238E27FC236}">
                <a16:creationId xmlns:a16="http://schemas.microsoft.com/office/drawing/2014/main" id="{43D69F85-738D-4488-A255-E84FECD44BE3}"/>
              </a:ext>
            </a:extLst>
          </p:cNvPr>
          <p:cNvPicPr>
            <a:picLocks noChangeAspect="1" noChangeArrowheads="1"/>
          </p:cNvPicPr>
          <p:nvPr/>
        </p:nvPicPr>
        <p:blipFill>
          <a:blip r:embed="rId23" cstate="email">
            <a:duotone>
              <a:schemeClr val="bg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3006688" y="2496035"/>
            <a:ext cx="493019" cy="155210"/>
          </a:xfrm>
          <a:prstGeom prst="rect">
            <a:avLst/>
          </a:prstGeom>
          <a:noFill/>
          <a:extLst>
            <a:ext uri="{909E8E84-426E-40DD-AFC4-6F175D3DCCD1}">
              <a14:hiddenFill xmlns:a14="http://schemas.microsoft.com/office/drawing/2010/main">
                <a:solidFill>
                  <a:srgbClr val="FFFFFF"/>
                </a:solidFill>
              </a14:hiddenFill>
            </a:ext>
          </a:extLst>
        </p:spPr>
      </p:pic>
      <p:grpSp>
        <p:nvGrpSpPr>
          <p:cNvPr id="19" name="Gruppo 12">
            <a:extLst>
              <a:ext uri="{FF2B5EF4-FFF2-40B4-BE49-F238E27FC236}">
                <a16:creationId xmlns:a16="http://schemas.microsoft.com/office/drawing/2014/main" id="{F3DC3895-2715-40DE-8A2B-A4D3871C6BC2}"/>
              </a:ext>
            </a:extLst>
          </p:cNvPr>
          <p:cNvGrpSpPr/>
          <p:nvPr/>
        </p:nvGrpSpPr>
        <p:grpSpPr>
          <a:xfrm>
            <a:off x="4708823" y="2238895"/>
            <a:ext cx="547002" cy="457094"/>
            <a:chOff x="8284888" y="2480464"/>
            <a:chExt cx="569212" cy="461665"/>
          </a:xfrm>
        </p:grpSpPr>
        <p:pic>
          <p:nvPicPr>
            <p:cNvPr id="23" name="Immagine 40">
              <a:extLst>
                <a:ext uri="{FF2B5EF4-FFF2-40B4-BE49-F238E27FC236}">
                  <a16:creationId xmlns:a16="http://schemas.microsoft.com/office/drawing/2014/main" id="{8C31A6CE-D9F6-4E08-9C3F-2EAD7378E351}"/>
                </a:ext>
              </a:extLst>
            </p:cNvPr>
            <p:cNvPicPr>
              <a:picLocks noChangeAspect="1"/>
            </p:cNvPicPr>
            <p:nvPr/>
          </p:nvPicPr>
          <p:blipFill>
            <a:blip r:embed="rId24"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8284888" y="2711297"/>
              <a:ext cx="490862" cy="197995"/>
            </a:xfrm>
            <a:prstGeom prst="rect">
              <a:avLst/>
            </a:prstGeom>
            <a:solidFill>
              <a:sysClr val="window" lastClr="FFFFFF"/>
            </a:solidFill>
          </p:spPr>
        </p:pic>
        <p:sp>
          <p:nvSpPr>
            <p:cNvPr id="24" name="CasellaDiTesto 81">
              <a:extLst>
                <a:ext uri="{FF2B5EF4-FFF2-40B4-BE49-F238E27FC236}">
                  <a16:creationId xmlns:a16="http://schemas.microsoft.com/office/drawing/2014/main" id="{6B613A88-89B7-47B0-8A52-A599BD41CADB}"/>
                </a:ext>
              </a:extLst>
            </p:cNvPr>
            <p:cNvSpPr txBox="1"/>
            <p:nvPr/>
          </p:nvSpPr>
          <p:spPr>
            <a:xfrm>
              <a:off x="8669369" y="2480464"/>
              <a:ext cx="184731" cy="461665"/>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dirty="0">
                <a:ln>
                  <a:noFill/>
                </a:ln>
                <a:solidFill>
                  <a:srgbClr val="999999"/>
                </a:solidFill>
                <a:effectLst/>
                <a:uLnTx/>
                <a:uFillTx/>
                <a:latin typeface="UniCredit"/>
                <a:cs typeface="Arial" charset="0"/>
              </a:endParaRPr>
            </a:p>
          </p:txBody>
        </p:sp>
      </p:grpSp>
      <p:pic>
        <p:nvPicPr>
          <p:cNvPr id="20" name="Graphic 19">
            <a:extLst>
              <a:ext uri="{FF2B5EF4-FFF2-40B4-BE49-F238E27FC236}">
                <a16:creationId xmlns:a16="http://schemas.microsoft.com/office/drawing/2014/main" id="{F78FA946-A515-477A-9B6D-1F2533606B92}"/>
              </a:ext>
            </a:extLst>
          </p:cNvPr>
          <p:cNvPicPr>
            <a:picLocks noChangeAspect="1"/>
          </p:cNvPicPr>
          <p:nvPr/>
        </p:nvPicPr>
        <p:blipFill>
          <a:blip r:embed="rId25" cstate="email">
            <a:duotone>
              <a:schemeClr val="bg2">
                <a:shade val="45000"/>
                <a:satMod val="135000"/>
              </a:schemeClr>
              <a:prstClr val="white"/>
            </a:duotone>
            <a:extLst>
              <a:ext uri="{28A0092B-C50C-407E-A947-70E740481C1C}">
                <a14:useLocalDpi xmlns:a14="http://schemas.microsoft.com/office/drawing/2010/main"/>
              </a:ext>
              <a:ext uri="{96DAC541-7B7A-43D3-8B79-37D633B846F1}">
                <asvg:svgBlip xmlns:asvg="http://schemas.microsoft.com/office/drawing/2016/SVG/main" r:embed="rId26"/>
              </a:ext>
            </a:extLst>
          </a:blip>
          <a:stretch>
            <a:fillRect/>
          </a:stretch>
        </p:blipFill>
        <p:spPr>
          <a:xfrm>
            <a:off x="502979" y="2794878"/>
            <a:ext cx="527698" cy="281008"/>
          </a:xfrm>
          <a:prstGeom prst="rect">
            <a:avLst/>
          </a:prstGeom>
        </p:spPr>
      </p:pic>
      <p:pic>
        <p:nvPicPr>
          <p:cNvPr id="21" name="Picture 6" descr="Jira - Logo">
            <a:extLst>
              <a:ext uri="{FF2B5EF4-FFF2-40B4-BE49-F238E27FC236}">
                <a16:creationId xmlns:a16="http://schemas.microsoft.com/office/drawing/2014/main" id="{46421F2C-80A9-4993-A330-F72A33680620}"/>
              </a:ext>
            </a:extLst>
          </p:cNvPr>
          <p:cNvPicPr>
            <a:picLocks noChangeAspect="1" noChangeArrowheads="1"/>
          </p:cNvPicPr>
          <p:nvPr/>
        </p:nvPicPr>
        <p:blipFill>
          <a:blip r:embed="rId27" cstate="email">
            <a:duotone>
              <a:schemeClr val="bg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473623" y="2466704"/>
            <a:ext cx="475044" cy="212178"/>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6">
            <a:extLst>
              <a:ext uri="{FF2B5EF4-FFF2-40B4-BE49-F238E27FC236}">
                <a16:creationId xmlns:a16="http://schemas.microsoft.com/office/drawing/2014/main" id="{8E43D0E3-532C-4C39-99C9-20721793742D}"/>
              </a:ext>
            </a:extLst>
          </p:cNvPr>
          <p:cNvPicPr>
            <a:picLocks noChangeAspect="1"/>
          </p:cNvPicPr>
          <p:nvPr/>
        </p:nvPicPr>
        <p:blipFill>
          <a:blip r:embed="rId28"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3117583" y="3230769"/>
            <a:ext cx="271228" cy="291643"/>
          </a:xfrm>
          <a:prstGeom prst="rect">
            <a:avLst/>
          </a:prstGeom>
        </p:spPr>
      </p:pic>
      <p:grpSp>
        <p:nvGrpSpPr>
          <p:cNvPr id="30" name="Gruppo 57">
            <a:extLst>
              <a:ext uri="{FF2B5EF4-FFF2-40B4-BE49-F238E27FC236}">
                <a16:creationId xmlns:a16="http://schemas.microsoft.com/office/drawing/2014/main" id="{DE5DFB16-D2CA-496C-BD55-F2D48342B748}"/>
              </a:ext>
            </a:extLst>
          </p:cNvPr>
          <p:cNvGrpSpPr/>
          <p:nvPr/>
        </p:nvGrpSpPr>
        <p:grpSpPr>
          <a:xfrm>
            <a:off x="8076068" y="2412332"/>
            <a:ext cx="529106" cy="366887"/>
            <a:chOff x="6946025" y="2094577"/>
            <a:chExt cx="723806" cy="478077"/>
          </a:xfrm>
        </p:grpSpPr>
        <p:pic>
          <p:nvPicPr>
            <p:cNvPr id="31" name="Grafik 143">
              <a:extLst>
                <a:ext uri="{FF2B5EF4-FFF2-40B4-BE49-F238E27FC236}">
                  <a16:creationId xmlns:a16="http://schemas.microsoft.com/office/drawing/2014/main" id="{C74DA0A2-E42C-419D-A1E6-613AA6E5A8E6}"/>
                </a:ext>
              </a:extLst>
            </p:cNvPr>
            <p:cNvPicPr>
              <a:picLocks noChangeAspect="1"/>
            </p:cNvPicPr>
            <p:nvPr/>
          </p:nvPicPr>
          <p:blipFill>
            <a:blip r:embed="rId18"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6946025" y="2122512"/>
              <a:ext cx="723806" cy="450142"/>
            </a:xfrm>
            <a:prstGeom prst="rect">
              <a:avLst/>
            </a:prstGeom>
          </p:spPr>
        </p:pic>
        <p:sp>
          <p:nvSpPr>
            <p:cNvPr id="32" name="CasellaDiTesto 59">
              <a:extLst>
                <a:ext uri="{FF2B5EF4-FFF2-40B4-BE49-F238E27FC236}">
                  <a16:creationId xmlns:a16="http://schemas.microsoft.com/office/drawing/2014/main" id="{C6BE75B0-EEDD-42DA-8834-701850B9CB36}"/>
                </a:ext>
              </a:extLst>
            </p:cNvPr>
            <p:cNvSpPr txBox="1"/>
            <p:nvPr/>
          </p:nvSpPr>
          <p:spPr>
            <a:xfrm>
              <a:off x="7225224" y="2094577"/>
              <a:ext cx="434106" cy="158833"/>
            </a:xfrm>
            <a:prstGeom prst="rect">
              <a:avLst/>
            </a:prstGeom>
            <a:solidFill>
              <a:sysClr val="window" lastClr="FFFFFF"/>
            </a:solid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1" i="1" u="none" strike="noStrike" kern="0" cap="none" spc="0" normalizeH="0" baseline="0" noProof="0" dirty="0">
                  <a:ln>
                    <a:noFill/>
                  </a:ln>
                  <a:solidFill>
                    <a:srgbClr val="999999"/>
                  </a:solidFill>
                  <a:effectLst/>
                  <a:uLnTx/>
                  <a:uFillTx/>
                  <a:latin typeface="UniCredit"/>
                  <a:cs typeface="Arial" charset="0"/>
                </a:rPr>
                <a:t>DEPLOY</a:t>
              </a:r>
              <a:endParaRPr kumimoji="0" lang="en-US" sz="1400" b="1" i="1" u="none" strike="noStrike" kern="0" cap="none" spc="0" normalizeH="0" baseline="0" noProof="0" dirty="0">
                <a:ln>
                  <a:noFill/>
                </a:ln>
                <a:solidFill>
                  <a:srgbClr val="999999"/>
                </a:solidFill>
                <a:effectLst/>
                <a:uLnTx/>
                <a:uFillTx/>
                <a:latin typeface="UniCredit"/>
                <a:cs typeface="Arial" charset="0"/>
              </a:endParaRPr>
            </a:p>
          </p:txBody>
        </p:sp>
      </p:grpSp>
      <p:pic>
        <p:nvPicPr>
          <p:cNvPr id="33" name="Picture 28" descr="WireMock for Java Developers | Udemy">
            <a:extLst>
              <a:ext uri="{FF2B5EF4-FFF2-40B4-BE49-F238E27FC236}">
                <a16:creationId xmlns:a16="http://schemas.microsoft.com/office/drawing/2014/main" id="{24A9A257-90C9-4533-934C-7A70205C7E26}"/>
              </a:ext>
            </a:extLst>
          </p:cNvPr>
          <p:cNvPicPr>
            <a:picLocks noChangeAspect="1" noChangeArrowheads="1"/>
          </p:cNvPicPr>
          <p:nvPr/>
        </p:nvPicPr>
        <p:blipFill>
          <a:blip r:embed="rId29" cstate="print">
            <a:duotone>
              <a:schemeClr val="bg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6806341" y="2862878"/>
            <a:ext cx="518476" cy="291643"/>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20" descr="Liquibase | Database CI/CD &amp; Automation | Database DevOps">
            <a:extLst>
              <a:ext uri="{FF2B5EF4-FFF2-40B4-BE49-F238E27FC236}">
                <a16:creationId xmlns:a16="http://schemas.microsoft.com/office/drawing/2014/main" id="{98ABEE39-4DFB-4526-B645-77E5F85F754A}"/>
              </a:ext>
            </a:extLst>
          </p:cNvPr>
          <p:cNvPicPr>
            <a:picLocks noChangeAspect="1" noChangeArrowheads="1"/>
          </p:cNvPicPr>
          <p:nvPr/>
        </p:nvPicPr>
        <p:blipFill>
          <a:blip r:embed="rId30"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871008" y="2901167"/>
            <a:ext cx="545935" cy="360000"/>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10" descr="Flyway (software) - Wikipedia">
            <a:extLst>
              <a:ext uri="{FF2B5EF4-FFF2-40B4-BE49-F238E27FC236}">
                <a16:creationId xmlns:a16="http://schemas.microsoft.com/office/drawing/2014/main" id="{C8C05ECE-D2ED-4084-89F3-5DB603C030C3}"/>
              </a:ext>
            </a:extLst>
          </p:cNvPr>
          <p:cNvPicPr>
            <a:picLocks noChangeAspect="1" noChangeArrowheads="1"/>
          </p:cNvPicPr>
          <p:nvPr/>
        </p:nvPicPr>
        <p:blipFill>
          <a:blip r:embed="rId31"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359763" y="2871407"/>
            <a:ext cx="511245" cy="406440"/>
          </a:xfrm>
          <a:prstGeom prst="rect">
            <a:avLst/>
          </a:prstGeom>
          <a:noFill/>
          <a:extLst>
            <a:ext uri="{909E8E84-426E-40DD-AFC4-6F175D3DCCD1}">
              <a14:hiddenFill xmlns:a14="http://schemas.microsoft.com/office/drawing/2010/main">
                <a:solidFill>
                  <a:srgbClr val="FFFFFF"/>
                </a:solidFill>
              </a14:hiddenFill>
            </a:ext>
          </a:extLst>
        </p:spPr>
      </p:pic>
      <p:pic>
        <p:nvPicPr>
          <p:cNvPr id="37894" name="Picture 6" descr="Branding Guidelines (Draft WIP) | OWASP">
            <a:extLst>
              <a:ext uri="{FF2B5EF4-FFF2-40B4-BE49-F238E27FC236}">
                <a16:creationId xmlns:a16="http://schemas.microsoft.com/office/drawing/2014/main" id="{ECA8E031-C4DE-49C3-98F8-336E375E2F06}"/>
              </a:ext>
            </a:extLst>
          </p:cNvPr>
          <p:cNvPicPr>
            <a:picLocks noChangeAspect="1" noChangeArrowheads="1"/>
          </p:cNvPicPr>
          <p:nvPr/>
        </p:nvPicPr>
        <p:blipFill>
          <a:blip r:embed="rId32"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710231" y="2855669"/>
            <a:ext cx="725763" cy="252505"/>
          </a:xfrm>
          <a:prstGeom prst="rect">
            <a:avLst/>
          </a:prstGeom>
          <a:noFill/>
          <a:extLst>
            <a:ext uri="{909E8E84-426E-40DD-AFC4-6F175D3DCCD1}">
              <a14:hiddenFill xmlns:a14="http://schemas.microsoft.com/office/drawing/2010/main">
                <a:solidFill>
                  <a:srgbClr val="FFFFFF"/>
                </a:solidFill>
              </a14:hiddenFill>
            </a:ext>
          </a:extLst>
        </p:spPr>
      </p:pic>
      <p:pic>
        <p:nvPicPr>
          <p:cNvPr id="37896" name="Picture 8">
            <a:extLst>
              <a:ext uri="{FF2B5EF4-FFF2-40B4-BE49-F238E27FC236}">
                <a16:creationId xmlns:a16="http://schemas.microsoft.com/office/drawing/2014/main" id="{B7DD6AF4-1615-4535-807F-237487883906}"/>
              </a:ext>
            </a:extLst>
          </p:cNvPr>
          <p:cNvPicPr>
            <a:picLocks noChangeAspect="1" noChangeArrowheads="1"/>
          </p:cNvPicPr>
          <p:nvPr/>
        </p:nvPicPr>
        <p:blipFill>
          <a:blip r:embed="rId33"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133631" y="2494295"/>
            <a:ext cx="661499" cy="167442"/>
          </a:xfrm>
          <a:prstGeom prst="rect">
            <a:avLst/>
          </a:prstGeom>
          <a:noFill/>
          <a:extLst>
            <a:ext uri="{909E8E84-426E-40DD-AFC4-6F175D3DCCD1}">
              <a14:hiddenFill xmlns:a14="http://schemas.microsoft.com/office/drawing/2010/main">
                <a:solidFill>
                  <a:srgbClr val="FFFFFF"/>
                </a:solidFill>
              </a14:hiddenFill>
            </a:ext>
          </a:extLst>
        </p:spPr>
      </p:pic>
      <p:pic>
        <p:nvPicPr>
          <p:cNvPr id="37898" name="Picture 10" descr="Press Kit | Atlassian">
            <a:extLst>
              <a:ext uri="{FF2B5EF4-FFF2-40B4-BE49-F238E27FC236}">
                <a16:creationId xmlns:a16="http://schemas.microsoft.com/office/drawing/2014/main" id="{9ECAA01F-D03E-4060-B5BB-87503731390E}"/>
              </a:ext>
            </a:extLst>
          </p:cNvPr>
          <p:cNvPicPr>
            <a:picLocks noChangeAspect="1" noChangeArrowheads="1"/>
          </p:cNvPicPr>
          <p:nvPr/>
        </p:nvPicPr>
        <p:blipFill>
          <a:blip r:embed="rId34"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148118" y="2517890"/>
            <a:ext cx="810336" cy="116805"/>
          </a:xfrm>
          <a:prstGeom prst="rect">
            <a:avLst/>
          </a:prstGeom>
          <a:noFill/>
          <a:extLst>
            <a:ext uri="{909E8E84-426E-40DD-AFC4-6F175D3DCCD1}">
              <a14:hiddenFill xmlns:a14="http://schemas.microsoft.com/office/drawing/2010/main">
                <a:solidFill>
                  <a:srgbClr val="FFFFFF"/>
                </a:solidFill>
              </a14:hiddenFill>
            </a:ext>
          </a:extLst>
        </p:spPr>
      </p:pic>
      <p:pic>
        <p:nvPicPr>
          <p:cNvPr id="37903" name="Picture 15" descr="How to install Node.js 7 and NPM 4 on CentOS 6/7, Debian 8 and Ubuntu 16">
            <a:extLst>
              <a:ext uri="{FF2B5EF4-FFF2-40B4-BE49-F238E27FC236}">
                <a16:creationId xmlns:a16="http://schemas.microsoft.com/office/drawing/2014/main" id="{7873FB91-1337-4A7F-8995-6F82AEF761CD}"/>
              </a:ext>
            </a:extLst>
          </p:cNvPr>
          <p:cNvPicPr>
            <a:picLocks noChangeAspect="1" noChangeArrowheads="1"/>
          </p:cNvPicPr>
          <p:nvPr/>
        </p:nvPicPr>
        <p:blipFill>
          <a:blip r:embed="rId35"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992296" y="2803150"/>
            <a:ext cx="926045" cy="360000"/>
          </a:xfrm>
          <a:prstGeom prst="rect">
            <a:avLst/>
          </a:prstGeom>
          <a:noFill/>
          <a:extLst>
            <a:ext uri="{909E8E84-426E-40DD-AFC4-6F175D3DCCD1}">
              <a14:hiddenFill xmlns:a14="http://schemas.microsoft.com/office/drawing/2010/main">
                <a:solidFill>
                  <a:srgbClr val="FFFFFF"/>
                </a:solidFill>
              </a14:hiddenFill>
            </a:ext>
          </a:extLst>
        </p:spPr>
      </p:pic>
      <p:pic>
        <p:nvPicPr>
          <p:cNvPr id="37905" name="Picture 17" descr="PowerMock (Android). Often, in order to write unit tests… | by Gioacchino  Lonardo | Medium">
            <a:extLst>
              <a:ext uri="{FF2B5EF4-FFF2-40B4-BE49-F238E27FC236}">
                <a16:creationId xmlns:a16="http://schemas.microsoft.com/office/drawing/2014/main" id="{D068A2D2-A3E1-43A2-9A0A-99C002C43726}"/>
              </a:ext>
            </a:extLst>
          </p:cNvPr>
          <p:cNvPicPr>
            <a:picLocks noChangeAspect="1" noChangeArrowheads="1"/>
          </p:cNvPicPr>
          <p:nvPr/>
        </p:nvPicPr>
        <p:blipFill>
          <a:blip r:embed="rId3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024516" y="2835505"/>
            <a:ext cx="493019" cy="2473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8098776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BDDBD55-D176-40A1-9548-C576E248F9E5}"/>
              </a:ext>
            </a:extLst>
          </p:cNvPr>
          <p:cNvGraphicFramePr>
            <a:graphicFrameLocks noChangeAspect="1"/>
          </p:cNvGraphicFramePr>
          <p:nvPr>
            <p:custDataLst>
              <p:tags r:id="rId2"/>
            </p:custDataLst>
            <p:extLst>
              <p:ext uri="{D42A27DB-BD31-4B8C-83A1-F6EECF244321}">
                <p14:modId xmlns:p14="http://schemas.microsoft.com/office/powerpoint/2010/main" val="16366295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1166" name="think-cell Slide" r:id="rId5" imgW="360" imgH="360" progId="TCLayout.ActiveDocument.1">
                  <p:embed/>
                </p:oleObj>
              </mc:Choice>
              <mc:Fallback>
                <p:oleObj name="think-cell Slide" r:id="rId5" imgW="360" imgH="360" progId="TCLayout.ActiveDocument.1">
                  <p:embed/>
                  <p:pic>
                    <p:nvPicPr>
                      <p:cNvPr id="10" name="Object 9" hidden="1">
                        <a:extLst>
                          <a:ext uri="{FF2B5EF4-FFF2-40B4-BE49-F238E27FC236}">
                            <a16:creationId xmlns:a16="http://schemas.microsoft.com/office/drawing/2014/main" id="{6BDDBD55-D176-40A1-9548-C576E248F9E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BC0CE8C-C7F9-45A7-9430-A94C45512BCE}"/>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sz="2400" b="1" dirty="0">
              <a:latin typeface="UniCredit" panose="02000506040000020004" pitchFamily="2" charset="0"/>
              <a:ea typeface="+mj-ea"/>
              <a:cs typeface="Arial" panose="020B0604020202020204" pitchFamily="34" charset="0"/>
              <a:sym typeface="UniCredit" panose="02000506040000020004" pitchFamily="2" charset="0"/>
            </a:endParaRPr>
          </a:p>
        </p:txBody>
      </p:sp>
      <p:sp>
        <p:nvSpPr>
          <p:cNvPr id="4" name="Slide Number Placeholder 3"/>
          <p:cNvSpPr>
            <a:spLocks noGrp="1"/>
          </p:cNvSpPr>
          <p:nvPr>
            <p:ph type="sldNum" sz="quarter" idx="11"/>
          </p:nvPr>
        </p:nvSpPr>
        <p:spPr/>
        <p:txBody>
          <a:bodyPr/>
          <a:lstStyle/>
          <a:p>
            <a:pPr>
              <a:defRPr/>
            </a:pPr>
            <a:fld id="{1D1043DC-2681-49D5-9D69-158B3FA3398E}" type="slidenum">
              <a:rPr lang="en-GB" noProof="1" smtClean="0"/>
              <a:pPr>
                <a:defRPr/>
              </a:pPr>
              <a:t>16</a:t>
            </a:fld>
            <a:endParaRPr lang="en-GB" noProof="1"/>
          </a:p>
        </p:txBody>
      </p:sp>
      <p:sp>
        <p:nvSpPr>
          <p:cNvPr id="6" name="Title 5"/>
          <p:cNvSpPr>
            <a:spLocks noGrp="1"/>
          </p:cNvSpPr>
          <p:nvPr>
            <p:ph type="title"/>
          </p:nvPr>
        </p:nvSpPr>
        <p:spPr/>
        <p:txBody>
          <a:bodyPr/>
          <a:lstStyle/>
          <a:p>
            <a:r>
              <a:rPr lang="de-DE" dirty="0"/>
              <a:t>Automation </a:t>
            </a:r>
            <a:r>
              <a:rPr lang="de-DE" dirty="0" err="1"/>
              <a:t>pipelines</a:t>
            </a:r>
            <a:r>
              <a:rPr lang="de-DE" dirty="0"/>
              <a:t> </a:t>
            </a:r>
            <a:r>
              <a:rPr lang="de-DE" dirty="0" err="1"/>
              <a:t>with</a:t>
            </a:r>
            <a:r>
              <a:rPr lang="de-DE" dirty="0"/>
              <a:t> Jenkins</a:t>
            </a:r>
          </a:p>
        </p:txBody>
      </p:sp>
      <p:pic>
        <p:nvPicPr>
          <p:cNvPr id="8" name="Picture 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793492" y="169477"/>
            <a:ext cx="312581" cy="432048"/>
          </a:xfrm>
          <a:prstGeom prst="rect">
            <a:avLst/>
          </a:prstGeom>
        </p:spPr>
      </p:pic>
      <p:sp>
        <p:nvSpPr>
          <p:cNvPr id="16" name="Round Diagonal Corner Rectangle 57"/>
          <p:cNvSpPr/>
          <p:nvPr/>
        </p:nvSpPr>
        <p:spPr>
          <a:xfrm>
            <a:off x="0" y="878972"/>
            <a:ext cx="9144000" cy="1182932"/>
          </a:xfrm>
          <a:prstGeom prst="rect">
            <a:avLst/>
          </a:prstGeom>
          <a:solidFill>
            <a:schemeClr val="accent1"/>
          </a:solidFill>
          <a:ln w="3175">
            <a:solidFill>
              <a:schemeClr val="accent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56000" tIns="72000" rIns="108000" bIns="72000" rtlCol="0" anchor="ctr"/>
          <a:lstStyle/>
          <a:p>
            <a:r>
              <a:rPr lang="en-US" sz="1400" dirty="0">
                <a:solidFill>
                  <a:schemeClr val="bg1"/>
                </a:solidFill>
              </a:rPr>
              <a:t>The </a:t>
            </a:r>
            <a:r>
              <a:rPr lang="en-US" sz="1400" b="1" dirty="0">
                <a:solidFill>
                  <a:schemeClr val="bg1"/>
                </a:solidFill>
              </a:rPr>
              <a:t>automation pipeline </a:t>
            </a:r>
            <a:r>
              <a:rPr lang="en-US" sz="1400" dirty="0">
                <a:solidFill>
                  <a:schemeClr val="bg1"/>
                </a:solidFill>
              </a:rPr>
              <a:t>main goal is to </a:t>
            </a:r>
            <a:r>
              <a:rPr lang="en-US" sz="1400" b="1" dirty="0">
                <a:solidFill>
                  <a:schemeClr val="bg1"/>
                </a:solidFill>
              </a:rPr>
              <a:t>reduce the time </a:t>
            </a:r>
            <a:r>
              <a:rPr lang="en-US" sz="1400" dirty="0">
                <a:solidFill>
                  <a:schemeClr val="bg1"/>
                </a:solidFill>
              </a:rPr>
              <a:t>to get </a:t>
            </a:r>
            <a:r>
              <a:rPr lang="en-US" sz="1400" b="1" dirty="0">
                <a:solidFill>
                  <a:schemeClr val="bg1"/>
                </a:solidFill>
              </a:rPr>
              <a:t>feedback </a:t>
            </a:r>
            <a:r>
              <a:rPr lang="en-US" sz="1400" dirty="0">
                <a:solidFill>
                  <a:schemeClr val="bg1"/>
                </a:solidFill>
              </a:rPr>
              <a:t>on </a:t>
            </a:r>
            <a:r>
              <a:rPr lang="en-US" sz="1400" b="1" dirty="0">
                <a:solidFill>
                  <a:schemeClr val="bg1"/>
                </a:solidFill>
              </a:rPr>
              <a:t>changes</a:t>
            </a:r>
            <a:r>
              <a:rPr lang="en-US" sz="1400" dirty="0">
                <a:solidFill>
                  <a:schemeClr val="bg1"/>
                </a:solidFill>
              </a:rPr>
              <a:t>. At every commit you get in a </a:t>
            </a:r>
            <a:r>
              <a:rPr lang="en-US" sz="1400" b="1" dirty="0">
                <a:solidFill>
                  <a:schemeClr val="bg1"/>
                </a:solidFill>
              </a:rPr>
              <a:t>matter of minutes </a:t>
            </a:r>
            <a:r>
              <a:rPr lang="en-US" sz="1400" dirty="0">
                <a:solidFill>
                  <a:schemeClr val="bg1"/>
                </a:solidFill>
              </a:rPr>
              <a:t>the entire set of </a:t>
            </a:r>
            <a:r>
              <a:rPr lang="en-US" sz="1400" b="1" dirty="0">
                <a:solidFill>
                  <a:schemeClr val="bg1"/>
                </a:solidFill>
              </a:rPr>
              <a:t>build</a:t>
            </a:r>
            <a:r>
              <a:rPr lang="en-US" sz="1400" dirty="0">
                <a:solidFill>
                  <a:schemeClr val="bg1"/>
                </a:solidFill>
              </a:rPr>
              <a:t>, </a:t>
            </a:r>
            <a:r>
              <a:rPr lang="en-US" sz="1400" b="1" dirty="0">
                <a:solidFill>
                  <a:schemeClr val="bg1"/>
                </a:solidFill>
              </a:rPr>
              <a:t>test</a:t>
            </a:r>
            <a:r>
              <a:rPr lang="en-US" sz="1400" dirty="0">
                <a:solidFill>
                  <a:schemeClr val="bg1"/>
                </a:solidFill>
              </a:rPr>
              <a:t>, </a:t>
            </a:r>
            <a:r>
              <a:rPr lang="en-US" sz="1400" b="1" dirty="0">
                <a:solidFill>
                  <a:schemeClr val="bg1"/>
                </a:solidFill>
              </a:rPr>
              <a:t>scan </a:t>
            </a:r>
            <a:r>
              <a:rPr lang="en-US" sz="1400" dirty="0">
                <a:solidFill>
                  <a:schemeClr val="bg1"/>
                </a:solidFill>
              </a:rPr>
              <a:t>and </a:t>
            </a:r>
            <a:r>
              <a:rPr lang="en-US" sz="1400" b="1" dirty="0">
                <a:solidFill>
                  <a:schemeClr val="bg1"/>
                </a:solidFill>
              </a:rPr>
              <a:t>deploy</a:t>
            </a:r>
            <a:r>
              <a:rPr lang="en-US" sz="1400" dirty="0">
                <a:solidFill>
                  <a:schemeClr val="bg1"/>
                </a:solidFill>
              </a:rPr>
              <a:t>. Introduced </a:t>
            </a:r>
            <a:r>
              <a:rPr lang="en-US" sz="1400" b="1" dirty="0">
                <a:solidFill>
                  <a:schemeClr val="bg1"/>
                </a:solidFill>
              </a:rPr>
              <a:t>4 pipeline </a:t>
            </a:r>
            <a:r>
              <a:rPr lang="en-US" sz="1400" dirty="0">
                <a:solidFill>
                  <a:schemeClr val="bg1"/>
                </a:solidFill>
              </a:rPr>
              <a:t>families triggered basing on the GIT branch and repo:</a:t>
            </a:r>
          </a:p>
          <a:p>
            <a:pPr marL="461963" indent="-285750">
              <a:buClr>
                <a:schemeClr val="bg1"/>
              </a:buClr>
              <a:buFont typeface="Wingdings" panose="05000000000000000000" pitchFamily="2" charset="2"/>
              <a:buChar char="§"/>
            </a:pPr>
            <a:r>
              <a:rPr lang="en-US" sz="1400" dirty="0">
                <a:solidFill>
                  <a:schemeClr val="bg1"/>
                </a:solidFill>
              </a:rPr>
              <a:t>CI only, or CI/CD</a:t>
            </a:r>
          </a:p>
          <a:p>
            <a:pPr marL="461963" indent="-285750">
              <a:buClr>
                <a:schemeClr val="bg1"/>
              </a:buClr>
              <a:buFont typeface="Wingdings" panose="05000000000000000000" pitchFamily="2" charset="2"/>
              <a:buChar char="§"/>
            </a:pPr>
            <a:r>
              <a:rPr lang="en-US" sz="1400" dirty="0">
                <a:solidFill>
                  <a:schemeClr val="bg1"/>
                </a:solidFill>
              </a:rPr>
              <a:t>for Java </a:t>
            </a:r>
            <a:r>
              <a:rPr lang="en-US" sz="1400" dirty="0" err="1">
                <a:solidFill>
                  <a:schemeClr val="bg1"/>
                </a:solidFill>
              </a:rPr>
              <a:t>BackEnd</a:t>
            </a:r>
            <a:r>
              <a:rPr lang="en-US" sz="1400" dirty="0">
                <a:solidFill>
                  <a:schemeClr val="bg1"/>
                </a:solidFill>
              </a:rPr>
              <a:t> or for Angular </a:t>
            </a:r>
            <a:r>
              <a:rPr lang="en-US" sz="1400" dirty="0" err="1">
                <a:solidFill>
                  <a:schemeClr val="bg1"/>
                </a:solidFill>
              </a:rPr>
              <a:t>FrontEnd</a:t>
            </a:r>
            <a:endParaRPr lang="en-US" sz="1400" dirty="0">
              <a:solidFill>
                <a:schemeClr val="bg1"/>
              </a:solidFill>
            </a:endParaRPr>
          </a:p>
        </p:txBody>
      </p:sp>
      <p:pic>
        <p:nvPicPr>
          <p:cNvPr id="17" name="Immagine 11" descr="55a bianco-01.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8174" y="1211087"/>
            <a:ext cx="518703" cy="518703"/>
          </a:xfrm>
          <a:prstGeom prst="ellipse">
            <a:avLst/>
          </a:prstGeom>
          <a:solidFill>
            <a:srgbClr val="00AFD0"/>
          </a:solidFill>
          <a:ln w="12700">
            <a:solidFill>
              <a:schemeClr val="bg1"/>
            </a:solidFill>
          </a:ln>
          <a:effectLst>
            <a:outerShdw blurRad="50800" dist="38100" dir="2700000" algn="tl" rotWithShape="0">
              <a:prstClr val="black">
                <a:alpha val="40000"/>
              </a:prstClr>
            </a:outerShdw>
          </a:effectLst>
        </p:spPr>
      </p:pic>
      <p:pic>
        <p:nvPicPr>
          <p:cNvPr id="18" name="Picture 17"/>
          <p:cNvPicPr>
            <a:picLocks noChangeAspect="1"/>
          </p:cNvPicPr>
          <p:nvPr/>
        </p:nvPicPr>
        <p:blipFill rotWithShape="1">
          <a:blip r:embed="rId9">
            <a:extLst>
              <a:ext uri="{28A0092B-C50C-407E-A947-70E740481C1C}">
                <a14:useLocalDpi xmlns:a14="http://schemas.microsoft.com/office/drawing/2010/main" val="0"/>
              </a:ext>
            </a:extLst>
          </a:blip>
          <a:srcRect l="2066" t="14525" r="3512"/>
          <a:stretch/>
        </p:blipFill>
        <p:spPr>
          <a:xfrm>
            <a:off x="270000" y="2514768"/>
            <a:ext cx="5712709" cy="1899054"/>
          </a:xfrm>
          <a:prstGeom prst="rect">
            <a:avLst/>
          </a:prstGeom>
        </p:spPr>
      </p:pic>
      <p:sp>
        <p:nvSpPr>
          <p:cNvPr id="19" name="Freeform 57">
            <a:extLst>
              <a:ext uri="{FF2B5EF4-FFF2-40B4-BE49-F238E27FC236}">
                <a16:creationId xmlns:a16="http://schemas.microsoft.com/office/drawing/2014/main" id="{8E2B920A-33B2-4DAD-B68D-423B53E153A7}"/>
              </a:ext>
            </a:extLst>
          </p:cNvPr>
          <p:cNvSpPr>
            <a:spLocks noEditPoints="1"/>
          </p:cNvSpPr>
          <p:nvPr/>
        </p:nvSpPr>
        <p:spPr bwMode="auto">
          <a:xfrm>
            <a:off x="6116450" y="4086793"/>
            <a:ext cx="421472" cy="327029"/>
          </a:xfrm>
          <a:custGeom>
            <a:avLst/>
            <a:gdLst>
              <a:gd name="T0" fmla="*/ 3610 w 3967"/>
              <a:gd name="T1" fmla="*/ 1075 h 2865"/>
              <a:gd name="T2" fmla="*/ 3610 w 3967"/>
              <a:gd name="T3" fmla="*/ 1791 h 2865"/>
              <a:gd name="T4" fmla="*/ 2498 w 3967"/>
              <a:gd name="T5" fmla="*/ 2824 h 2865"/>
              <a:gd name="T6" fmla="*/ 2440 w 3967"/>
              <a:gd name="T7" fmla="*/ 2734 h 2865"/>
              <a:gd name="T8" fmla="*/ 2403 w 3967"/>
              <a:gd name="T9" fmla="*/ 2636 h 2865"/>
              <a:gd name="T10" fmla="*/ 2387 w 3967"/>
              <a:gd name="T11" fmla="*/ 2533 h 2865"/>
              <a:gd name="T12" fmla="*/ 2393 w 3967"/>
              <a:gd name="T13" fmla="*/ 2430 h 2865"/>
              <a:gd name="T14" fmla="*/ 2418 w 3967"/>
              <a:gd name="T15" fmla="*/ 2328 h 2865"/>
              <a:gd name="T16" fmla="*/ 2467 w 3967"/>
              <a:gd name="T17" fmla="*/ 2233 h 2865"/>
              <a:gd name="T18" fmla="*/ 2535 w 3967"/>
              <a:gd name="T19" fmla="*/ 2149 h 2865"/>
              <a:gd name="T20" fmla="*/ 2535 w 3967"/>
              <a:gd name="T21" fmla="*/ 716 h 2865"/>
              <a:gd name="T22" fmla="*/ 2467 w 3967"/>
              <a:gd name="T23" fmla="*/ 631 h 2865"/>
              <a:gd name="T24" fmla="*/ 2418 w 3967"/>
              <a:gd name="T25" fmla="*/ 537 h 2865"/>
              <a:gd name="T26" fmla="*/ 2393 w 3967"/>
              <a:gd name="T27" fmla="*/ 436 h 2865"/>
              <a:gd name="T28" fmla="*/ 2387 w 3967"/>
              <a:gd name="T29" fmla="*/ 332 h 2865"/>
              <a:gd name="T30" fmla="*/ 2403 w 3967"/>
              <a:gd name="T31" fmla="*/ 230 h 2865"/>
              <a:gd name="T32" fmla="*/ 2440 w 3967"/>
              <a:gd name="T33" fmla="*/ 132 h 2865"/>
              <a:gd name="T34" fmla="*/ 2498 w 3967"/>
              <a:gd name="T35" fmla="*/ 41 h 2865"/>
              <a:gd name="T36" fmla="*/ 1341 w 3967"/>
              <a:gd name="T37" fmla="*/ 0 h 2865"/>
              <a:gd name="T38" fmla="*/ 2774 w 3967"/>
              <a:gd name="T39" fmla="*/ 1432 h 2865"/>
              <a:gd name="T40" fmla="*/ 1341 w 3967"/>
              <a:gd name="T41" fmla="*/ 2865 h 2865"/>
              <a:gd name="T42" fmla="*/ 1273 w 3967"/>
              <a:gd name="T43" fmla="*/ 2780 h 2865"/>
              <a:gd name="T44" fmla="*/ 1226 w 3967"/>
              <a:gd name="T45" fmla="*/ 2686 h 2865"/>
              <a:gd name="T46" fmla="*/ 1199 w 3967"/>
              <a:gd name="T47" fmla="*/ 2585 h 2865"/>
              <a:gd name="T48" fmla="*/ 1193 w 3967"/>
              <a:gd name="T49" fmla="*/ 2481 h 2865"/>
              <a:gd name="T50" fmla="*/ 1210 w 3967"/>
              <a:gd name="T51" fmla="*/ 2379 h 2865"/>
              <a:gd name="T52" fmla="*/ 1246 w 3967"/>
              <a:gd name="T53" fmla="*/ 2281 h 2865"/>
              <a:gd name="T54" fmla="*/ 1304 w 3967"/>
              <a:gd name="T55" fmla="*/ 2190 h 2865"/>
              <a:gd name="T56" fmla="*/ 2061 w 3967"/>
              <a:gd name="T57" fmla="*/ 1433 h 2865"/>
              <a:gd name="T58" fmla="*/ 1304 w 3967"/>
              <a:gd name="T59" fmla="*/ 675 h 2865"/>
              <a:gd name="T60" fmla="*/ 1246 w 3967"/>
              <a:gd name="T61" fmla="*/ 585 h 2865"/>
              <a:gd name="T62" fmla="*/ 1210 w 3967"/>
              <a:gd name="T63" fmla="*/ 487 h 2865"/>
              <a:gd name="T64" fmla="*/ 1193 w 3967"/>
              <a:gd name="T65" fmla="*/ 384 h 2865"/>
              <a:gd name="T66" fmla="*/ 1199 w 3967"/>
              <a:gd name="T67" fmla="*/ 281 h 2865"/>
              <a:gd name="T68" fmla="*/ 1226 w 3967"/>
              <a:gd name="T69" fmla="*/ 180 h 2865"/>
              <a:gd name="T70" fmla="*/ 1273 w 3967"/>
              <a:gd name="T71" fmla="*/ 86 h 2865"/>
              <a:gd name="T72" fmla="*/ 1341 w 3967"/>
              <a:gd name="T73" fmla="*/ 0 h 2865"/>
              <a:gd name="T74" fmla="*/ 1222 w 3967"/>
              <a:gd name="T75" fmla="*/ 1075 h 2865"/>
              <a:gd name="T76" fmla="*/ 1222 w 3967"/>
              <a:gd name="T77" fmla="*/ 1791 h 2865"/>
              <a:gd name="T78" fmla="*/ 111 w 3967"/>
              <a:gd name="T79" fmla="*/ 2824 h 2865"/>
              <a:gd name="T80" fmla="*/ 52 w 3967"/>
              <a:gd name="T81" fmla="*/ 2734 h 2865"/>
              <a:gd name="T82" fmla="*/ 16 w 3967"/>
              <a:gd name="T83" fmla="*/ 2636 h 2865"/>
              <a:gd name="T84" fmla="*/ 0 w 3967"/>
              <a:gd name="T85" fmla="*/ 2533 h 2865"/>
              <a:gd name="T86" fmla="*/ 5 w 3967"/>
              <a:gd name="T87" fmla="*/ 2430 h 2865"/>
              <a:gd name="T88" fmla="*/ 32 w 3967"/>
              <a:gd name="T89" fmla="*/ 2328 h 2865"/>
              <a:gd name="T90" fmla="*/ 79 w 3967"/>
              <a:gd name="T91" fmla="*/ 2233 h 2865"/>
              <a:gd name="T92" fmla="*/ 147 w 3967"/>
              <a:gd name="T93" fmla="*/ 2149 h 2865"/>
              <a:gd name="T94" fmla="*/ 147 w 3967"/>
              <a:gd name="T95" fmla="*/ 716 h 2865"/>
              <a:gd name="T96" fmla="*/ 79 w 3967"/>
              <a:gd name="T97" fmla="*/ 631 h 2865"/>
              <a:gd name="T98" fmla="*/ 32 w 3967"/>
              <a:gd name="T99" fmla="*/ 537 h 2865"/>
              <a:gd name="T100" fmla="*/ 5 w 3967"/>
              <a:gd name="T101" fmla="*/ 436 h 2865"/>
              <a:gd name="T102" fmla="*/ 0 w 3967"/>
              <a:gd name="T103" fmla="*/ 332 h 2865"/>
              <a:gd name="T104" fmla="*/ 16 w 3967"/>
              <a:gd name="T105" fmla="*/ 230 h 2865"/>
              <a:gd name="T106" fmla="*/ 52 w 3967"/>
              <a:gd name="T107" fmla="*/ 132 h 2865"/>
              <a:gd name="T108" fmla="*/ 111 w 3967"/>
              <a:gd name="T109" fmla="*/ 41 h 2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967" h="2865">
                <a:moveTo>
                  <a:pt x="2535" y="0"/>
                </a:moveTo>
                <a:lnTo>
                  <a:pt x="3610" y="1075"/>
                </a:lnTo>
                <a:lnTo>
                  <a:pt x="3967" y="1432"/>
                </a:lnTo>
                <a:lnTo>
                  <a:pt x="3610" y="1791"/>
                </a:lnTo>
                <a:lnTo>
                  <a:pt x="2535" y="2865"/>
                </a:lnTo>
                <a:lnTo>
                  <a:pt x="2498" y="2824"/>
                </a:lnTo>
                <a:lnTo>
                  <a:pt x="2467" y="2780"/>
                </a:lnTo>
                <a:lnTo>
                  <a:pt x="2440" y="2734"/>
                </a:lnTo>
                <a:lnTo>
                  <a:pt x="2418" y="2686"/>
                </a:lnTo>
                <a:lnTo>
                  <a:pt x="2403" y="2636"/>
                </a:lnTo>
                <a:lnTo>
                  <a:pt x="2393" y="2585"/>
                </a:lnTo>
                <a:lnTo>
                  <a:pt x="2387" y="2533"/>
                </a:lnTo>
                <a:lnTo>
                  <a:pt x="2387" y="2481"/>
                </a:lnTo>
                <a:lnTo>
                  <a:pt x="2393" y="2430"/>
                </a:lnTo>
                <a:lnTo>
                  <a:pt x="2403" y="2379"/>
                </a:lnTo>
                <a:lnTo>
                  <a:pt x="2418" y="2328"/>
                </a:lnTo>
                <a:lnTo>
                  <a:pt x="2440" y="2281"/>
                </a:lnTo>
                <a:lnTo>
                  <a:pt x="2467" y="2233"/>
                </a:lnTo>
                <a:lnTo>
                  <a:pt x="2498" y="2190"/>
                </a:lnTo>
                <a:lnTo>
                  <a:pt x="2535" y="2149"/>
                </a:lnTo>
                <a:lnTo>
                  <a:pt x="3255" y="1433"/>
                </a:lnTo>
                <a:lnTo>
                  <a:pt x="2535" y="716"/>
                </a:lnTo>
                <a:lnTo>
                  <a:pt x="2498" y="675"/>
                </a:lnTo>
                <a:lnTo>
                  <a:pt x="2467" y="631"/>
                </a:lnTo>
                <a:lnTo>
                  <a:pt x="2440" y="585"/>
                </a:lnTo>
                <a:lnTo>
                  <a:pt x="2418" y="537"/>
                </a:lnTo>
                <a:lnTo>
                  <a:pt x="2403" y="487"/>
                </a:lnTo>
                <a:lnTo>
                  <a:pt x="2393" y="436"/>
                </a:lnTo>
                <a:lnTo>
                  <a:pt x="2387" y="384"/>
                </a:lnTo>
                <a:lnTo>
                  <a:pt x="2387" y="332"/>
                </a:lnTo>
                <a:lnTo>
                  <a:pt x="2393" y="281"/>
                </a:lnTo>
                <a:lnTo>
                  <a:pt x="2403" y="230"/>
                </a:lnTo>
                <a:lnTo>
                  <a:pt x="2418" y="180"/>
                </a:lnTo>
                <a:lnTo>
                  <a:pt x="2440" y="132"/>
                </a:lnTo>
                <a:lnTo>
                  <a:pt x="2467" y="86"/>
                </a:lnTo>
                <a:lnTo>
                  <a:pt x="2498" y="41"/>
                </a:lnTo>
                <a:lnTo>
                  <a:pt x="2535" y="0"/>
                </a:lnTo>
                <a:close/>
                <a:moveTo>
                  <a:pt x="1341" y="0"/>
                </a:moveTo>
                <a:lnTo>
                  <a:pt x="2416" y="1075"/>
                </a:lnTo>
                <a:lnTo>
                  <a:pt x="2774" y="1432"/>
                </a:lnTo>
                <a:lnTo>
                  <a:pt x="2416" y="1791"/>
                </a:lnTo>
                <a:lnTo>
                  <a:pt x="1341" y="2865"/>
                </a:lnTo>
                <a:lnTo>
                  <a:pt x="1304" y="2824"/>
                </a:lnTo>
                <a:lnTo>
                  <a:pt x="1273" y="2780"/>
                </a:lnTo>
                <a:lnTo>
                  <a:pt x="1246" y="2734"/>
                </a:lnTo>
                <a:lnTo>
                  <a:pt x="1226" y="2686"/>
                </a:lnTo>
                <a:lnTo>
                  <a:pt x="1210" y="2636"/>
                </a:lnTo>
                <a:lnTo>
                  <a:pt x="1199" y="2585"/>
                </a:lnTo>
                <a:lnTo>
                  <a:pt x="1193" y="2533"/>
                </a:lnTo>
                <a:lnTo>
                  <a:pt x="1193" y="2481"/>
                </a:lnTo>
                <a:lnTo>
                  <a:pt x="1199" y="2430"/>
                </a:lnTo>
                <a:lnTo>
                  <a:pt x="1210" y="2379"/>
                </a:lnTo>
                <a:lnTo>
                  <a:pt x="1226" y="2328"/>
                </a:lnTo>
                <a:lnTo>
                  <a:pt x="1246" y="2281"/>
                </a:lnTo>
                <a:lnTo>
                  <a:pt x="1273" y="2233"/>
                </a:lnTo>
                <a:lnTo>
                  <a:pt x="1304" y="2190"/>
                </a:lnTo>
                <a:lnTo>
                  <a:pt x="1341" y="2149"/>
                </a:lnTo>
                <a:lnTo>
                  <a:pt x="2061" y="1433"/>
                </a:lnTo>
                <a:lnTo>
                  <a:pt x="1341" y="716"/>
                </a:lnTo>
                <a:lnTo>
                  <a:pt x="1304" y="675"/>
                </a:lnTo>
                <a:lnTo>
                  <a:pt x="1273" y="631"/>
                </a:lnTo>
                <a:lnTo>
                  <a:pt x="1246" y="585"/>
                </a:lnTo>
                <a:lnTo>
                  <a:pt x="1226" y="537"/>
                </a:lnTo>
                <a:lnTo>
                  <a:pt x="1210" y="487"/>
                </a:lnTo>
                <a:lnTo>
                  <a:pt x="1199" y="436"/>
                </a:lnTo>
                <a:lnTo>
                  <a:pt x="1193" y="384"/>
                </a:lnTo>
                <a:lnTo>
                  <a:pt x="1193" y="332"/>
                </a:lnTo>
                <a:lnTo>
                  <a:pt x="1199" y="281"/>
                </a:lnTo>
                <a:lnTo>
                  <a:pt x="1210" y="230"/>
                </a:lnTo>
                <a:lnTo>
                  <a:pt x="1226" y="180"/>
                </a:lnTo>
                <a:lnTo>
                  <a:pt x="1246" y="132"/>
                </a:lnTo>
                <a:lnTo>
                  <a:pt x="1273" y="86"/>
                </a:lnTo>
                <a:lnTo>
                  <a:pt x="1304" y="41"/>
                </a:lnTo>
                <a:lnTo>
                  <a:pt x="1341" y="0"/>
                </a:lnTo>
                <a:close/>
                <a:moveTo>
                  <a:pt x="147" y="0"/>
                </a:moveTo>
                <a:lnTo>
                  <a:pt x="1222" y="1075"/>
                </a:lnTo>
                <a:lnTo>
                  <a:pt x="1580" y="1432"/>
                </a:lnTo>
                <a:lnTo>
                  <a:pt x="1222" y="1791"/>
                </a:lnTo>
                <a:lnTo>
                  <a:pt x="147" y="2865"/>
                </a:lnTo>
                <a:lnTo>
                  <a:pt x="111" y="2824"/>
                </a:lnTo>
                <a:lnTo>
                  <a:pt x="79" y="2780"/>
                </a:lnTo>
                <a:lnTo>
                  <a:pt x="52" y="2734"/>
                </a:lnTo>
                <a:lnTo>
                  <a:pt x="32" y="2686"/>
                </a:lnTo>
                <a:lnTo>
                  <a:pt x="16" y="2636"/>
                </a:lnTo>
                <a:lnTo>
                  <a:pt x="5" y="2585"/>
                </a:lnTo>
                <a:lnTo>
                  <a:pt x="0" y="2533"/>
                </a:lnTo>
                <a:lnTo>
                  <a:pt x="0" y="2481"/>
                </a:lnTo>
                <a:lnTo>
                  <a:pt x="5" y="2430"/>
                </a:lnTo>
                <a:lnTo>
                  <a:pt x="16" y="2379"/>
                </a:lnTo>
                <a:lnTo>
                  <a:pt x="32" y="2328"/>
                </a:lnTo>
                <a:lnTo>
                  <a:pt x="52" y="2281"/>
                </a:lnTo>
                <a:lnTo>
                  <a:pt x="79" y="2233"/>
                </a:lnTo>
                <a:lnTo>
                  <a:pt x="111" y="2190"/>
                </a:lnTo>
                <a:lnTo>
                  <a:pt x="147" y="2149"/>
                </a:lnTo>
                <a:lnTo>
                  <a:pt x="867" y="1433"/>
                </a:lnTo>
                <a:lnTo>
                  <a:pt x="147" y="716"/>
                </a:lnTo>
                <a:lnTo>
                  <a:pt x="111" y="675"/>
                </a:lnTo>
                <a:lnTo>
                  <a:pt x="79" y="631"/>
                </a:lnTo>
                <a:lnTo>
                  <a:pt x="52" y="585"/>
                </a:lnTo>
                <a:lnTo>
                  <a:pt x="32" y="537"/>
                </a:lnTo>
                <a:lnTo>
                  <a:pt x="16" y="487"/>
                </a:lnTo>
                <a:lnTo>
                  <a:pt x="5" y="436"/>
                </a:lnTo>
                <a:lnTo>
                  <a:pt x="0" y="384"/>
                </a:lnTo>
                <a:lnTo>
                  <a:pt x="0" y="332"/>
                </a:lnTo>
                <a:lnTo>
                  <a:pt x="5" y="281"/>
                </a:lnTo>
                <a:lnTo>
                  <a:pt x="16" y="230"/>
                </a:lnTo>
                <a:lnTo>
                  <a:pt x="32" y="180"/>
                </a:lnTo>
                <a:lnTo>
                  <a:pt x="52" y="132"/>
                </a:lnTo>
                <a:lnTo>
                  <a:pt x="79" y="86"/>
                </a:lnTo>
                <a:lnTo>
                  <a:pt x="111" y="41"/>
                </a:lnTo>
                <a:lnTo>
                  <a:pt x="147" y="0"/>
                </a:lnTo>
                <a:close/>
              </a:path>
            </a:pathLst>
          </a:custGeom>
          <a:solidFill>
            <a:srgbClr val="FF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p>
        </p:txBody>
      </p:sp>
      <p:sp>
        <p:nvSpPr>
          <p:cNvPr id="20" name="Freeform 57">
            <a:extLst>
              <a:ext uri="{FF2B5EF4-FFF2-40B4-BE49-F238E27FC236}">
                <a16:creationId xmlns:a16="http://schemas.microsoft.com/office/drawing/2014/main" id="{8E2B920A-33B2-4DAD-B68D-423B53E153A7}"/>
              </a:ext>
            </a:extLst>
          </p:cNvPr>
          <p:cNvSpPr>
            <a:spLocks noEditPoints="1"/>
          </p:cNvSpPr>
          <p:nvPr/>
        </p:nvSpPr>
        <p:spPr bwMode="auto">
          <a:xfrm>
            <a:off x="6116450" y="3300781"/>
            <a:ext cx="421472" cy="327029"/>
          </a:xfrm>
          <a:custGeom>
            <a:avLst/>
            <a:gdLst>
              <a:gd name="T0" fmla="*/ 3610 w 3967"/>
              <a:gd name="T1" fmla="*/ 1075 h 2865"/>
              <a:gd name="T2" fmla="*/ 3610 w 3967"/>
              <a:gd name="T3" fmla="*/ 1791 h 2865"/>
              <a:gd name="T4" fmla="*/ 2498 w 3967"/>
              <a:gd name="T5" fmla="*/ 2824 h 2865"/>
              <a:gd name="T6" fmla="*/ 2440 w 3967"/>
              <a:gd name="T7" fmla="*/ 2734 h 2865"/>
              <a:gd name="T8" fmla="*/ 2403 w 3967"/>
              <a:gd name="T9" fmla="*/ 2636 h 2865"/>
              <a:gd name="T10" fmla="*/ 2387 w 3967"/>
              <a:gd name="T11" fmla="*/ 2533 h 2865"/>
              <a:gd name="T12" fmla="*/ 2393 w 3967"/>
              <a:gd name="T13" fmla="*/ 2430 h 2865"/>
              <a:gd name="T14" fmla="*/ 2418 w 3967"/>
              <a:gd name="T15" fmla="*/ 2328 h 2865"/>
              <a:gd name="T16" fmla="*/ 2467 w 3967"/>
              <a:gd name="T17" fmla="*/ 2233 h 2865"/>
              <a:gd name="T18" fmla="*/ 2535 w 3967"/>
              <a:gd name="T19" fmla="*/ 2149 h 2865"/>
              <a:gd name="T20" fmla="*/ 2535 w 3967"/>
              <a:gd name="T21" fmla="*/ 716 h 2865"/>
              <a:gd name="T22" fmla="*/ 2467 w 3967"/>
              <a:gd name="T23" fmla="*/ 631 h 2865"/>
              <a:gd name="T24" fmla="*/ 2418 w 3967"/>
              <a:gd name="T25" fmla="*/ 537 h 2865"/>
              <a:gd name="T26" fmla="*/ 2393 w 3967"/>
              <a:gd name="T27" fmla="*/ 436 h 2865"/>
              <a:gd name="T28" fmla="*/ 2387 w 3967"/>
              <a:gd name="T29" fmla="*/ 332 h 2865"/>
              <a:gd name="T30" fmla="*/ 2403 w 3967"/>
              <a:gd name="T31" fmla="*/ 230 h 2865"/>
              <a:gd name="T32" fmla="*/ 2440 w 3967"/>
              <a:gd name="T33" fmla="*/ 132 h 2865"/>
              <a:gd name="T34" fmla="*/ 2498 w 3967"/>
              <a:gd name="T35" fmla="*/ 41 h 2865"/>
              <a:gd name="T36" fmla="*/ 1341 w 3967"/>
              <a:gd name="T37" fmla="*/ 0 h 2865"/>
              <a:gd name="T38" fmla="*/ 2774 w 3967"/>
              <a:gd name="T39" fmla="*/ 1432 h 2865"/>
              <a:gd name="T40" fmla="*/ 1341 w 3967"/>
              <a:gd name="T41" fmla="*/ 2865 h 2865"/>
              <a:gd name="T42" fmla="*/ 1273 w 3967"/>
              <a:gd name="T43" fmla="*/ 2780 h 2865"/>
              <a:gd name="T44" fmla="*/ 1226 w 3967"/>
              <a:gd name="T45" fmla="*/ 2686 h 2865"/>
              <a:gd name="T46" fmla="*/ 1199 w 3967"/>
              <a:gd name="T47" fmla="*/ 2585 h 2865"/>
              <a:gd name="T48" fmla="*/ 1193 w 3967"/>
              <a:gd name="T49" fmla="*/ 2481 h 2865"/>
              <a:gd name="T50" fmla="*/ 1210 w 3967"/>
              <a:gd name="T51" fmla="*/ 2379 h 2865"/>
              <a:gd name="T52" fmla="*/ 1246 w 3967"/>
              <a:gd name="T53" fmla="*/ 2281 h 2865"/>
              <a:gd name="T54" fmla="*/ 1304 w 3967"/>
              <a:gd name="T55" fmla="*/ 2190 h 2865"/>
              <a:gd name="T56" fmla="*/ 2061 w 3967"/>
              <a:gd name="T57" fmla="*/ 1433 h 2865"/>
              <a:gd name="T58" fmla="*/ 1304 w 3967"/>
              <a:gd name="T59" fmla="*/ 675 h 2865"/>
              <a:gd name="T60" fmla="*/ 1246 w 3967"/>
              <a:gd name="T61" fmla="*/ 585 h 2865"/>
              <a:gd name="T62" fmla="*/ 1210 w 3967"/>
              <a:gd name="T63" fmla="*/ 487 h 2865"/>
              <a:gd name="T64" fmla="*/ 1193 w 3967"/>
              <a:gd name="T65" fmla="*/ 384 h 2865"/>
              <a:gd name="T66" fmla="*/ 1199 w 3967"/>
              <a:gd name="T67" fmla="*/ 281 h 2865"/>
              <a:gd name="T68" fmla="*/ 1226 w 3967"/>
              <a:gd name="T69" fmla="*/ 180 h 2865"/>
              <a:gd name="T70" fmla="*/ 1273 w 3967"/>
              <a:gd name="T71" fmla="*/ 86 h 2865"/>
              <a:gd name="T72" fmla="*/ 1341 w 3967"/>
              <a:gd name="T73" fmla="*/ 0 h 2865"/>
              <a:gd name="T74" fmla="*/ 1222 w 3967"/>
              <a:gd name="T75" fmla="*/ 1075 h 2865"/>
              <a:gd name="T76" fmla="*/ 1222 w 3967"/>
              <a:gd name="T77" fmla="*/ 1791 h 2865"/>
              <a:gd name="T78" fmla="*/ 111 w 3967"/>
              <a:gd name="T79" fmla="*/ 2824 h 2865"/>
              <a:gd name="T80" fmla="*/ 52 w 3967"/>
              <a:gd name="T81" fmla="*/ 2734 h 2865"/>
              <a:gd name="T82" fmla="*/ 16 w 3967"/>
              <a:gd name="T83" fmla="*/ 2636 h 2865"/>
              <a:gd name="T84" fmla="*/ 0 w 3967"/>
              <a:gd name="T85" fmla="*/ 2533 h 2865"/>
              <a:gd name="T86" fmla="*/ 5 w 3967"/>
              <a:gd name="T87" fmla="*/ 2430 h 2865"/>
              <a:gd name="T88" fmla="*/ 32 w 3967"/>
              <a:gd name="T89" fmla="*/ 2328 h 2865"/>
              <a:gd name="T90" fmla="*/ 79 w 3967"/>
              <a:gd name="T91" fmla="*/ 2233 h 2865"/>
              <a:gd name="T92" fmla="*/ 147 w 3967"/>
              <a:gd name="T93" fmla="*/ 2149 h 2865"/>
              <a:gd name="T94" fmla="*/ 147 w 3967"/>
              <a:gd name="T95" fmla="*/ 716 h 2865"/>
              <a:gd name="T96" fmla="*/ 79 w 3967"/>
              <a:gd name="T97" fmla="*/ 631 h 2865"/>
              <a:gd name="T98" fmla="*/ 32 w 3967"/>
              <a:gd name="T99" fmla="*/ 537 h 2865"/>
              <a:gd name="T100" fmla="*/ 5 w 3967"/>
              <a:gd name="T101" fmla="*/ 436 h 2865"/>
              <a:gd name="T102" fmla="*/ 0 w 3967"/>
              <a:gd name="T103" fmla="*/ 332 h 2865"/>
              <a:gd name="T104" fmla="*/ 16 w 3967"/>
              <a:gd name="T105" fmla="*/ 230 h 2865"/>
              <a:gd name="T106" fmla="*/ 52 w 3967"/>
              <a:gd name="T107" fmla="*/ 132 h 2865"/>
              <a:gd name="T108" fmla="*/ 111 w 3967"/>
              <a:gd name="T109" fmla="*/ 41 h 2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967" h="2865">
                <a:moveTo>
                  <a:pt x="2535" y="0"/>
                </a:moveTo>
                <a:lnTo>
                  <a:pt x="3610" y="1075"/>
                </a:lnTo>
                <a:lnTo>
                  <a:pt x="3967" y="1432"/>
                </a:lnTo>
                <a:lnTo>
                  <a:pt x="3610" y="1791"/>
                </a:lnTo>
                <a:lnTo>
                  <a:pt x="2535" y="2865"/>
                </a:lnTo>
                <a:lnTo>
                  <a:pt x="2498" y="2824"/>
                </a:lnTo>
                <a:lnTo>
                  <a:pt x="2467" y="2780"/>
                </a:lnTo>
                <a:lnTo>
                  <a:pt x="2440" y="2734"/>
                </a:lnTo>
                <a:lnTo>
                  <a:pt x="2418" y="2686"/>
                </a:lnTo>
                <a:lnTo>
                  <a:pt x="2403" y="2636"/>
                </a:lnTo>
                <a:lnTo>
                  <a:pt x="2393" y="2585"/>
                </a:lnTo>
                <a:lnTo>
                  <a:pt x="2387" y="2533"/>
                </a:lnTo>
                <a:lnTo>
                  <a:pt x="2387" y="2481"/>
                </a:lnTo>
                <a:lnTo>
                  <a:pt x="2393" y="2430"/>
                </a:lnTo>
                <a:lnTo>
                  <a:pt x="2403" y="2379"/>
                </a:lnTo>
                <a:lnTo>
                  <a:pt x="2418" y="2328"/>
                </a:lnTo>
                <a:lnTo>
                  <a:pt x="2440" y="2281"/>
                </a:lnTo>
                <a:lnTo>
                  <a:pt x="2467" y="2233"/>
                </a:lnTo>
                <a:lnTo>
                  <a:pt x="2498" y="2190"/>
                </a:lnTo>
                <a:lnTo>
                  <a:pt x="2535" y="2149"/>
                </a:lnTo>
                <a:lnTo>
                  <a:pt x="3255" y="1433"/>
                </a:lnTo>
                <a:lnTo>
                  <a:pt x="2535" y="716"/>
                </a:lnTo>
                <a:lnTo>
                  <a:pt x="2498" y="675"/>
                </a:lnTo>
                <a:lnTo>
                  <a:pt x="2467" y="631"/>
                </a:lnTo>
                <a:lnTo>
                  <a:pt x="2440" y="585"/>
                </a:lnTo>
                <a:lnTo>
                  <a:pt x="2418" y="537"/>
                </a:lnTo>
                <a:lnTo>
                  <a:pt x="2403" y="487"/>
                </a:lnTo>
                <a:lnTo>
                  <a:pt x="2393" y="436"/>
                </a:lnTo>
                <a:lnTo>
                  <a:pt x="2387" y="384"/>
                </a:lnTo>
                <a:lnTo>
                  <a:pt x="2387" y="332"/>
                </a:lnTo>
                <a:lnTo>
                  <a:pt x="2393" y="281"/>
                </a:lnTo>
                <a:lnTo>
                  <a:pt x="2403" y="230"/>
                </a:lnTo>
                <a:lnTo>
                  <a:pt x="2418" y="180"/>
                </a:lnTo>
                <a:lnTo>
                  <a:pt x="2440" y="132"/>
                </a:lnTo>
                <a:lnTo>
                  <a:pt x="2467" y="86"/>
                </a:lnTo>
                <a:lnTo>
                  <a:pt x="2498" y="41"/>
                </a:lnTo>
                <a:lnTo>
                  <a:pt x="2535" y="0"/>
                </a:lnTo>
                <a:close/>
                <a:moveTo>
                  <a:pt x="1341" y="0"/>
                </a:moveTo>
                <a:lnTo>
                  <a:pt x="2416" y="1075"/>
                </a:lnTo>
                <a:lnTo>
                  <a:pt x="2774" y="1432"/>
                </a:lnTo>
                <a:lnTo>
                  <a:pt x="2416" y="1791"/>
                </a:lnTo>
                <a:lnTo>
                  <a:pt x="1341" y="2865"/>
                </a:lnTo>
                <a:lnTo>
                  <a:pt x="1304" y="2824"/>
                </a:lnTo>
                <a:lnTo>
                  <a:pt x="1273" y="2780"/>
                </a:lnTo>
                <a:lnTo>
                  <a:pt x="1246" y="2734"/>
                </a:lnTo>
                <a:lnTo>
                  <a:pt x="1226" y="2686"/>
                </a:lnTo>
                <a:lnTo>
                  <a:pt x="1210" y="2636"/>
                </a:lnTo>
                <a:lnTo>
                  <a:pt x="1199" y="2585"/>
                </a:lnTo>
                <a:lnTo>
                  <a:pt x="1193" y="2533"/>
                </a:lnTo>
                <a:lnTo>
                  <a:pt x="1193" y="2481"/>
                </a:lnTo>
                <a:lnTo>
                  <a:pt x="1199" y="2430"/>
                </a:lnTo>
                <a:lnTo>
                  <a:pt x="1210" y="2379"/>
                </a:lnTo>
                <a:lnTo>
                  <a:pt x="1226" y="2328"/>
                </a:lnTo>
                <a:lnTo>
                  <a:pt x="1246" y="2281"/>
                </a:lnTo>
                <a:lnTo>
                  <a:pt x="1273" y="2233"/>
                </a:lnTo>
                <a:lnTo>
                  <a:pt x="1304" y="2190"/>
                </a:lnTo>
                <a:lnTo>
                  <a:pt x="1341" y="2149"/>
                </a:lnTo>
                <a:lnTo>
                  <a:pt x="2061" y="1433"/>
                </a:lnTo>
                <a:lnTo>
                  <a:pt x="1341" y="716"/>
                </a:lnTo>
                <a:lnTo>
                  <a:pt x="1304" y="675"/>
                </a:lnTo>
                <a:lnTo>
                  <a:pt x="1273" y="631"/>
                </a:lnTo>
                <a:lnTo>
                  <a:pt x="1246" y="585"/>
                </a:lnTo>
                <a:lnTo>
                  <a:pt x="1226" y="537"/>
                </a:lnTo>
                <a:lnTo>
                  <a:pt x="1210" y="487"/>
                </a:lnTo>
                <a:lnTo>
                  <a:pt x="1199" y="436"/>
                </a:lnTo>
                <a:lnTo>
                  <a:pt x="1193" y="384"/>
                </a:lnTo>
                <a:lnTo>
                  <a:pt x="1193" y="332"/>
                </a:lnTo>
                <a:lnTo>
                  <a:pt x="1199" y="281"/>
                </a:lnTo>
                <a:lnTo>
                  <a:pt x="1210" y="230"/>
                </a:lnTo>
                <a:lnTo>
                  <a:pt x="1226" y="180"/>
                </a:lnTo>
                <a:lnTo>
                  <a:pt x="1246" y="132"/>
                </a:lnTo>
                <a:lnTo>
                  <a:pt x="1273" y="86"/>
                </a:lnTo>
                <a:lnTo>
                  <a:pt x="1304" y="41"/>
                </a:lnTo>
                <a:lnTo>
                  <a:pt x="1341" y="0"/>
                </a:lnTo>
                <a:close/>
                <a:moveTo>
                  <a:pt x="147" y="0"/>
                </a:moveTo>
                <a:lnTo>
                  <a:pt x="1222" y="1075"/>
                </a:lnTo>
                <a:lnTo>
                  <a:pt x="1580" y="1432"/>
                </a:lnTo>
                <a:lnTo>
                  <a:pt x="1222" y="1791"/>
                </a:lnTo>
                <a:lnTo>
                  <a:pt x="147" y="2865"/>
                </a:lnTo>
                <a:lnTo>
                  <a:pt x="111" y="2824"/>
                </a:lnTo>
                <a:lnTo>
                  <a:pt x="79" y="2780"/>
                </a:lnTo>
                <a:lnTo>
                  <a:pt x="52" y="2734"/>
                </a:lnTo>
                <a:lnTo>
                  <a:pt x="32" y="2686"/>
                </a:lnTo>
                <a:lnTo>
                  <a:pt x="16" y="2636"/>
                </a:lnTo>
                <a:lnTo>
                  <a:pt x="5" y="2585"/>
                </a:lnTo>
                <a:lnTo>
                  <a:pt x="0" y="2533"/>
                </a:lnTo>
                <a:lnTo>
                  <a:pt x="0" y="2481"/>
                </a:lnTo>
                <a:lnTo>
                  <a:pt x="5" y="2430"/>
                </a:lnTo>
                <a:lnTo>
                  <a:pt x="16" y="2379"/>
                </a:lnTo>
                <a:lnTo>
                  <a:pt x="32" y="2328"/>
                </a:lnTo>
                <a:lnTo>
                  <a:pt x="52" y="2281"/>
                </a:lnTo>
                <a:lnTo>
                  <a:pt x="79" y="2233"/>
                </a:lnTo>
                <a:lnTo>
                  <a:pt x="111" y="2190"/>
                </a:lnTo>
                <a:lnTo>
                  <a:pt x="147" y="2149"/>
                </a:lnTo>
                <a:lnTo>
                  <a:pt x="867" y="1433"/>
                </a:lnTo>
                <a:lnTo>
                  <a:pt x="147" y="716"/>
                </a:lnTo>
                <a:lnTo>
                  <a:pt x="111" y="675"/>
                </a:lnTo>
                <a:lnTo>
                  <a:pt x="79" y="631"/>
                </a:lnTo>
                <a:lnTo>
                  <a:pt x="52" y="585"/>
                </a:lnTo>
                <a:lnTo>
                  <a:pt x="32" y="537"/>
                </a:lnTo>
                <a:lnTo>
                  <a:pt x="16" y="487"/>
                </a:lnTo>
                <a:lnTo>
                  <a:pt x="5" y="436"/>
                </a:lnTo>
                <a:lnTo>
                  <a:pt x="0" y="384"/>
                </a:lnTo>
                <a:lnTo>
                  <a:pt x="0" y="332"/>
                </a:lnTo>
                <a:lnTo>
                  <a:pt x="5" y="281"/>
                </a:lnTo>
                <a:lnTo>
                  <a:pt x="16" y="230"/>
                </a:lnTo>
                <a:lnTo>
                  <a:pt x="32" y="180"/>
                </a:lnTo>
                <a:lnTo>
                  <a:pt x="52" y="132"/>
                </a:lnTo>
                <a:lnTo>
                  <a:pt x="79" y="86"/>
                </a:lnTo>
                <a:lnTo>
                  <a:pt x="111" y="41"/>
                </a:lnTo>
                <a:lnTo>
                  <a:pt x="147" y="0"/>
                </a:lnTo>
                <a:close/>
              </a:path>
            </a:pathLst>
          </a:custGeom>
          <a:solidFill>
            <a:srgbClr val="FF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p>
        </p:txBody>
      </p:sp>
      <p:sp>
        <p:nvSpPr>
          <p:cNvPr id="21" name="Freeform 57">
            <a:extLst>
              <a:ext uri="{FF2B5EF4-FFF2-40B4-BE49-F238E27FC236}">
                <a16:creationId xmlns:a16="http://schemas.microsoft.com/office/drawing/2014/main" id="{8E2B920A-33B2-4DAD-B68D-423B53E153A7}"/>
              </a:ext>
            </a:extLst>
          </p:cNvPr>
          <p:cNvSpPr>
            <a:spLocks noEditPoints="1"/>
          </p:cNvSpPr>
          <p:nvPr/>
        </p:nvSpPr>
        <p:spPr bwMode="auto">
          <a:xfrm>
            <a:off x="6116450" y="2567233"/>
            <a:ext cx="421472" cy="327029"/>
          </a:xfrm>
          <a:custGeom>
            <a:avLst/>
            <a:gdLst>
              <a:gd name="T0" fmla="*/ 3610 w 3967"/>
              <a:gd name="T1" fmla="*/ 1075 h 2865"/>
              <a:gd name="T2" fmla="*/ 3610 w 3967"/>
              <a:gd name="T3" fmla="*/ 1791 h 2865"/>
              <a:gd name="T4" fmla="*/ 2498 w 3967"/>
              <a:gd name="T5" fmla="*/ 2824 h 2865"/>
              <a:gd name="T6" fmla="*/ 2440 w 3967"/>
              <a:gd name="T7" fmla="*/ 2734 h 2865"/>
              <a:gd name="T8" fmla="*/ 2403 w 3967"/>
              <a:gd name="T9" fmla="*/ 2636 h 2865"/>
              <a:gd name="T10" fmla="*/ 2387 w 3967"/>
              <a:gd name="T11" fmla="*/ 2533 h 2865"/>
              <a:gd name="T12" fmla="*/ 2393 w 3967"/>
              <a:gd name="T13" fmla="*/ 2430 h 2865"/>
              <a:gd name="T14" fmla="*/ 2418 w 3967"/>
              <a:gd name="T15" fmla="*/ 2328 h 2865"/>
              <a:gd name="T16" fmla="*/ 2467 w 3967"/>
              <a:gd name="T17" fmla="*/ 2233 h 2865"/>
              <a:gd name="T18" fmla="*/ 2535 w 3967"/>
              <a:gd name="T19" fmla="*/ 2149 h 2865"/>
              <a:gd name="T20" fmla="*/ 2535 w 3967"/>
              <a:gd name="T21" fmla="*/ 716 h 2865"/>
              <a:gd name="T22" fmla="*/ 2467 w 3967"/>
              <a:gd name="T23" fmla="*/ 631 h 2865"/>
              <a:gd name="T24" fmla="*/ 2418 w 3967"/>
              <a:gd name="T25" fmla="*/ 537 h 2865"/>
              <a:gd name="T26" fmla="*/ 2393 w 3967"/>
              <a:gd name="T27" fmla="*/ 436 h 2865"/>
              <a:gd name="T28" fmla="*/ 2387 w 3967"/>
              <a:gd name="T29" fmla="*/ 332 h 2865"/>
              <a:gd name="T30" fmla="*/ 2403 w 3967"/>
              <a:gd name="T31" fmla="*/ 230 h 2865"/>
              <a:gd name="T32" fmla="*/ 2440 w 3967"/>
              <a:gd name="T33" fmla="*/ 132 h 2865"/>
              <a:gd name="T34" fmla="*/ 2498 w 3967"/>
              <a:gd name="T35" fmla="*/ 41 h 2865"/>
              <a:gd name="T36" fmla="*/ 1341 w 3967"/>
              <a:gd name="T37" fmla="*/ 0 h 2865"/>
              <a:gd name="T38" fmla="*/ 2774 w 3967"/>
              <a:gd name="T39" fmla="*/ 1432 h 2865"/>
              <a:gd name="T40" fmla="*/ 1341 w 3967"/>
              <a:gd name="T41" fmla="*/ 2865 h 2865"/>
              <a:gd name="T42" fmla="*/ 1273 w 3967"/>
              <a:gd name="T43" fmla="*/ 2780 h 2865"/>
              <a:gd name="T44" fmla="*/ 1226 w 3967"/>
              <a:gd name="T45" fmla="*/ 2686 h 2865"/>
              <a:gd name="T46" fmla="*/ 1199 w 3967"/>
              <a:gd name="T47" fmla="*/ 2585 h 2865"/>
              <a:gd name="T48" fmla="*/ 1193 w 3967"/>
              <a:gd name="T49" fmla="*/ 2481 h 2865"/>
              <a:gd name="T50" fmla="*/ 1210 w 3967"/>
              <a:gd name="T51" fmla="*/ 2379 h 2865"/>
              <a:gd name="T52" fmla="*/ 1246 w 3967"/>
              <a:gd name="T53" fmla="*/ 2281 h 2865"/>
              <a:gd name="T54" fmla="*/ 1304 w 3967"/>
              <a:gd name="T55" fmla="*/ 2190 h 2865"/>
              <a:gd name="T56" fmla="*/ 2061 w 3967"/>
              <a:gd name="T57" fmla="*/ 1433 h 2865"/>
              <a:gd name="T58" fmla="*/ 1304 w 3967"/>
              <a:gd name="T59" fmla="*/ 675 h 2865"/>
              <a:gd name="T60" fmla="*/ 1246 w 3967"/>
              <a:gd name="T61" fmla="*/ 585 h 2865"/>
              <a:gd name="T62" fmla="*/ 1210 w 3967"/>
              <a:gd name="T63" fmla="*/ 487 h 2865"/>
              <a:gd name="T64" fmla="*/ 1193 w 3967"/>
              <a:gd name="T65" fmla="*/ 384 h 2865"/>
              <a:gd name="T66" fmla="*/ 1199 w 3967"/>
              <a:gd name="T67" fmla="*/ 281 h 2865"/>
              <a:gd name="T68" fmla="*/ 1226 w 3967"/>
              <a:gd name="T69" fmla="*/ 180 h 2865"/>
              <a:gd name="T70" fmla="*/ 1273 w 3967"/>
              <a:gd name="T71" fmla="*/ 86 h 2865"/>
              <a:gd name="T72" fmla="*/ 1341 w 3967"/>
              <a:gd name="T73" fmla="*/ 0 h 2865"/>
              <a:gd name="T74" fmla="*/ 1222 w 3967"/>
              <a:gd name="T75" fmla="*/ 1075 h 2865"/>
              <a:gd name="T76" fmla="*/ 1222 w 3967"/>
              <a:gd name="T77" fmla="*/ 1791 h 2865"/>
              <a:gd name="T78" fmla="*/ 111 w 3967"/>
              <a:gd name="T79" fmla="*/ 2824 h 2865"/>
              <a:gd name="T80" fmla="*/ 52 w 3967"/>
              <a:gd name="T81" fmla="*/ 2734 h 2865"/>
              <a:gd name="T82" fmla="*/ 16 w 3967"/>
              <a:gd name="T83" fmla="*/ 2636 h 2865"/>
              <a:gd name="T84" fmla="*/ 0 w 3967"/>
              <a:gd name="T85" fmla="*/ 2533 h 2865"/>
              <a:gd name="T86" fmla="*/ 5 w 3967"/>
              <a:gd name="T87" fmla="*/ 2430 h 2865"/>
              <a:gd name="T88" fmla="*/ 32 w 3967"/>
              <a:gd name="T89" fmla="*/ 2328 h 2865"/>
              <a:gd name="T90" fmla="*/ 79 w 3967"/>
              <a:gd name="T91" fmla="*/ 2233 h 2865"/>
              <a:gd name="T92" fmla="*/ 147 w 3967"/>
              <a:gd name="T93" fmla="*/ 2149 h 2865"/>
              <a:gd name="T94" fmla="*/ 147 w 3967"/>
              <a:gd name="T95" fmla="*/ 716 h 2865"/>
              <a:gd name="T96" fmla="*/ 79 w 3967"/>
              <a:gd name="T97" fmla="*/ 631 h 2865"/>
              <a:gd name="T98" fmla="*/ 32 w 3967"/>
              <a:gd name="T99" fmla="*/ 537 h 2865"/>
              <a:gd name="T100" fmla="*/ 5 w 3967"/>
              <a:gd name="T101" fmla="*/ 436 h 2865"/>
              <a:gd name="T102" fmla="*/ 0 w 3967"/>
              <a:gd name="T103" fmla="*/ 332 h 2865"/>
              <a:gd name="T104" fmla="*/ 16 w 3967"/>
              <a:gd name="T105" fmla="*/ 230 h 2865"/>
              <a:gd name="T106" fmla="*/ 52 w 3967"/>
              <a:gd name="T107" fmla="*/ 132 h 2865"/>
              <a:gd name="T108" fmla="*/ 111 w 3967"/>
              <a:gd name="T109" fmla="*/ 41 h 2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967" h="2865">
                <a:moveTo>
                  <a:pt x="2535" y="0"/>
                </a:moveTo>
                <a:lnTo>
                  <a:pt x="3610" y="1075"/>
                </a:lnTo>
                <a:lnTo>
                  <a:pt x="3967" y="1432"/>
                </a:lnTo>
                <a:lnTo>
                  <a:pt x="3610" y="1791"/>
                </a:lnTo>
                <a:lnTo>
                  <a:pt x="2535" y="2865"/>
                </a:lnTo>
                <a:lnTo>
                  <a:pt x="2498" y="2824"/>
                </a:lnTo>
                <a:lnTo>
                  <a:pt x="2467" y="2780"/>
                </a:lnTo>
                <a:lnTo>
                  <a:pt x="2440" y="2734"/>
                </a:lnTo>
                <a:lnTo>
                  <a:pt x="2418" y="2686"/>
                </a:lnTo>
                <a:lnTo>
                  <a:pt x="2403" y="2636"/>
                </a:lnTo>
                <a:lnTo>
                  <a:pt x="2393" y="2585"/>
                </a:lnTo>
                <a:lnTo>
                  <a:pt x="2387" y="2533"/>
                </a:lnTo>
                <a:lnTo>
                  <a:pt x="2387" y="2481"/>
                </a:lnTo>
                <a:lnTo>
                  <a:pt x="2393" y="2430"/>
                </a:lnTo>
                <a:lnTo>
                  <a:pt x="2403" y="2379"/>
                </a:lnTo>
                <a:lnTo>
                  <a:pt x="2418" y="2328"/>
                </a:lnTo>
                <a:lnTo>
                  <a:pt x="2440" y="2281"/>
                </a:lnTo>
                <a:lnTo>
                  <a:pt x="2467" y="2233"/>
                </a:lnTo>
                <a:lnTo>
                  <a:pt x="2498" y="2190"/>
                </a:lnTo>
                <a:lnTo>
                  <a:pt x="2535" y="2149"/>
                </a:lnTo>
                <a:lnTo>
                  <a:pt x="3255" y="1433"/>
                </a:lnTo>
                <a:lnTo>
                  <a:pt x="2535" y="716"/>
                </a:lnTo>
                <a:lnTo>
                  <a:pt x="2498" y="675"/>
                </a:lnTo>
                <a:lnTo>
                  <a:pt x="2467" y="631"/>
                </a:lnTo>
                <a:lnTo>
                  <a:pt x="2440" y="585"/>
                </a:lnTo>
                <a:lnTo>
                  <a:pt x="2418" y="537"/>
                </a:lnTo>
                <a:lnTo>
                  <a:pt x="2403" y="487"/>
                </a:lnTo>
                <a:lnTo>
                  <a:pt x="2393" y="436"/>
                </a:lnTo>
                <a:lnTo>
                  <a:pt x="2387" y="384"/>
                </a:lnTo>
                <a:lnTo>
                  <a:pt x="2387" y="332"/>
                </a:lnTo>
                <a:lnTo>
                  <a:pt x="2393" y="281"/>
                </a:lnTo>
                <a:lnTo>
                  <a:pt x="2403" y="230"/>
                </a:lnTo>
                <a:lnTo>
                  <a:pt x="2418" y="180"/>
                </a:lnTo>
                <a:lnTo>
                  <a:pt x="2440" y="132"/>
                </a:lnTo>
                <a:lnTo>
                  <a:pt x="2467" y="86"/>
                </a:lnTo>
                <a:lnTo>
                  <a:pt x="2498" y="41"/>
                </a:lnTo>
                <a:lnTo>
                  <a:pt x="2535" y="0"/>
                </a:lnTo>
                <a:close/>
                <a:moveTo>
                  <a:pt x="1341" y="0"/>
                </a:moveTo>
                <a:lnTo>
                  <a:pt x="2416" y="1075"/>
                </a:lnTo>
                <a:lnTo>
                  <a:pt x="2774" y="1432"/>
                </a:lnTo>
                <a:lnTo>
                  <a:pt x="2416" y="1791"/>
                </a:lnTo>
                <a:lnTo>
                  <a:pt x="1341" y="2865"/>
                </a:lnTo>
                <a:lnTo>
                  <a:pt x="1304" y="2824"/>
                </a:lnTo>
                <a:lnTo>
                  <a:pt x="1273" y="2780"/>
                </a:lnTo>
                <a:lnTo>
                  <a:pt x="1246" y="2734"/>
                </a:lnTo>
                <a:lnTo>
                  <a:pt x="1226" y="2686"/>
                </a:lnTo>
                <a:lnTo>
                  <a:pt x="1210" y="2636"/>
                </a:lnTo>
                <a:lnTo>
                  <a:pt x="1199" y="2585"/>
                </a:lnTo>
                <a:lnTo>
                  <a:pt x="1193" y="2533"/>
                </a:lnTo>
                <a:lnTo>
                  <a:pt x="1193" y="2481"/>
                </a:lnTo>
                <a:lnTo>
                  <a:pt x="1199" y="2430"/>
                </a:lnTo>
                <a:lnTo>
                  <a:pt x="1210" y="2379"/>
                </a:lnTo>
                <a:lnTo>
                  <a:pt x="1226" y="2328"/>
                </a:lnTo>
                <a:lnTo>
                  <a:pt x="1246" y="2281"/>
                </a:lnTo>
                <a:lnTo>
                  <a:pt x="1273" y="2233"/>
                </a:lnTo>
                <a:lnTo>
                  <a:pt x="1304" y="2190"/>
                </a:lnTo>
                <a:lnTo>
                  <a:pt x="1341" y="2149"/>
                </a:lnTo>
                <a:lnTo>
                  <a:pt x="2061" y="1433"/>
                </a:lnTo>
                <a:lnTo>
                  <a:pt x="1341" y="716"/>
                </a:lnTo>
                <a:lnTo>
                  <a:pt x="1304" y="675"/>
                </a:lnTo>
                <a:lnTo>
                  <a:pt x="1273" y="631"/>
                </a:lnTo>
                <a:lnTo>
                  <a:pt x="1246" y="585"/>
                </a:lnTo>
                <a:lnTo>
                  <a:pt x="1226" y="537"/>
                </a:lnTo>
                <a:lnTo>
                  <a:pt x="1210" y="487"/>
                </a:lnTo>
                <a:lnTo>
                  <a:pt x="1199" y="436"/>
                </a:lnTo>
                <a:lnTo>
                  <a:pt x="1193" y="384"/>
                </a:lnTo>
                <a:lnTo>
                  <a:pt x="1193" y="332"/>
                </a:lnTo>
                <a:lnTo>
                  <a:pt x="1199" y="281"/>
                </a:lnTo>
                <a:lnTo>
                  <a:pt x="1210" y="230"/>
                </a:lnTo>
                <a:lnTo>
                  <a:pt x="1226" y="180"/>
                </a:lnTo>
                <a:lnTo>
                  <a:pt x="1246" y="132"/>
                </a:lnTo>
                <a:lnTo>
                  <a:pt x="1273" y="86"/>
                </a:lnTo>
                <a:lnTo>
                  <a:pt x="1304" y="41"/>
                </a:lnTo>
                <a:lnTo>
                  <a:pt x="1341" y="0"/>
                </a:lnTo>
                <a:close/>
                <a:moveTo>
                  <a:pt x="147" y="0"/>
                </a:moveTo>
                <a:lnTo>
                  <a:pt x="1222" y="1075"/>
                </a:lnTo>
                <a:lnTo>
                  <a:pt x="1580" y="1432"/>
                </a:lnTo>
                <a:lnTo>
                  <a:pt x="1222" y="1791"/>
                </a:lnTo>
                <a:lnTo>
                  <a:pt x="147" y="2865"/>
                </a:lnTo>
                <a:lnTo>
                  <a:pt x="111" y="2824"/>
                </a:lnTo>
                <a:lnTo>
                  <a:pt x="79" y="2780"/>
                </a:lnTo>
                <a:lnTo>
                  <a:pt x="52" y="2734"/>
                </a:lnTo>
                <a:lnTo>
                  <a:pt x="32" y="2686"/>
                </a:lnTo>
                <a:lnTo>
                  <a:pt x="16" y="2636"/>
                </a:lnTo>
                <a:lnTo>
                  <a:pt x="5" y="2585"/>
                </a:lnTo>
                <a:lnTo>
                  <a:pt x="0" y="2533"/>
                </a:lnTo>
                <a:lnTo>
                  <a:pt x="0" y="2481"/>
                </a:lnTo>
                <a:lnTo>
                  <a:pt x="5" y="2430"/>
                </a:lnTo>
                <a:lnTo>
                  <a:pt x="16" y="2379"/>
                </a:lnTo>
                <a:lnTo>
                  <a:pt x="32" y="2328"/>
                </a:lnTo>
                <a:lnTo>
                  <a:pt x="52" y="2281"/>
                </a:lnTo>
                <a:lnTo>
                  <a:pt x="79" y="2233"/>
                </a:lnTo>
                <a:lnTo>
                  <a:pt x="111" y="2190"/>
                </a:lnTo>
                <a:lnTo>
                  <a:pt x="147" y="2149"/>
                </a:lnTo>
                <a:lnTo>
                  <a:pt x="867" y="1433"/>
                </a:lnTo>
                <a:lnTo>
                  <a:pt x="147" y="716"/>
                </a:lnTo>
                <a:lnTo>
                  <a:pt x="111" y="675"/>
                </a:lnTo>
                <a:lnTo>
                  <a:pt x="79" y="631"/>
                </a:lnTo>
                <a:lnTo>
                  <a:pt x="52" y="585"/>
                </a:lnTo>
                <a:lnTo>
                  <a:pt x="32" y="537"/>
                </a:lnTo>
                <a:lnTo>
                  <a:pt x="16" y="487"/>
                </a:lnTo>
                <a:lnTo>
                  <a:pt x="5" y="436"/>
                </a:lnTo>
                <a:lnTo>
                  <a:pt x="0" y="384"/>
                </a:lnTo>
                <a:lnTo>
                  <a:pt x="0" y="332"/>
                </a:lnTo>
                <a:lnTo>
                  <a:pt x="5" y="281"/>
                </a:lnTo>
                <a:lnTo>
                  <a:pt x="16" y="230"/>
                </a:lnTo>
                <a:lnTo>
                  <a:pt x="32" y="180"/>
                </a:lnTo>
                <a:lnTo>
                  <a:pt x="52" y="132"/>
                </a:lnTo>
                <a:lnTo>
                  <a:pt x="79" y="86"/>
                </a:lnTo>
                <a:lnTo>
                  <a:pt x="111" y="41"/>
                </a:lnTo>
                <a:lnTo>
                  <a:pt x="147" y="0"/>
                </a:lnTo>
                <a:close/>
              </a:path>
            </a:pathLst>
          </a:custGeom>
          <a:solidFill>
            <a:srgbClr val="FF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p>
        </p:txBody>
      </p:sp>
      <p:sp>
        <p:nvSpPr>
          <p:cNvPr id="23" name="TextBox 22">
            <a:extLst>
              <a:ext uri="{FF2B5EF4-FFF2-40B4-BE49-F238E27FC236}">
                <a16:creationId xmlns:a16="http://schemas.microsoft.com/office/drawing/2014/main" id="{7741E76C-8EFF-42FA-A90C-5DC10962DA36}"/>
              </a:ext>
            </a:extLst>
          </p:cNvPr>
          <p:cNvSpPr txBox="1"/>
          <p:nvPr/>
        </p:nvSpPr>
        <p:spPr>
          <a:xfrm>
            <a:off x="6783049" y="2475632"/>
            <a:ext cx="2360951" cy="483285"/>
          </a:xfrm>
          <a:prstGeom prst="rect">
            <a:avLst/>
          </a:prstGeom>
          <a:solidFill>
            <a:schemeClr val="accent2"/>
          </a:solidFill>
          <a:ln>
            <a:solidFill>
              <a:schemeClr val="bg1"/>
            </a:solidFill>
          </a:ln>
        </p:spPr>
        <p:txBody>
          <a:bodyPr wrap="square" lIns="0" tIns="0" rIns="0" bIns="0" anchor="ctr">
            <a:noAutofit/>
          </a:bodyPr>
          <a:lstStyle>
            <a:defPPr>
              <a:defRPr lang="en-US"/>
            </a:defPPr>
            <a:lvl1pPr lvl="0">
              <a:defRPr>
                <a:solidFill>
                  <a:schemeClr val="bg1"/>
                </a:solidFill>
                <a:latin typeface="+mj-lt"/>
              </a:defRPr>
            </a:lvl1pPr>
          </a:lstStyle>
          <a:p>
            <a:pPr algn="ctr"/>
            <a:r>
              <a:rPr lang="de-DE" sz="1400" b="1" dirty="0">
                <a:solidFill>
                  <a:schemeClr val="tx1"/>
                </a:solidFill>
              </a:rPr>
              <a:t>Fail fast</a:t>
            </a:r>
          </a:p>
        </p:txBody>
      </p:sp>
      <p:sp>
        <p:nvSpPr>
          <p:cNvPr id="24" name="TextBox 23">
            <a:extLst>
              <a:ext uri="{FF2B5EF4-FFF2-40B4-BE49-F238E27FC236}">
                <a16:creationId xmlns:a16="http://schemas.microsoft.com/office/drawing/2014/main" id="{7741E76C-8EFF-42FA-A90C-5DC10962DA36}"/>
              </a:ext>
            </a:extLst>
          </p:cNvPr>
          <p:cNvSpPr txBox="1"/>
          <p:nvPr/>
        </p:nvSpPr>
        <p:spPr>
          <a:xfrm>
            <a:off x="6783049" y="3209180"/>
            <a:ext cx="2360951" cy="483285"/>
          </a:xfrm>
          <a:prstGeom prst="rect">
            <a:avLst/>
          </a:prstGeom>
          <a:solidFill>
            <a:schemeClr val="accent2"/>
          </a:solidFill>
          <a:ln>
            <a:solidFill>
              <a:schemeClr val="bg1"/>
            </a:solidFill>
          </a:ln>
        </p:spPr>
        <p:txBody>
          <a:bodyPr wrap="square" lIns="0" tIns="0" rIns="0" bIns="0" anchor="ctr">
            <a:noAutofit/>
          </a:bodyPr>
          <a:lstStyle>
            <a:defPPr>
              <a:defRPr lang="en-US"/>
            </a:defPPr>
            <a:lvl1pPr lvl="0">
              <a:defRPr>
                <a:solidFill>
                  <a:schemeClr val="bg1"/>
                </a:solidFill>
                <a:latin typeface="+mj-lt"/>
              </a:defRPr>
            </a:lvl1pPr>
          </a:lstStyle>
          <a:p>
            <a:pPr algn="ctr"/>
            <a:r>
              <a:rPr lang="de-DE" sz="1400" b="1" dirty="0">
                <a:solidFill>
                  <a:schemeClr val="tx1"/>
                </a:solidFill>
              </a:rPr>
              <a:t>Fail </a:t>
            </a:r>
            <a:r>
              <a:rPr lang="de-DE" sz="1400" b="1" dirty="0" err="1">
                <a:solidFill>
                  <a:schemeClr val="tx1"/>
                </a:solidFill>
              </a:rPr>
              <a:t>Often</a:t>
            </a:r>
            <a:endParaRPr lang="de-DE" sz="1400" b="1" dirty="0">
              <a:solidFill>
                <a:schemeClr val="tx1"/>
              </a:solidFill>
            </a:endParaRPr>
          </a:p>
        </p:txBody>
      </p:sp>
      <p:sp>
        <p:nvSpPr>
          <p:cNvPr id="25" name="TextBox 24">
            <a:extLst>
              <a:ext uri="{FF2B5EF4-FFF2-40B4-BE49-F238E27FC236}">
                <a16:creationId xmlns:a16="http://schemas.microsoft.com/office/drawing/2014/main" id="{7741E76C-8EFF-42FA-A90C-5DC10962DA36}"/>
              </a:ext>
            </a:extLst>
          </p:cNvPr>
          <p:cNvSpPr txBox="1"/>
          <p:nvPr/>
        </p:nvSpPr>
        <p:spPr>
          <a:xfrm>
            <a:off x="6783049" y="3995192"/>
            <a:ext cx="2360951" cy="483285"/>
          </a:xfrm>
          <a:prstGeom prst="rect">
            <a:avLst/>
          </a:prstGeom>
          <a:solidFill>
            <a:schemeClr val="accent2"/>
          </a:solidFill>
          <a:ln>
            <a:solidFill>
              <a:schemeClr val="bg1"/>
            </a:solidFill>
          </a:ln>
        </p:spPr>
        <p:txBody>
          <a:bodyPr wrap="square" lIns="0" tIns="0" rIns="0" bIns="0" anchor="ctr">
            <a:noAutofit/>
          </a:bodyPr>
          <a:lstStyle>
            <a:defPPr>
              <a:defRPr lang="en-US"/>
            </a:defPPr>
            <a:lvl1pPr lvl="0">
              <a:defRPr>
                <a:solidFill>
                  <a:schemeClr val="bg1"/>
                </a:solidFill>
                <a:latin typeface="+mj-lt"/>
              </a:defRPr>
            </a:lvl1pPr>
          </a:lstStyle>
          <a:p>
            <a:pPr algn="ctr"/>
            <a:r>
              <a:rPr lang="de-DE" sz="1400" b="1" dirty="0">
                <a:solidFill>
                  <a:schemeClr val="tx1"/>
                </a:solidFill>
              </a:rPr>
              <a:t>Push </a:t>
            </a:r>
            <a:r>
              <a:rPr lang="de-DE" sz="1400" b="1" dirty="0" err="1">
                <a:solidFill>
                  <a:schemeClr val="tx1"/>
                </a:solidFill>
              </a:rPr>
              <a:t>Atomic</a:t>
            </a:r>
            <a:r>
              <a:rPr lang="de-DE" sz="1400" b="1" dirty="0">
                <a:solidFill>
                  <a:schemeClr val="tx1"/>
                </a:solidFill>
              </a:rPr>
              <a:t> Things</a:t>
            </a:r>
          </a:p>
        </p:txBody>
      </p:sp>
    </p:spTree>
    <p:extLst>
      <p:ext uri="{BB962C8B-B14F-4D97-AF65-F5344CB8AC3E}">
        <p14:creationId xmlns:p14="http://schemas.microsoft.com/office/powerpoint/2010/main" val="386208693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Object 34" hidden="1">
            <a:extLst>
              <a:ext uri="{FF2B5EF4-FFF2-40B4-BE49-F238E27FC236}">
                <a16:creationId xmlns:a16="http://schemas.microsoft.com/office/drawing/2014/main" id="{4C781002-2313-4803-A01A-071A6AB2FB9B}"/>
              </a:ext>
            </a:extLst>
          </p:cNvPr>
          <p:cNvGraphicFramePr>
            <a:graphicFrameLocks noChangeAspect="1"/>
          </p:cNvGraphicFramePr>
          <p:nvPr>
            <p:custDataLst>
              <p:tags r:id="rId2"/>
            </p:custDataLst>
            <p:extLst>
              <p:ext uri="{D42A27DB-BD31-4B8C-83A1-F6EECF244321}">
                <p14:modId xmlns:p14="http://schemas.microsoft.com/office/powerpoint/2010/main" val="11470371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220" name="think-cell Slide" r:id="rId5" imgW="360" imgH="360" progId="TCLayout.ActiveDocument.1">
                  <p:embed/>
                </p:oleObj>
              </mc:Choice>
              <mc:Fallback>
                <p:oleObj name="think-cell Slide" r:id="rId5" imgW="360" imgH="360" progId="TCLayout.ActiveDocument.1">
                  <p:embed/>
                  <p:pic>
                    <p:nvPicPr>
                      <p:cNvPr id="35" name="Object 34" hidden="1">
                        <a:extLst>
                          <a:ext uri="{FF2B5EF4-FFF2-40B4-BE49-F238E27FC236}">
                            <a16:creationId xmlns:a16="http://schemas.microsoft.com/office/drawing/2014/main" id="{4C781002-2313-4803-A01A-071A6AB2FB9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6" name="Rectangle 35" hidden="1">
            <a:extLst>
              <a:ext uri="{FF2B5EF4-FFF2-40B4-BE49-F238E27FC236}">
                <a16:creationId xmlns:a16="http://schemas.microsoft.com/office/drawing/2014/main" id="{1F08D6A1-39DF-43FB-878F-188581D16D3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UniCredit" panose="02000506040000020004" pitchFamily="2" charset="0"/>
              <a:ea typeface="+mj-ea"/>
              <a:cs typeface="Arial" panose="020B0604020202020204" pitchFamily="34" charset="0"/>
              <a:sym typeface="UniCredit" panose="02000506040000020004" pitchFamily="2" charset="0"/>
            </a:endParaRPr>
          </a:p>
        </p:txBody>
      </p:sp>
      <p:sp>
        <p:nvSpPr>
          <p:cNvPr id="2" name="Text Placeholder 1">
            <a:extLst>
              <a:ext uri="{FF2B5EF4-FFF2-40B4-BE49-F238E27FC236}">
                <a16:creationId xmlns:a16="http://schemas.microsoft.com/office/drawing/2014/main" id="{37C31D72-88E7-4CA4-97CC-DF95C6596AE8}"/>
              </a:ext>
            </a:extLst>
          </p:cNvPr>
          <p:cNvSpPr>
            <a:spLocks noGrp="1"/>
          </p:cNvSpPr>
          <p:nvPr>
            <p:ph type="body" sz="quarter" idx="12"/>
          </p:nvPr>
        </p:nvSpPr>
        <p:spPr/>
        <p:txBody>
          <a:bodyPr/>
          <a:lstStyle/>
          <a:p>
            <a:endParaRPr lang="en-US"/>
          </a:p>
        </p:txBody>
      </p:sp>
      <p:sp>
        <p:nvSpPr>
          <p:cNvPr id="3" name="Text Placeholder 2">
            <a:extLst>
              <a:ext uri="{FF2B5EF4-FFF2-40B4-BE49-F238E27FC236}">
                <a16:creationId xmlns:a16="http://schemas.microsoft.com/office/drawing/2014/main" id="{EBBD6DAB-6B2B-42CC-9A99-3EDE6EF054BF}"/>
              </a:ext>
            </a:extLst>
          </p:cNvPr>
          <p:cNvSpPr>
            <a:spLocks noGrp="1"/>
          </p:cNvSpPr>
          <p:nvPr>
            <p:ph type="body" sz="quarter" idx="16"/>
          </p:nvPr>
        </p:nvSpPr>
        <p:spPr/>
        <p:txBody>
          <a:bodyPr/>
          <a:lstStyle/>
          <a:p>
            <a:endParaRPr lang="en-US"/>
          </a:p>
        </p:txBody>
      </p:sp>
      <p:sp>
        <p:nvSpPr>
          <p:cNvPr id="4" name="Slide Number Placeholder 3">
            <a:extLst>
              <a:ext uri="{FF2B5EF4-FFF2-40B4-BE49-F238E27FC236}">
                <a16:creationId xmlns:a16="http://schemas.microsoft.com/office/drawing/2014/main" id="{82835AA4-731A-42C0-9605-CE5C097D862B}"/>
              </a:ext>
            </a:extLst>
          </p:cNvPr>
          <p:cNvSpPr>
            <a:spLocks noGrp="1"/>
          </p:cNvSpPr>
          <p:nvPr>
            <p:ph type="sldNum" sz="quarter" idx="11"/>
          </p:nvPr>
        </p:nvSpPr>
        <p:spPr/>
        <p:txBody>
          <a:bodyPr/>
          <a:lstStyle/>
          <a:p>
            <a:fld id="{9E8169F0-646E-455B-AF5A-6D6C02EAEAF6}" type="slidenum">
              <a:rPr lang="en-GB" noProof="1" smtClean="0"/>
              <a:t>17</a:t>
            </a:fld>
            <a:endParaRPr lang="en-GB" noProof="1"/>
          </a:p>
        </p:txBody>
      </p:sp>
      <p:graphicFrame>
        <p:nvGraphicFramePr>
          <p:cNvPr id="7" name="Content Placeholder 6">
            <a:extLst>
              <a:ext uri="{FF2B5EF4-FFF2-40B4-BE49-F238E27FC236}">
                <a16:creationId xmlns:a16="http://schemas.microsoft.com/office/drawing/2014/main" id="{B213A504-AF0B-4DEB-B8A6-057B0B9F9935}"/>
              </a:ext>
            </a:extLst>
          </p:cNvPr>
          <p:cNvGraphicFramePr>
            <a:graphicFrameLocks noGrp="1"/>
          </p:cNvGraphicFramePr>
          <p:nvPr>
            <p:ph sz="quarter" idx="15"/>
            <p:extLst>
              <p:ext uri="{D42A27DB-BD31-4B8C-83A1-F6EECF244321}">
                <p14:modId xmlns:p14="http://schemas.microsoft.com/office/powerpoint/2010/main" val="3388474491"/>
              </p:ext>
            </p:extLst>
          </p:nvPr>
        </p:nvGraphicFramePr>
        <p:xfrm>
          <a:off x="232568" y="1662658"/>
          <a:ext cx="8678863" cy="793939"/>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6" name="Title 5">
            <a:extLst>
              <a:ext uri="{FF2B5EF4-FFF2-40B4-BE49-F238E27FC236}">
                <a16:creationId xmlns:a16="http://schemas.microsoft.com/office/drawing/2014/main" id="{4CEBBF5F-7584-4FE7-8A89-E5F2743DBDC0}"/>
              </a:ext>
            </a:extLst>
          </p:cNvPr>
          <p:cNvSpPr>
            <a:spLocks noGrp="1"/>
          </p:cNvSpPr>
          <p:nvPr>
            <p:ph type="title"/>
          </p:nvPr>
        </p:nvSpPr>
        <p:spPr/>
        <p:txBody>
          <a:bodyPr/>
          <a:lstStyle/>
          <a:p>
            <a:r>
              <a:rPr lang="en-US" dirty="0"/>
              <a:t>Build our code for both backend and frontend</a:t>
            </a:r>
          </a:p>
        </p:txBody>
      </p:sp>
      <p:graphicFrame>
        <p:nvGraphicFramePr>
          <p:cNvPr id="8" name="Content Placeholder 6">
            <a:extLst>
              <a:ext uri="{FF2B5EF4-FFF2-40B4-BE49-F238E27FC236}">
                <a16:creationId xmlns:a16="http://schemas.microsoft.com/office/drawing/2014/main" id="{4012480D-4ACF-46ED-A5BC-A161DB9452BD}"/>
              </a:ext>
            </a:extLst>
          </p:cNvPr>
          <p:cNvGraphicFramePr>
            <a:graphicFrameLocks/>
          </p:cNvGraphicFramePr>
          <p:nvPr/>
        </p:nvGraphicFramePr>
        <p:xfrm>
          <a:off x="1958454" y="1330658"/>
          <a:ext cx="6121021" cy="416256"/>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grpSp>
        <p:nvGrpSpPr>
          <p:cNvPr id="12" name="Gruppo 57">
            <a:extLst>
              <a:ext uri="{FF2B5EF4-FFF2-40B4-BE49-F238E27FC236}">
                <a16:creationId xmlns:a16="http://schemas.microsoft.com/office/drawing/2014/main" id="{96E0BE94-53DC-4071-8828-0459313D9456}"/>
              </a:ext>
            </a:extLst>
          </p:cNvPr>
          <p:cNvGrpSpPr/>
          <p:nvPr/>
        </p:nvGrpSpPr>
        <p:grpSpPr>
          <a:xfrm>
            <a:off x="5508245" y="2405035"/>
            <a:ext cx="529106" cy="366887"/>
            <a:chOff x="6946025" y="2094577"/>
            <a:chExt cx="723806" cy="478077"/>
          </a:xfrm>
        </p:grpSpPr>
        <p:pic>
          <p:nvPicPr>
            <p:cNvPr id="25" name="Grafik 143">
              <a:extLst>
                <a:ext uri="{FF2B5EF4-FFF2-40B4-BE49-F238E27FC236}">
                  <a16:creationId xmlns:a16="http://schemas.microsoft.com/office/drawing/2014/main" id="{DEFF508D-9999-4AA0-A2B0-59E721894D31}"/>
                </a:ext>
              </a:extLst>
            </p:cNvPr>
            <p:cNvPicPr>
              <a:picLocks noChangeAspect="1"/>
            </p:cNvPicPr>
            <p:nvPr/>
          </p:nvPicPr>
          <p:blipFill>
            <a:blip r:embed="rId17"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6946025" y="2122512"/>
              <a:ext cx="723806" cy="450142"/>
            </a:xfrm>
            <a:prstGeom prst="rect">
              <a:avLst/>
            </a:prstGeom>
          </p:spPr>
        </p:pic>
        <p:sp>
          <p:nvSpPr>
            <p:cNvPr id="26" name="CasellaDiTesto 59">
              <a:extLst>
                <a:ext uri="{FF2B5EF4-FFF2-40B4-BE49-F238E27FC236}">
                  <a16:creationId xmlns:a16="http://schemas.microsoft.com/office/drawing/2014/main" id="{EF7AC9F6-CBEE-498A-B32B-FECA87197DA1}"/>
                </a:ext>
              </a:extLst>
            </p:cNvPr>
            <p:cNvSpPr txBox="1"/>
            <p:nvPr/>
          </p:nvSpPr>
          <p:spPr>
            <a:xfrm>
              <a:off x="7225224" y="2094577"/>
              <a:ext cx="434106" cy="158833"/>
            </a:xfrm>
            <a:prstGeom prst="rect">
              <a:avLst/>
            </a:prstGeom>
            <a:solidFill>
              <a:sysClr val="window" lastClr="FFFFFF"/>
            </a:solid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1" i="1" u="none" strike="noStrike" kern="0" cap="none" spc="0" normalizeH="0" baseline="0" noProof="0" dirty="0">
                  <a:ln>
                    <a:noFill/>
                  </a:ln>
                  <a:solidFill>
                    <a:srgbClr val="999999"/>
                  </a:solidFill>
                  <a:effectLst/>
                  <a:uLnTx/>
                  <a:uFillTx/>
                  <a:latin typeface="UniCredit"/>
                  <a:cs typeface="Arial" charset="0"/>
                </a:rPr>
                <a:t>DEPLOY</a:t>
              </a:r>
              <a:endParaRPr kumimoji="0" lang="en-US" sz="1400" b="1" i="1" u="none" strike="noStrike" kern="0" cap="none" spc="0" normalizeH="0" baseline="0" noProof="0" dirty="0">
                <a:ln>
                  <a:noFill/>
                </a:ln>
                <a:solidFill>
                  <a:srgbClr val="999999"/>
                </a:solidFill>
                <a:effectLst/>
                <a:uLnTx/>
                <a:uFillTx/>
                <a:latin typeface="UniCredit"/>
                <a:cs typeface="Arial" charset="0"/>
              </a:endParaRPr>
            </a:p>
          </p:txBody>
        </p:sp>
      </p:grpSp>
      <p:pic>
        <p:nvPicPr>
          <p:cNvPr id="13" name="Immagine 68">
            <a:extLst>
              <a:ext uri="{FF2B5EF4-FFF2-40B4-BE49-F238E27FC236}">
                <a16:creationId xmlns:a16="http://schemas.microsoft.com/office/drawing/2014/main" id="{0141B9BC-946F-47F8-B222-7B5FB3E42FAB}"/>
              </a:ext>
            </a:extLst>
          </p:cNvPr>
          <p:cNvPicPr>
            <a:picLocks noChangeAspect="1"/>
          </p:cNvPicPr>
          <p:nvPr/>
        </p:nvPicPr>
        <p:blipFill>
          <a:blip r:embed="rId18"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4988808" y="937660"/>
            <a:ext cx="527698" cy="316419"/>
          </a:xfrm>
          <a:prstGeom prst="rect">
            <a:avLst/>
          </a:prstGeom>
        </p:spPr>
      </p:pic>
      <p:pic>
        <p:nvPicPr>
          <p:cNvPr id="14" name="Immagine 90">
            <a:extLst>
              <a:ext uri="{FF2B5EF4-FFF2-40B4-BE49-F238E27FC236}">
                <a16:creationId xmlns:a16="http://schemas.microsoft.com/office/drawing/2014/main" id="{1F6956C0-6AD7-42B3-8A6D-229457FA84E4}"/>
              </a:ext>
            </a:extLst>
          </p:cNvPr>
          <p:cNvPicPr>
            <a:picLocks noChangeAspect="1"/>
          </p:cNvPicPr>
          <p:nvPr/>
        </p:nvPicPr>
        <p:blipFill>
          <a:blip r:embed="rId19"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6322667" y="2477700"/>
            <a:ext cx="622008" cy="197186"/>
          </a:xfrm>
          <a:prstGeom prst="rect">
            <a:avLst/>
          </a:prstGeom>
        </p:spPr>
      </p:pic>
      <p:pic>
        <p:nvPicPr>
          <p:cNvPr id="15" name="Immagine 92">
            <a:extLst>
              <a:ext uri="{FF2B5EF4-FFF2-40B4-BE49-F238E27FC236}">
                <a16:creationId xmlns:a16="http://schemas.microsoft.com/office/drawing/2014/main" id="{5A757FDC-EB77-47F4-9B34-CA7FB43E3E65}"/>
              </a:ext>
            </a:extLst>
          </p:cNvPr>
          <p:cNvPicPr>
            <a:picLocks noChangeAspect="1"/>
          </p:cNvPicPr>
          <p:nvPr/>
        </p:nvPicPr>
        <p:blipFill>
          <a:blip r:embed="rId20"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7222315" y="2370242"/>
            <a:ext cx="576113" cy="376123"/>
          </a:xfrm>
          <a:prstGeom prst="rect">
            <a:avLst/>
          </a:prstGeom>
        </p:spPr>
      </p:pic>
      <p:pic>
        <p:nvPicPr>
          <p:cNvPr id="17" name="Immagine 124">
            <a:extLst>
              <a:ext uri="{FF2B5EF4-FFF2-40B4-BE49-F238E27FC236}">
                <a16:creationId xmlns:a16="http://schemas.microsoft.com/office/drawing/2014/main" id="{0D3D192C-F36A-401A-BDC0-CD9B1DF67085}"/>
              </a:ext>
            </a:extLst>
          </p:cNvPr>
          <p:cNvPicPr>
            <a:picLocks noChangeAspect="1"/>
          </p:cNvPicPr>
          <p:nvPr/>
        </p:nvPicPr>
        <p:blipFill>
          <a:blip r:embed="rId21"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3576062" y="2400916"/>
            <a:ext cx="1045724" cy="402234"/>
          </a:xfrm>
          <a:prstGeom prst="rect">
            <a:avLst/>
          </a:prstGeom>
        </p:spPr>
      </p:pic>
      <p:pic>
        <p:nvPicPr>
          <p:cNvPr id="18" name="Picture 4" descr="JUnit – About">
            <a:extLst>
              <a:ext uri="{FF2B5EF4-FFF2-40B4-BE49-F238E27FC236}">
                <a16:creationId xmlns:a16="http://schemas.microsoft.com/office/drawing/2014/main" id="{43D69F85-738D-4488-A255-E84FECD44BE3}"/>
              </a:ext>
            </a:extLst>
          </p:cNvPr>
          <p:cNvPicPr>
            <a:picLocks noChangeAspect="1" noChangeArrowheads="1"/>
          </p:cNvPicPr>
          <p:nvPr/>
        </p:nvPicPr>
        <p:blipFill>
          <a:blip r:embed="rId22" cstate="email">
            <a:duotone>
              <a:schemeClr val="bg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3006688" y="2496035"/>
            <a:ext cx="493019" cy="155210"/>
          </a:xfrm>
          <a:prstGeom prst="rect">
            <a:avLst/>
          </a:prstGeom>
          <a:noFill/>
          <a:extLst>
            <a:ext uri="{909E8E84-426E-40DD-AFC4-6F175D3DCCD1}">
              <a14:hiddenFill xmlns:a14="http://schemas.microsoft.com/office/drawing/2010/main">
                <a:solidFill>
                  <a:srgbClr val="FFFFFF"/>
                </a:solidFill>
              </a14:hiddenFill>
            </a:ext>
          </a:extLst>
        </p:spPr>
      </p:pic>
      <p:grpSp>
        <p:nvGrpSpPr>
          <p:cNvPr id="19" name="Gruppo 12">
            <a:extLst>
              <a:ext uri="{FF2B5EF4-FFF2-40B4-BE49-F238E27FC236}">
                <a16:creationId xmlns:a16="http://schemas.microsoft.com/office/drawing/2014/main" id="{F3DC3895-2715-40DE-8A2B-A4D3871C6BC2}"/>
              </a:ext>
            </a:extLst>
          </p:cNvPr>
          <p:cNvGrpSpPr/>
          <p:nvPr/>
        </p:nvGrpSpPr>
        <p:grpSpPr>
          <a:xfrm>
            <a:off x="4708823" y="2238895"/>
            <a:ext cx="547002" cy="457094"/>
            <a:chOff x="8284888" y="2480464"/>
            <a:chExt cx="569212" cy="461665"/>
          </a:xfrm>
        </p:grpSpPr>
        <p:pic>
          <p:nvPicPr>
            <p:cNvPr id="23" name="Immagine 40">
              <a:extLst>
                <a:ext uri="{FF2B5EF4-FFF2-40B4-BE49-F238E27FC236}">
                  <a16:creationId xmlns:a16="http://schemas.microsoft.com/office/drawing/2014/main" id="{8C31A6CE-D9F6-4E08-9C3F-2EAD7378E351}"/>
                </a:ext>
              </a:extLst>
            </p:cNvPr>
            <p:cNvPicPr>
              <a:picLocks noChangeAspect="1"/>
            </p:cNvPicPr>
            <p:nvPr/>
          </p:nvPicPr>
          <p:blipFill>
            <a:blip r:embed="rId23"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8284888" y="2711297"/>
              <a:ext cx="490862" cy="197995"/>
            </a:xfrm>
            <a:prstGeom prst="rect">
              <a:avLst/>
            </a:prstGeom>
            <a:solidFill>
              <a:sysClr val="window" lastClr="FFFFFF"/>
            </a:solidFill>
          </p:spPr>
        </p:pic>
        <p:sp>
          <p:nvSpPr>
            <p:cNvPr id="24" name="CasellaDiTesto 81">
              <a:extLst>
                <a:ext uri="{FF2B5EF4-FFF2-40B4-BE49-F238E27FC236}">
                  <a16:creationId xmlns:a16="http://schemas.microsoft.com/office/drawing/2014/main" id="{6B613A88-89B7-47B0-8A52-A599BD41CADB}"/>
                </a:ext>
              </a:extLst>
            </p:cNvPr>
            <p:cNvSpPr txBox="1"/>
            <p:nvPr/>
          </p:nvSpPr>
          <p:spPr>
            <a:xfrm>
              <a:off x="8669369" y="2480464"/>
              <a:ext cx="184731" cy="461665"/>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dirty="0">
                <a:ln>
                  <a:noFill/>
                </a:ln>
                <a:solidFill>
                  <a:srgbClr val="999999"/>
                </a:solidFill>
                <a:effectLst/>
                <a:uLnTx/>
                <a:uFillTx/>
                <a:latin typeface="UniCredit"/>
                <a:cs typeface="Arial" charset="0"/>
              </a:endParaRPr>
            </a:p>
          </p:txBody>
        </p:sp>
      </p:grpSp>
      <p:pic>
        <p:nvPicPr>
          <p:cNvPr id="20" name="Graphic 19">
            <a:extLst>
              <a:ext uri="{FF2B5EF4-FFF2-40B4-BE49-F238E27FC236}">
                <a16:creationId xmlns:a16="http://schemas.microsoft.com/office/drawing/2014/main" id="{F78FA946-A515-477A-9B6D-1F2533606B92}"/>
              </a:ext>
            </a:extLst>
          </p:cNvPr>
          <p:cNvPicPr>
            <a:picLocks noChangeAspect="1"/>
          </p:cNvPicPr>
          <p:nvPr/>
        </p:nvPicPr>
        <p:blipFill>
          <a:blip r:embed="rId24" cstate="email">
            <a:duotone>
              <a:schemeClr val="bg2">
                <a:shade val="45000"/>
                <a:satMod val="135000"/>
              </a:schemeClr>
              <a:prstClr val="white"/>
            </a:duotone>
            <a:extLst>
              <a:ext uri="{28A0092B-C50C-407E-A947-70E740481C1C}">
                <a14:useLocalDpi xmlns:a14="http://schemas.microsoft.com/office/drawing/2010/main"/>
              </a:ext>
              <a:ext uri="{96DAC541-7B7A-43D3-8B79-37D633B846F1}">
                <asvg:svgBlip xmlns:asvg="http://schemas.microsoft.com/office/drawing/2016/SVG/main" r:embed="rId25"/>
              </a:ext>
            </a:extLst>
          </a:blip>
          <a:stretch>
            <a:fillRect/>
          </a:stretch>
        </p:blipFill>
        <p:spPr>
          <a:xfrm>
            <a:off x="502979" y="2794878"/>
            <a:ext cx="527698" cy="281008"/>
          </a:xfrm>
          <a:prstGeom prst="rect">
            <a:avLst/>
          </a:prstGeom>
        </p:spPr>
      </p:pic>
      <p:pic>
        <p:nvPicPr>
          <p:cNvPr id="21" name="Picture 6" descr="Jira - Logo">
            <a:extLst>
              <a:ext uri="{FF2B5EF4-FFF2-40B4-BE49-F238E27FC236}">
                <a16:creationId xmlns:a16="http://schemas.microsoft.com/office/drawing/2014/main" id="{46421F2C-80A9-4993-A330-F72A33680620}"/>
              </a:ext>
            </a:extLst>
          </p:cNvPr>
          <p:cNvPicPr>
            <a:picLocks noChangeAspect="1" noChangeArrowheads="1"/>
          </p:cNvPicPr>
          <p:nvPr/>
        </p:nvPicPr>
        <p:blipFill>
          <a:blip r:embed="rId26" cstate="email">
            <a:duotone>
              <a:schemeClr val="bg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473623" y="2466704"/>
            <a:ext cx="475044" cy="212178"/>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6">
            <a:extLst>
              <a:ext uri="{FF2B5EF4-FFF2-40B4-BE49-F238E27FC236}">
                <a16:creationId xmlns:a16="http://schemas.microsoft.com/office/drawing/2014/main" id="{8E43D0E3-532C-4C39-99C9-20721793742D}"/>
              </a:ext>
            </a:extLst>
          </p:cNvPr>
          <p:cNvPicPr>
            <a:picLocks noChangeAspect="1"/>
          </p:cNvPicPr>
          <p:nvPr/>
        </p:nvPicPr>
        <p:blipFill>
          <a:blip r:embed="rId27"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3117583" y="3230769"/>
            <a:ext cx="271228" cy="291643"/>
          </a:xfrm>
          <a:prstGeom prst="rect">
            <a:avLst/>
          </a:prstGeom>
        </p:spPr>
      </p:pic>
      <p:grpSp>
        <p:nvGrpSpPr>
          <p:cNvPr id="30" name="Gruppo 57">
            <a:extLst>
              <a:ext uri="{FF2B5EF4-FFF2-40B4-BE49-F238E27FC236}">
                <a16:creationId xmlns:a16="http://schemas.microsoft.com/office/drawing/2014/main" id="{DE5DFB16-D2CA-496C-BD55-F2D48342B748}"/>
              </a:ext>
            </a:extLst>
          </p:cNvPr>
          <p:cNvGrpSpPr/>
          <p:nvPr/>
        </p:nvGrpSpPr>
        <p:grpSpPr>
          <a:xfrm>
            <a:off x="8076068" y="2412332"/>
            <a:ext cx="529106" cy="366887"/>
            <a:chOff x="6946025" y="2094577"/>
            <a:chExt cx="723806" cy="478077"/>
          </a:xfrm>
        </p:grpSpPr>
        <p:pic>
          <p:nvPicPr>
            <p:cNvPr id="31" name="Grafik 143">
              <a:extLst>
                <a:ext uri="{FF2B5EF4-FFF2-40B4-BE49-F238E27FC236}">
                  <a16:creationId xmlns:a16="http://schemas.microsoft.com/office/drawing/2014/main" id="{C74DA0A2-E42C-419D-A1E6-613AA6E5A8E6}"/>
                </a:ext>
              </a:extLst>
            </p:cNvPr>
            <p:cNvPicPr>
              <a:picLocks noChangeAspect="1"/>
            </p:cNvPicPr>
            <p:nvPr/>
          </p:nvPicPr>
          <p:blipFill>
            <a:blip r:embed="rId17"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6946025" y="2122512"/>
              <a:ext cx="723806" cy="450142"/>
            </a:xfrm>
            <a:prstGeom prst="rect">
              <a:avLst/>
            </a:prstGeom>
          </p:spPr>
        </p:pic>
        <p:sp>
          <p:nvSpPr>
            <p:cNvPr id="32" name="CasellaDiTesto 59">
              <a:extLst>
                <a:ext uri="{FF2B5EF4-FFF2-40B4-BE49-F238E27FC236}">
                  <a16:creationId xmlns:a16="http://schemas.microsoft.com/office/drawing/2014/main" id="{C6BE75B0-EEDD-42DA-8834-701850B9CB36}"/>
                </a:ext>
              </a:extLst>
            </p:cNvPr>
            <p:cNvSpPr txBox="1"/>
            <p:nvPr/>
          </p:nvSpPr>
          <p:spPr>
            <a:xfrm>
              <a:off x="7225224" y="2094577"/>
              <a:ext cx="434106" cy="158833"/>
            </a:xfrm>
            <a:prstGeom prst="rect">
              <a:avLst/>
            </a:prstGeom>
            <a:solidFill>
              <a:sysClr val="window" lastClr="FFFFFF"/>
            </a:solid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1" i="1" u="none" strike="noStrike" kern="0" cap="none" spc="0" normalizeH="0" baseline="0" noProof="0" dirty="0">
                  <a:ln>
                    <a:noFill/>
                  </a:ln>
                  <a:solidFill>
                    <a:srgbClr val="999999"/>
                  </a:solidFill>
                  <a:effectLst/>
                  <a:uLnTx/>
                  <a:uFillTx/>
                  <a:latin typeface="UniCredit"/>
                  <a:cs typeface="Arial" charset="0"/>
                </a:rPr>
                <a:t>DEPLOY</a:t>
              </a:r>
              <a:endParaRPr kumimoji="0" lang="en-US" sz="1400" b="1" i="1" u="none" strike="noStrike" kern="0" cap="none" spc="0" normalizeH="0" baseline="0" noProof="0" dirty="0">
                <a:ln>
                  <a:noFill/>
                </a:ln>
                <a:solidFill>
                  <a:srgbClr val="999999"/>
                </a:solidFill>
                <a:effectLst/>
                <a:uLnTx/>
                <a:uFillTx/>
                <a:latin typeface="UniCredit"/>
                <a:cs typeface="Arial" charset="0"/>
              </a:endParaRPr>
            </a:p>
          </p:txBody>
        </p:sp>
      </p:grpSp>
      <p:pic>
        <p:nvPicPr>
          <p:cNvPr id="33" name="Picture 28" descr="WireMock for Java Developers | Udemy">
            <a:extLst>
              <a:ext uri="{FF2B5EF4-FFF2-40B4-BE49-F238E27FC236}">
                <a16:creationId xmlns:a16="http://schemas.microsoft.com/office/drawing/2014/main" id="{24A9A257-90C9-4533-934C-7A70205C7E26}"/>
              </a:ext>
            </a:extLst>
          </p:cNvPr>
          <p:cNvPicPr>
            <a:picLocks noChangeAspect="1" noChangeArrowheads="1"/>
          </p:cNvPicPr>
          <p:nvPr/>
        </p:nvPicPr>
        <p:blipFill>
          <a:blip r:embed="rId28" cstate="print">
            <a:duotone>
              <a:schemeClr val="bg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6806341" y="2862878"/>
            <a:ext cx="518476" cy="291643"/>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20" descr="Liquibase | Database CI/CD &amp; Automation | Database DevOps">
            <a:extLst>
              <a:ext uri="{FF2B5EF4-FFF2-40B4-BE49-F238E27FC236}">
                <a16:creationId xmlns:a16="http://schemas.microsoft.com/office/drawing/2014/main" id="{98ABEE39-4DFB-4526-B645-77E5F85F754A}"/>
              </a:ext>
            </a:extLst>
          </p:cNvPr>
          <p:cNvPicPr>
            <a:picLocks noChangeAspect="1" noChangeArrowheads="1"/>
          </p:cNvPicPr>
          <p:nvPr/>
        </p:nvPicPr>
        <p:blipFill>
          <a:blip r:embed="rId29"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871008" y="2901167"/>
            <a:ext cx="545935" cy="360000"/>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10" descr="Flyway (software) - Wikipedia">
            <a:extLst>
              <a:ext uri="{FF2B5EF4-FFF2-40B4-BE49-F238E27FC236}">
                <a16:creationId xmlns:a16="http://schemas.microsoft.com/office/drawing/2014/main" id="{C8C05ECE-D2ED-4084-89F3-5DB603C030C3}"/>
              </a:ext>
            </a:extLst>
          </p:cNvPr>
          <p:cNvPicPr>
            <a:picLocks noChangeAspect="1" noChangeArrowheads="1"/>
          </p:cNvPicPr>
          <p:nvPr/>
        </p:nvPicPr>
        <p:blipFill>
          <a:blip r:embed="rId30"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359763" y="2871407"/>
            <a:ext cx="511245" cy="406440"/>
          </a:xfrm>
          <a:prstGeom prst="rect">
            <a:avLst/>
          </a:prstGeom>
          <a:noFill/>
          <a:extLst>
            <a:ext uri="{909E8E84-426E-40DD-AFC4-6F175D3DCCD1}">
              <a14:hiddenFill xmlns:a14="http://schemas.microsoft.com/office/drawing/2010/main">
                <a:solidFill>
                  <a:srgbClr val="FFFFFF"/>
                </a:solidFill>
              </a14:hiddenFill>
            </a:ext>
          </a:extLst>
        </p:spPr>
      </p:pic>
      <p:pic>
        <p:nvPicPr>
          <p:cNvPr id="37894" name="Picture 6" descr="Branding Guidelines (Draft WIP) | OWASP">
            <a:extLst>
              <a:ext uri="{FF2B5EF4-FFF2-40B4-BE49-F238E27FC236}">
                <a16:creationId xmlns:a16="http://schemas.microsoft.com/office/drawing/2014/main" id="{ECA8E031-C4DE-49C3-98F8-336E375E2F06}"/>
              </a:ext>
            </a:extLst>
          </p:cNvPr>
          <p:cNvPicPr>
            <a:picLocks noChangeAspect="1" noChangeArrowheads="1"/>
          </p:cNvPicPr>
          <p:nvPr/>
        </p:nvPicPr>
        <p:blipFill>
          <a:blip r:embed="rId31"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710231" y="2855669"/>
            <a:ext cx="725763" cy="252505"/>
          </a:xfrm>
          <a:prstGeom prst="rect">
            <a:avLst/>
          </a:prstGeom>
          <a:noFill/>
          <a:extLst>
            <a:ext uri="{909E8E84-426E-40DD-AFC4-6F175D3DCCD1}">
              <a14:hiddenFill xmlns:a14="http://schemas.microsoft.com/office/drawing/2010/main">
                <a:solidFill>
                  <a:srgbClr val="FFFFFF"/>
                </a:solidFill>
              </a14:hiddenFill>
            </a:ext>
          </a:extLst>
        </p:spPr>
      </p:pic>
      <p:pic>
        <p:nvPicPr>
          <p:cNvPr id="37896" name="Picture 8">
            <a:extLst>
              <a:ext uri="{FF2B5EF4-FFF2-40B4-BE49-F238E27FC236}">
                <a16:creationId xmlns:a16="http://schemas.microsoft.com/office/drawing/2014/main" id="{B7DD6AF4-1615-4535-807F-237487883906}"/>
              </a:ext>
            </a:extLst>
          </p:cNvPr>
          <p:cNvPicPr>
            <a:picLocks noChangeAspect="1" noChangeArrowheads="1"/>
          </p:cNvPicPr>
          <p:nvPr/>
        </p:nvPicPr>
        <p:blipFill>
          <a:blip r:embed="rId32" cstate="print">
            <a:extLst>
              <a:ext uri="{28A0092B-C50C-407E-A947-70E740481C1C}">
                <a14:useLocalDpi xmlns:a14="http://schemas.microsoft.com/office/drawing/2010/main" val="0"/>
              </a:ext>
            </a:extLst>
          </a:blip>
          <a:srcRect/>
          <a:stretch>
            <a:fillRect/>
          </a:stretch>
        </p:blipFill>
        <p:spPr bwMode="auto">
          <a:xfrm>
            <a:off x="2133631" y="2494295"/>
            <a:ext cx="661499" cy="167442"/>
          </a:xfrm>
          <a:prstGeom prst="rect">
            <a:avLst/>
          </a:prstGeom>
          <a:noFill/>
          <a:extLst>
            <a:ext uri="{909E8E84-426E-40DD-AFC4-6F175D3DCCD1}">
              <a14:hiddenFill xmlns:a14="http://schemas.microsoft.com/office/drawing/2010/main">
                <a:solidFill>
                  <a:srgbClr val="FFFFFF"/>
                </a:solidFill>
              </a14:hiddenFill>
            </a:ext>
          </a:extLst>
        </p:spPr>
      </p:pic>
      <p:pic>
        <p:nvPicPr>
          <p:cNvPr id="37898" name="Picture 10" descr="Press Kit | Atlassian">
            <a:extLst>
              <a:ext uri="{FF2B5EF4-FFF2-40B4-BE49-F238E27FC236}">
                <a16:creationId xmlns:a16="http://schemas.microsoft.com/office/drawing/2014/main" id="{9ECAA01F-D03E-4060-B5BB-87503731390E}"/>
              </a:ext>
            </a:extLst>
          </p:cNvPr>
          <p:cNvPicPr>
            <a:picLocks noChangeAspect="1" noChangeArrowheads="1"/>
          </p:cNvPicPr>
          <p:nvPr/>
        </p:nvPicPr>
        <p:blipFill>
          <a:blip r:embed="rId33"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148118" y="2517890"/>
            <a:ext cx="810336" cy="116805"/>
          </a:xfrm>
          <a:prstGeom prst="rect">
            <a:avLst/>
          </a:prstGeom>
          <a:noFill/>
          <a:extLst>
            <a:ext uri="{909E8E84-426E-40DD-AFC4-6F175D3DCCD1}">
              <a14:hiddenFill xmlns:a14="http://schemas.microsoft.com/office/drawing/2010/main">
                <a:solidFill>
                  <a:srgbClr val="FFFFFF"/>
                </a:solidFill>
              </a14:hiddenFill>
            </a:ext>
          </a:extLst>
        </p:spPr>
      </p:pic>
      <p:pic>
        <p:nvPicPr>
          <p:cNvPr id="37903" name="Picture 15" descr="How to install Node.js 7 and NPM 4 on CentOS 6/7, Debian 8 and Ubuntu 16">
            <a:extLst>
              <a:ext uri="{FF2B5EF4-FFF2-40B4-BE49-F238E27FC236}">
                <a16:creationId xmlns:a16="http://schemas.microsoft.com/office/drawing/2014/main" id="{7873FB91-1337-4A7F-8995-6F82AEF761CD}"/>
              </a:ext>
            </a:extLst>
          </p:cNvPr>
          <p:cNvPicPr>
            <a:picLocks noChangeAspect="1" noChangeArrowheads="1"/>
          </p:cNvPicPr>
          <p:nvPr/>
        </p:nvPicPr>
        <p:blipFill>
          <a:blip r:embed="rId34" cstate="print">
            <a:extLst>
              <a:ext uri="{28A0092B-C50C-407E-A947-70E740481C1C}">
                <a14:useLocalDpi xmlns:a14="http://schemas.microsoft.com/office/drawing/2010/main" val="0"/>
              </a:ext>
            </a:extLst>
          </a:blip>
          <a:srcRect/>
          <a:stretch>
            <a:fillRect/>
          </a:stretch>
        </p:blipFill>
        <p:spPr bwMode="auto">
          <a:xfrm>
            <a:off x="1992296" y="2803150"/>
            <a:ext cx="926045" cy="360000"/>
          </a:xfrm>
          <a:prstGeom prst="rect">
            <a:avLst/>
          </a:prstGeom>
          <a:noFill/>
          <a:extLst>
            <a:ext uri="{909E8E84-426E-40DD-AFC4-6F175D3DCCD1}">
              <a14:hiddenFill xmlns:a14="http://schemas.microsoft.com/office/drawing/2010/main">
                <a:solidFill>
                  <a:srgbClr val="FFFFFF"/>
                </a:solidFill>
              </a14:hiddenFill>
            </a:ext>
          </a:extLst>
        </p:spPr>
      </p:pic>
      <p:pic>
        <p:nvPicPr>
          <p:cNvPr id="37905" name="Picture 17" descr="PowerMock (Android). Often, in order to write unit tests… | by Gioacchino  Lonardo | Medium">
            <a:extLst>
              <a:ext uri="{FF2B5EF4-FFF2-40B4-BE49-F238E27FC236}">
                <a16:creationId xmlns:a16="http://schemas.microsoft.com/office/drawing/2014/main" id="{D068A2D2-A3E1-43A2-9A0A-99C002C43726}"/>
              </a:ext>
            </a:extLst>
          </p:cNvPr>
          <p:cNvPicPr>
            <a:picLocks noChangeAspect="1" noChangeArrowheads="1"/>
          </p:cNvPicPr>
          <p:nvPr/>
        </p:nvPicPr>
        <p:blipFill>
          <a:blip r:embed="rId35"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024516" y="2835505"/>
            <a:ext cx="493019" cy="2473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0525205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B496624-4B6A-40F2-BBE5-9DA08FE27692}"/>
              </a:ext>
            </a:extLst>
          </p:cNvPr>
          <p:cNvGraphicFramePr>
            <a:graphicFrameLocks noChangeAspect="1"/>
          </p:cNvGraphicFramePr>
          <p:nvPr>
            <p:custDataLst>
              <p:tags r:id="rId2"/>
            </p:custDataLst>
            <p:extLst>
              <p:ext uri="{D42A27DB-BD31-4B8C-83A1-F6EECF244321}">
                <p14:modId xmlns:p14="http://schemas.microsoft.com/office/powerpoint/2010/main" val="15800636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9903" name="think-cell Slide" r:id="rId5" imgW="360" imgH="360" progId="TCLayout.ActiveDocument.1">
                  <p:embed/>
                </p:oleObj>
              </mc:Choice>
              <mc:Fallback>
                <p:oleObj name="think-cell Slide" r:id="rId5" imgW="360" imgH="360" progId="TCLayout.ActiveDocument.1">
                  <p:embed/>
                  <p:pic>
                    <p:nvPicPr>
                      <p:cNvPr id="7" name="Object 6" hidden="1">
                        <a:extLst>
                          <a:ext uri="{FF2B5EF4-FFF2-40B4-BE49-F238E27FC236}">
                            <a16:creationId xmlns:a16="http://schemas.microsoft.com/office/drawing/2014/main" id="{6B496624-4B6A-40F2-BBE5-9DA08FE2769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2360DAF7-8941-48D3-91FD-14C15E5400A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UniCredit" panose="02000506040000020004" pitchFamily="2" charset="0"/>
              <a:ea typeface="+mj-ea"/>
              <a:cs typeface="Arial" panose="020B0604020202020204" pitchFamily="34" charset="0"/>
              <a:sym typeface="UniCredit" panose="02000506040000020004" pitchFamily="2" charset="0"/>
            </a:endParaRPr>
          </a:p>
        </p:txBody>
      </p:sp>
      <p:sp>
        <p:nvSpPr>
          <p:cNvPr id="4" name="Slide Number Placeholder 3">
            <a:extLst>
              <a:ext uri="{FF2B5EF4-FFF2-40B4-BE49-F238E27FC236}">
                <a16:creationId xmlns:a16="http://schemas.microsoft.com/office/drawing/2014/main" id="{1019E4C8-5936-4D62-A081-42271D221ED0}"/>
              </a:ext>
            </a:extLst>
          </p:cNvPr>
          <p:cNvSpPr>
            <a:spLocks noGrp="1"/>
          </p:cNvSpPr>
          <p:nvPr>
            <p:ph type="sldNum" sz="quarter" idx="11"/>
          </p:nvPr>
        </p:nvSpPr>
        <p:spPr/>
        <p:txBody>
          <a:bodyPr/>
          <a:lstStyle/>
          <a:p>
            <a:fld id="{9E8169F0-646E-455B-AF5A-6D6C02EAEAF6}" type="slidenum">
              <a:rPr lang="en-GB" noProof="1" smtClean="0"/>
              <a:t>18</a:t>
            </a:fld>
            <a:endParaRPr lang="en-GB" noProof="1"/>
          </a:p>
        </p:txBody>
      </p:sp>
      <p:sp>
        <p:nvSpPr>
          <p:cNvPr id="6" name="Title 5">
            <a:extLst>
              <a:ext uri="{FF2B5EF4-FFF2-40B4-BE49-F238E27FC236}">
                <a16:creationId xmlns:a16="http://schemas.microsoft.com/office/drawing/2014/main" id="{6B9A0893-BCB7-43E7-B1CC-7294706EB333}"/>
              </a:ext>
            </a:extLst>
          </p:cNvPr>
          <p:cNvSpPr>
            <a:spLocks noGrp="1"/>
          </p:cNvSpPr>
          <p:nvPr>
            <p:ph type="title"/>
          </p:nvPr>
        </p:nvSpPr>
        <p:spPr/>
        <p:txBody>
          <a:bodyPr/>
          <a:lstStyle/>
          <a:p>
            <a:r>
              <a:rPr lang="en-US" dirty="0"/>
              <a:t>A first step in the CI pipelines: the Build phase</a:t>
            </a:r>
          </a:p>
        </p:txBody>
      </p:sp>
      <p:sp>
        <p:nvSpPr>
          <p:cNvPr id="13" name="Round Diagonal Corner Rectangle 12"/>
          <p:cNvSpPr/>
          <p:nvPr/>
        </p:nvSpPr>
        <p:spPr>
          <a:xfrm>
            <a:off x="217357" y="1026826"/>
            <a:ext cx="1425600" cy="1424066"/>
          </a:xfrm>
          <a:prstGeom prst="round2DiagRect">
            <a:avLst/>
          </a:prstGeom>
          <a:noFill/>
          <a:ln>
            <a:solidFill>
              <a:schemeClr val="accent1"/>
            </a:solidFill>
          </a:ln>
        </p:spPr>
        <p:txBody>
          <a:bodyPr wrap="square" lIns="144000" tIns="0" rIns="0" bIns="0" anchor="ctr">
            <a:noAutofit/>
          </a:bodyPr>
          <a:lstStyle/>
          <a:p>
            <a:pPr defTabSz="179388">
              <a:defRPr/>
            </a:pPr>
            <a:endParaRPr lang="en-US" sz="1100" dirty="0"/>
          </a:p>
        </p:txBody>
      </p:sp>
      <p:sp>
        <p:nvSpPr>
          <p:cNvPr id="14" name="Round Diagonal Corner Rectangle 13"/>
          <p:cNvSpPr/>
          <p:nvPr/>
        </p:nvSpPr>
        <p:spPr>
          <a:xfrm>
            <a:off x="1918740" y="1026826"/>
            <a:ext cx="6880485" cy="1424066"/>
          </a:xfrm>
          <a:prstGeom prst="round2DiagRect">
            <a:avLst/>
          </a:prstGeom>
          <a:solidFill>
            <a:srgbClr val="D0EBF2">
              <a:alpha val="46000"/>
            </a:srgbClr>
          </a:solidFill>
          <a:ln>
            <a:solidFill>
              <a:schemeClr val="accent1"/>
            </a:solidFill>
          </a:ln>
        </p:spPr>
        <p:txBody>
          <a:bodyPr wrap="square" lIns="144000" tIns="0" rIns="0" bIns="0" anchor="ctr">
            <a:noAutofit/>
          </a:bodyPr>
          <a:lstStyle/>
          <a:p>
            <a:r>
              <a:rPr lang="en-US" sz="1400" b="1" dirty="0">
                <a:solidFill>
                  <a:schemeClr val="accent1"/>
                </a:solidFill>
              </a:rPr>
              <a:t>Back-end Java</a:t>
            </a:r>
          </a:p>
          <a:p>
            <a:pPr marL="171450" indent="-171450">
              <a:buClr>
                <a:schemeClr val="accent1"/>
              </a:buClr>
              <a:buFont typeface="Wingdings" panose="05000000000000000000" pitchFamily="2" charset="2"/>
              <a:buChar char="§"/>
            </a:pPr>
            <a:r>
              <a:rPr lang="en-US" sz="1400" dirty="0"/>
              <a:t>The well known build tool for Java, extended in our pipelines with some plug-ins like OWASP, </a:t>
            </a:r>
            <a:r>
              <a:rPr lang="en-US" sz="1400" dirty="0" err="1"/>
              <a:t>SoapUI</a:t>
            </a:r>
            <a:r>
              <a:rPr lang="en-US" sz="1400" dirty="0"/>
              <a:t>, </a:t>
            </a:r>
            <a:r>
              <a:rPr lang="en-US" sz="1400" dirty="0" err="1"/>
              <a:t>SeleniumBox</a:t>
            </a:r>
            <a:endParaRPr lang="en-US" sz="1400" dirty="0"/>
          </a:p>
        </p:txBody>
      </p:sp>
      <p:sp>
        <p:nvSpPr>
          <p:cNvPr id="15" name="Round Diagonal Corner Rectangle 14"/>
          <p:cNvSpPr/>
          <p:nvPr/>
        </p:nvSpPr>
        <p:spPr>
          <a:xfrm>
            <a:off x="1918740" y="2775718"/>
            <a:ext cx="6880485" cy="1424066"/>
          </a:xfrm>
          <a:prstGeom prst="round2DiagRect">
            <a:avLst/>
          </a:prstGeom>
          <a:solidFill>
            <a:srgbClr val="D0EBF2">
              <a:alpha val="46000"/>
            </a:srgbClr>
          </a:solidFill>
          <a:ln>
            <a:solidFill>
              <a:schemeClr val="accent1"/>
            </a:solidFill>
          </a:ln>
        </p:spPr>
        <p:txBody>
          <a:bodyPr wrap="square" lIns="144000" tIns="0" rIns="0" bIns="0" anchor="ctr">
            <a:noAutofit/>
          </a:bodyPr>
          <a:lstStyle/>
          <a:p>
            <a:r>
              <a:rPr lang="en-US" sz="1400" b="1" dirty="0">
                <a:solidFill>
                  <a:schemeClr val="accent1"/>
                </a:solidFill>
              </a:rPr>
              <a:t>Front-end Angular</a:t>
            </a:r>
          </a:p>
          <a:p>
            <a:pPr marL="171450" indent="-171450">
              <a:buClr>
                <a:schemeClr val="accent1"/>
              </a:buClr>
              <a:buFont typeface="Wingdings" panose="05000000000000000000" pitchFamily="2" charset="2"/>
              <a:buChar char="§"/>
            </a:pPr>
            <a:r>
              <a:rPr lang="en-US" sz="1400" dirty="0"/>
              <a:t>During the onboarding we introduced a centralized build for AngularJS and Agular which previously was performed locally on the DWPs</a:t>
            </a:r>
          </a:p>
        </p:txBody>
      </p:sp>
      <p:sp>
        <p:nvSpPr>
          <p:cNvPr id="16" name="Round Diagonal Corner Rectangle 15"/>
          <p:cNvSpPr/>
          <p:nvPr/>
        </p:nvSpPr>
        <p:spPr>
          <a:xfrm>
            <a:off x="217357" y="2775718"/>
            <a:ext cx="1425600" cy="1424066"/>
          </a:xfrm>
          <a:prstGeom prst="round2DiagRect">
            <a:avLst/>
          </a:prstGeom>
          <a:noFill/>
          <a:ln>
            <a:solidFill>
              <a:schemeClr val="accent1"/>
            </a:solidFill>
          </a:ln>
        </p:spPr>
        <p:txBody>
          <a:bodyPr wrap="square" lIns="144000" tIns="0" rIns="0" bIns="0" anchor="ctr">
            <a:noAutofit/>
          </a:bodyPr>
          <a:lstStyle/>
          <a:p>
            <a:pPr defTabSz="179388">
              <a:defRPr/>
            </a:pPr>
            <a:endParaRPr lang="en-US" sz="1100" dirty="0"/>
          </a:p>
        </p:txBody>
      </p:sp>
      <p:pic>
        <p:nvPicPr>
          <p:cNvPr id="19" name="Picture 8">
            <a:extLst>
              <a:ext uri="{FF2B5EF4-FFF2-40B4-BE49-F238E27FC236}">
                <a16:creationId xmlns:a16="http://schemas.microsoft.com/office/drawing/2014/main" id="{7A724C89-D61E-46D4-99EC-2D470F61A380}"/>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98814" y="1579050"/>
            <a:ext cx="1262687" cy="319618"/>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5" descr="How to install Node.js 7 and NPM 4 on CentOS 6/7, Debian 8 and Ubuntu 16">
            <a:extLst>
              <a:ext uri="{FF2B5EF4-FFF2-40B4-BE49-F238E27FC236}">
                <a16:creationId xmlns:a16="http://schemas.microsoft.com/office/drawing/2014/main" id="{A44E1E8C-0043-44D9-B564-B51437866376}"/>
              </a:ext>
            </a:extLst>
          </p:cNvPr>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4434" b="16089"/>
          <a:stretch/>
        </p:blipFill>
        <p:spPr bwMode="auto">
          <a:xfrm>
            <a:off x="258437" y="3302000"/>
            <a:ext cx="1343441" cy="36285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7233361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Object 34" hidden="1">
            <a:extLst>
              <a:ext uri="{FF2B5EF4-FFF2-40B4-BE49-F238E27FC236}">
                <a16:creationId xmlns:a16="http://schemas.microsoft.com/office/drawing/2014/main" id="{4C781002-2313-4803-A01A-071A6AB2FB9B}"/>
              </a:ext>
            </a:extLst>
          </p:cNvPr>
          <p:cNvGraphicFramePr>
            <a:graphicFrameLocks noChangeAspect="1"/>
          </p:cNvGraphicFramePr>
          <p:nvPr>
            <p:custDataLst>
              <p:tags r:id="rId2"/>
            </p:custDataLst>
            <p:extLst>
              <p:ext uri="{D42A27DB-BD31-4B8C-83A1-F6EECF244321}">
                <p14:modId xmlns:p14="http://schemas.microsoft.com/office/powerpoint/2010/main" val="6860361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244" name="think-cell Slide" r:id="rId5" imgW="360" imgH="360" progId="TCLayout.ActiveDocument.1">
                  <p:embed/>
                </p:oleObj>
              </mc:Choice>
              <mc:Fallback>
                <p:oleObj name="think-cell Slide" r:id="rId5" imgW="360" imgH="360" progId="TCLayout.ActiveDocument.1">
                  <p:embed/>
                  <p:pic>
                    <p:nvPicPr>
                      <p:cNvPr id="35" name="Object 34" hidden="1">
                        <a:extLst>
                          <a:ext uri="{FF2B5EF4-FFF2-40B4-BE49-F238E27FC236}">
                            <a16:creationId xmlns:a16="http://schemas.microsoft.com/office/drawing/2014/main" id="{4C781002-2313-4803-A01A-071A6AB2FB9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6" name="Rectangle 35" hidden="1">
            <a:extLst>
              <a:ext uri="{FF2B5EF4-FFF2-40B4-BE49-F238E27FC236}">
                <a16:creationId xmlns:a16="http://schemas.microsoft.com/office/drawing/2014/main" id="{1F08D6A1-39DF-43FB-878F-188581D16D3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UniCredit" panose="02000506040000020004" pitchFamily="2" charset="0"/>
              <a:ea typeface="+mj-ea"/>
              <a:cs typeface="Arial" panose="020B0604020202020204" pitchFamily="34" charset="0"/>
              <a:sym typeface="UniCredit" panose="02000506040000020004" pitchFamily="2" charset="0"/>
            </a:endParaRPr>
          </a:p>
        </p:txBody>
      </p:sp>
      <p:sp>
        <p:nvSpPr>
          <p:cNvPr id="2" name="Text Placeholder 1">
            <a:extLst>
              <a:ext uri="{FF2B5EF4-FFF2-40B4-BE49-F238E27FC236}">
                <a16:creationId xmlns:a16="http://schemas.microsoft.com/office/drawing/2014/main" id="{37C31D72-88E7-4CA4-97CC-DF95C6596AE8}"/>
              </a:ext>
            </a:extLst>
          </p:cNvPr>
          <p:cNvSpPr>
            <a:spLocks noGrp="1"/>
          </p:cNvSpPr>
          <p:nvPr>
            <p:ph type="body" sz="quarter" idx="12"/>
          </p:nvPr>
        </p:nvSpPr>
        <p:spPr/>
        <p:txBody>
          <a:bodyPr/>
          <a:lstStyle/>
          <a:p>
            <a:endParaRPr lang="en-US"/>
          </a:p>
        </p:txBody>
      </p:sp>
      <p:sp>
        <p:nvSpPr>
          <p:cNvPr id="3" name="Text Placeholder 2">
            <a:extLst>
              <a:ext uri="{FF2B5EF4-FFF2-40B4-BE49-F238E27FC236}">
                <a16:creationId xmlns:a16="http://schemas.microsoft.com/office/drawing/2014/main" id="{EBBD6DAB-6B2B-42CC-9A99-3EDE6EF054BF}"/>
              </a:ext>
            </a:extLst>
          </p:cNvPr>
          <p:cNvSpPr>
            <a:spLocks noGrp="1"/>
          </p:cNvSpPr>
          <p:nvPr>
            <p:ph type="body" sz="quarter" idx="16"/>
          </p:nvPr>
        </p:nvSpPr>
        <p:spPr/>
        <p:txBody>
          <a:bodyPr/>
          <a:lstStyle/>
          <a:p>
            <a:endParaRPr lang="en-US"/>
          </a:p>
        </p:txBody>
      </p:sp>
      <p:sp>
        <p:nvSpPr>
          <p:cNvPr id="4" name="Slide Number Placeholder 3">
            <a:extLst>
              <a:ext uri="{FF2B5EF4-FFF2-40B4-BE49-F238E27FC236}">
                <a16:creationId xmlns:a16="http://schemas.microsoft.com/office/drawing/2014/main" id="{82835AA4-731A-42C0-9605-CE5C097D862B}"/>
              </a:ext>
            </a:extLst>
          </p:cNvPr>
          <p:cNvSpPr>
            <a:spLocks noGrp="1"/>
          </p:cNvSpPr>
          <p:nvPr>
            <p:ph type="sldNum" sz="quarter" idx="11"/>
          </p:nvPr>
        </p:nvSpPr>
        <p:spPr/>
        <p:txBody>
          <a:bodyPr/>
          <a:lstStyle/>
          <a:p>
            <a:fld id="{9E8169F0-646E-455B-AF5A-6D6C02EAEAF6}" type="slidenum">
              <a:rPr lang="en-GB" noProof="1" smtClean="0"/>
              <a:t>19</a:t>
            </a:fld>
            <a:endParaRPr lang="en-GB" noProof="1"/>
          </a:p>
        </p:txBody>
      </p:sp>
      <p:graphicFrame>
        <p:nvGraphicFramePr>
          <p:cNvPr id="7" name="Content Placeholder 6">
            <a:extLst>
              <a:ext uri="{FF2B5EF4-FFF2-40B4-BE49-F238E27FC236}">
                <a16:creationId xmlns:a16="http://schemas.microsoft.com/office/drawing/2014/main" id="{B213A504-AF0B-4DEB-B8A6-057B0B9F9935}"/>
              </a:ext>
            </a:extLst>
          </p:cNvPr>
          <p:cNvGraphicFramePr>
            <a:graphicFrameLocks noGrp="1"/>
          </p:cNvGraphicFramePr>
          <p:nvPr>
            <p:ph sz="quarter" idx="15"/>
            <p:extLst>
              <p:ext uri="{D42A27DB-BD31-4B8C-83A1-F6EECF244321}">
                <p14:modId xmlns:p14="http://schemas.microsoft.com/office/powerpoint/2010/main" val="1396865223"/>
              </p:ext>
            </p:extLst>
          </p:nvPr>
        </p:nvGraphicFramePr>
        <p:xfrm>
          <a:off x="232568" y="1662658"/>
          <a:ext cx="8678863" cy="793939"/>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6" name="Title 5">
            <a:extLst>
              <a:ext uri="{FF2B5EF4-FFF2-40B4-BE49-F238E27FC236}">
                <a16:creationId xmlns:a16="http://schemas.microsoft.com/office/drawing/2014/main" id="{4CEBBF5F-7584-4FE7-8A89-E5F2743DBDC0}"/>
              </a:ext>
            </a:extLst>
          </p:cNvPr>
          <p:cNvSpPr>
            <a:spLocks noGrp="1"/>
          </p:cNvSpPr>
          <p:nvPr>
            <p:ph type="title"/>
          </p:nvPr>
        </p:nvSpPr>
        <p:spPr/>
        <p:txBody>
          <a:bodyPr/>
          <a:lstStyle/>
          <a:p>
            <a:r>
              <a:rPr lang="en-US" dirty="0"/>
              <a:t>First automated test level: Unit tests</a:t>
            </a:r>
          </a:p>
        </p:txBody>
      </p:sp>
      <p:graphicFrame>
        <p:nvGraphicFramePr>
          <p:cNvPr id="8" name="Content Placeholder 6">
            <a:extLst>
              <a:ext uri="{FF2B5EF4-FFF2-40B4-BE49-F238E27FC236}">
                <a16:creationId xmlns:a16="http://schemas.microsoft.com/office/drawing/2014/main" id="{4012480D-4ACF-46ED-A5BC-A161DB9452BD}"/>
              </a:ext>
            </a:extLst>
          </p:cNvPr>
          <p:cNvGraphicFramePr>
            <a:graphicFrameLocks/>
          </p:cNvGraphicFramePr>
          <p:nvPr/>
        </p:nvGraphicFramePr>
        <p:xfrm>
          <a:off x="1958454" y="1330658"/>
          <a:ext cx="6121021" cy="416256"/>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grpSp>
        <p:nvGrpSpPr>
          <p:cNvPr id="12" name="Gruppo 57">
            <a:extLst>
              <a:ext uri="{FF2B5EF4-FFF2-40B4-BE49-F238E27FC236}">
                <a16:creationId xmlns:a16="http://schemas.microsoft.com/office/drawing/2014/main" id="{96E0BE94-53DC-4071-8828-0459313D9456}"/>
              </a:ext>
            </a:extLst>
          </p:cNvPr>
          <p:cNvGrpSpPr/>
          <p:nvPr/>
        </p:nvGrpSpPr>
        <p:grpSpPr>
          <a:xfrm>
            <a:off x="5508245" y="2405035"/>
            <a:ext cx="529106" cy="366887"/>
            <a:chOff x="6946025" y="2094577"/>
            <a:chExt cx="723806" cy="478077"/>
          </a:xfrm>
        </p:grpSpPr>
        <p:pic>
          <p:nvPicPr>
            <p:cNvPr id="25" name="Grafik 143">
              <a:extLst>
                <a:ext uri="{FF2B5EF4-FFF2-40B4-BE49-F238E27FC236}">
                  <a16:creationId xmlns:a16="http://schemas.microsoft.com/office/drawing/2014/main" id="{DEFF508D-9999-4AA0-A2B0-59E721894D31}"/>
                </a:ext>
              </a:extLst>
            </p:cNvPr>
            <p:cNvPicPr>
              <a:picLocks noChangeAspect="1"/>
            </p:cNvPicPr>
            <p:nvPr/>
          </p:nvPicPr>
          <p:blipFill>
            <a:blip r:embed="rId17"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6946025" y="2122512"/>
              <a:ext cx="723806" cy="450142"/>
            </a:xfrm>
            <a:prstGeom prst="rect">
              <a:avLst/>
            </a:prstGeom>
          </p:spPr>
        </p:pic>
        <p:sp>
          <p:nvSpPr>
            <p:cNvPr id="26" name="CasellaDiTesto 59">
              <a:extLst>
                <a:ext uri="{FF2B5EF4-FFF2-40B4-BE49-F238E27FC236}">
                  <a16:creationId xmlns:a16="http://schemas.microsoft.com/office/drawing/2014/main" id="{EF7AC9F6-CBEE-498A-B32B-FECA87197DA1}"/>
                </a:ext>
              </a:extLst>
            </p:cNvPr>
            <p:cNvSpPr txBox="1"/>
            <p:nvPr/>
          </p:nvSpPr>
          <p:spPr>
            <a:xfrm>
              <a:off x="7225224" y="2094577"/>
              <a:ext cx="434106" cy="158833"/>
            </a:xfrm>
            <a:prstGeom prst="rect">
              <a:avLst/>
            </a:prstGeom>
            <a:solidFill>
              <a:sysClr val="window" lastClr="FFFFFF"/>
            </a:solid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1" i="1" u="none" strike="noStrike" kern="0" cap="none" spc="0" normalizeH="0" baseline="0" noProof="0" dirty="0">
                  <a:ln>
                    <a:noFill/>
                  </a:ln>
                  <a:solidFill>
                    <a:srgbClr val="999999"/>
                  </a:solidFill>
                  <a:effectLst/>
                  <a:uLnTx/>
                  <a:uFillTx/>
                  <a:latin typeface="UniCredit"/>
                  <a:cs typeface="Arial" charset="0"/>
                </a:rPr>
                <a:t>DEPLOY</a:t>
              </a:r>
              <a:endParaRPr kumimoji="0" lang="en-US" sz="1400" b="1" i="1" u="none" strike="noStrike" kern="0" cap="none" spc="0" normalizeH="0" baseline="0" noProof="0" dirty="0">
                <a:ln>
                  <a:noFill/>
                </a:ln>
                <a:solidFill>
                  <a:srgbClr val="999999"/>
                </a:solidFill>
                <a:effectLst/>
                <a:uLnTx/>
                <a:uFillTx/>
                <a:latin typeface="UniCredit"/>
                <a:cs typeface="Arial" charset="0"/>
              </a:endParaRPr>
            </a:p>
          </p:txBody>
        </p:sp>
      </p:grpSp>
      <p:pic>
        <p:nvPicPr>
          <p:cNvPr id="13" name="Immagine 68">
            <a:extLst>
              <a:ext uri="{FF2B5EF4-FFF2-40B4-BE49-F238E27FC236}">
                <a16:creationId xmlns:a16="http://schemas.microsoft.com/office/drawing/2014/main" id="{0141B9BC-946F-47F8-B222-7B5FB3E42FAB}"/>
              </a:ext>
            </a:extLst>
          </p:cNvPr>
          <p:cNvPicPr>
            <a:picLocks noChangeAspect="1"/>
          </p:cNvPicPr>
          <p:nvPr/>
        </p:nvPicPr>
        <p:blipFill>
          <a:blip r:embed="rId18"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4988808" y="937660"/>
            <a:ext cx="527698" cy="316419"/>
          </a:xfrm>
          <a:prstGeom prst="rect">
            <a:avLst/>
          </a:prstGeom>
        </p:spPr>
      </p:pic>
      <p:pic>
        <p:nvPicPr>
          <p:cNvPr id="14" name="Immagine 90">
            <a:extLst>
              <a:ext uri="{FF2B5EF4-FFF2-40B4-BE49-F238E27FC236}">
                <a16:creationId xmlns:a16="http://schemas.microsoft.com/office/drawing/2014/main" id="{1F6956C0-6AD7-42B3-8A6D-229457FA84E4}"/>
              </a:ext>
            </a:extLst>
          </p:cNvPr>
          <p:cNvPicPr>
            <a:picLocks noChangeAspect="1"/>
          </p:cNvPicPr>
          <p:nvPr/>
        </p:nvPicPr>
        <p:blipFill>
          <a:blip r:embed="rId19"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6322667" y="2477700"/>
            <a:ext cx="622008" cy="197186"/>
          </a:xfrm>
          <a:prstGeom prst="rect">
            <a:avLst/>
          </a:prstGeom>
        </p:spPr>
      </p:pic>
      <p:pic>
        <p:nvPicPr>
          <p:cNvPr id="15" name="Immagine 92">
            <a:extLst>
              <a:ext uri="{FF2B5EF4-FFF2-40B4-BE49-F238E27FC236}">
                <a16:creationId xmlns:a16="http://schemas.microsoft.com/office/drawing/2014/main" id="{5A757FDC-EB77-47F4-9B34-CA7FB43E3E65}"/>
              </a:ext>
            </a:extLst>
          </p:cNvPr>
          <p:cNvPicPr>
            <a:picLocks noChangeAspect="1"/>
          </p:cNvPicPr>
          <p:nvPr/>
        </p:nvPicPr>
        <p:blipFill>
          <a:blip r:embed="rId20"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7222315" y="2370242"/>
            <a:ext cx="576113" cy="376123"/>
          </a:xfrm>
          <a:prstGeom prst="rect">
            <a:avLst/>
          </a:prstGeom>
        </p:spPr>
      </p:pic>
      <p:pic>
        <p:nvPicPr>
          <p:cNvPr id="17" name="Immagine 124">
            <a:extLst>
              <a:ext uri="{FF2B5EF4-FFF2-40B4-BE49-F238E27FC236}">
                <a16:creationId xmlns:a16="http://schemas.microsoft.com/office/drawing/2014/main" id="{0D3D192C-F36A-401A-BDC0-CD9B1DF67085}"/>
              </a:ext>
            </a:extLst>
          </p:cNvPr>
          <p:cNvPicPr>
            <a:picLocks noChangeAspect="1"/>
          </p:cNvPicPr>
          <p:nvPr/>
        </p:nvPicPr>
        <p:blipFill>
          <a:blip r:embed="rId21"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3576062" y="2400916"/>
            <a:ext cx="1045724" cy="402234"/>
          </a:xfrm>
          <a:prstGeom prst="rect">
            <a:avLst/>
          </a:prstGeom>
        </p:spPr>
      </p:pic>
      <p:pic>
        <p:nvPicPr>
          <p:cNvPr id="18" name="Picture 4" descr="JUnit – About">
            <a:extLst>
              <a:ext uri="{FF2B5EF4-FFF2-40B4-BE49-F238E27FC236}">
                <a16:creationId xmlns:a16="http://schemas.microsoft.com/office/drawing/2014/main" id="{43D69F85-738D-4488-A255-E84FECD44BE3}"/>
              </a:ext>
            </a:extLst>
          </p:cNvPr>
          <p:cNvPicPr>
            <a:picLocks noChangeAspect="1" noChangeArrowheads="1"/>
          </p:cNvPicPr>
          <p:nvPr/>
        </p:nvPicPr>
        <p:blipFill>
          <a:blip r:embed="rId22" cstate="email">
            <a:extLst>
              <a:ext uri="{28A0092B-C50C-407E-A947-70E740481C1C}">
                <a14:useLocalDpi xmlns:a14="http://schemas.microsoft.com/office/drawing/2010/main"/>
              </a:ext>
            </a:extLst>
          </a:blip>
          <a:srcRect/>
          <a:stretch>
            <a:fillRect/>
          </a:stretch>
        </p:blipFill>
        <p:spPr bwMode="auto">
          <a:xfrm>
            <a:off x="3006688" y="2496035"/>
            <a:ext cx="493019" cy="155210"/>
          </a:xfrm>
          <a:prstGeom prst="rect">
            <a:avLst/>
          </a:prstGeom>
          <a:noFill/>
          <a:extLst>
            <a:ext uri="{909E8E84-426E-40DD-AFC4-6F175D3DCCD1}">
              <a14:hiddenFill xmlns:a14="http://schemas.microsoft.com/office/drawing/2010/main">
                <a:solidFill>
                  <a:srgbClr val="FFFFFF"/>
                </a:solidFill>
              </a14:hiddenFill>
            </a:ext>
          </a:extLst>
        </p:spPr>
      </p:pic>
      <p:grpSp>
        <p:nvGrpSpPr>
          <p:cNvPr id="19" name="Gruppo 12">
            <a:extLst>
              <a:ext uri="{FF2B5EF4-FFF2-40B4-BE49-F238E27FC236}">
                <a16:creationId xmlns:a16="http://schemas.microsoft.com/office/drawing/2014/main" id="{F3DC3895-2715-40DE-8A2B-A4D3871C6BC2}"/>
              </a:ext>
            </a:extLst>
          </p:cNvPr>
          <p:cNvGrpSpPr/>
          <p:nvPr/>
        </p:nvGrpSpPr>
        <p:grpSpPr>
          <a:xfrm>
            <a:off x="4708823" y="2238895"/>
            <a:ext cx="547002" cy="457094"/>
            <a:chOff x="8284888" y="2480464"/>
            <a:chExt cx="569212" cy="461665"/>
          </a:xfrm>
        </p:grpSpPr>
        <p:pic>
          <p:nvPicPr>
            <p:cNvPr id="23" name="Immagine 40">
              <a:extLst>
                <a:ext uri="{FF2B5EF4-FFF2-40B4-BE49-F238E27FC236}">
                  <a16:creationId xmlns:a16="http://schemas.microsoft.com/office/drawing/2014/main" id="{8C31A6CE-D9F6-4E08-9C3F-2EAD7378E351}"/>
                </a:ext>
              </a:extLst>
            </p:cNvPr>
            <p:cNvPicPr>
              <a:picLocks noChangeAspect="1"/>
            </p:cNvPicPr>
            <p:nvPr/>
          </p:nvPicPr>
          <p:blipFill>
            <a:blip r:embed="rId23"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8284888" y="2711297"/>
              <a:ext cx="490862" cy="197995"/>
            </a:xfrm>
            <a:prstGeom prst="rect">
              <a:avLst/>
            </a:prstGeom>
            <a:solidFill>
              <a:sysClr val="window" lastClr="FFFFFF"/>
            </a:solidFill>
          </p:spPr>
        </p:pic>
        <p:sp>
          <p:nvSpPr>
            <p:cNvPr id="24" name="CasellaDiTesto 81">
              <a:extLst>
                <a:ext uri="{FF2B5EF4-FFF2-40B4-BE49-F238E27FC236}">
                  <a16:creationId xmlns:a16="http://schemas.microsoft.com/office/drawing/2014/main" id="{6B613A88-89B7-47B0-8A52-A599BD41CADB}"/>
                </a:ext>
              </a:extLst>
            </p:cNvPr>
            <p:cNvSpPr txBox="1"/>
            <p:nvPr/>
          </p:nvSpPr>
          <p:spPr>
            <a:xfrm>
              <a:off x="8669369" y="2480464"/>
              <a:ext cx="184731" cy="461665"/>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dirty="0">
                <a:ln>
                  <a:noFill/>
                </a:ln>
                <a:solidFill>
                  <a:srgbClr val="999999"/>
                </a:solidFill>
                <a:effectLst/>
                <a:uLnTx/>
                <a:uFillTx/>
                <a:latin typeface="UniCredit"/>
                <a:cs typeface="Arial" charset="0"/>
              </a:endParaRPr>
            </a:p>
          </p:txBody>
        </p:sp>
      </p:grpSp>
      <p:pic>
        <p:nvPicPr>
          <p:cNvPr id="20" name="Graphic 19">
            <a:extLst>
              <a:ext uri="{FF2B5EF4-FFF2-40B4-BE49-F238E27FC236}">
                <a16:creationId xmlns:a16="http://schemas.microsoft.com/office/drawing/2014/main" id="{F78FA946-A515-477A-9B6D-1F2533606B92}"/>
              </a:ext>
            </a:extLst>
          </p:cNvPr>
          <p:cNvPicPr>
            <a:picLocks noChangeAspect="1"/>
          </p:cNvPicPr>
          <p:nvPr/>
        </p:nvPicPr>
        <p:blipFill>
          <a:blip r:embed="rId24" cstate="email">
            <a:duotone>
              <a:schemeClr val="bg2">
                <a:shade val="45000"/>
                <a:satMod val="135000"/>
              </a:schemeClr>
              <a:prstClr val="white"/>
            </a:duotone>
            <a:extLst>
              <a:ext uri="{28A0092B-C50C-407E-A947-70E740481C1C}">
                <a14:useLocalDpi xmlns:a14="http://schemas.microsoft.com/office/drawing/2010/main"/>
              </a:ext>
              <a:ext uri="{96DAC541-7B7A-43D3-8B79-37D633B846F1}">
                <asvg:svgBlip xmlns:asvg="http://schemas.microsoft.com/office/drawing/2016/SVG/main" r:embed="rId25"/>
              </a:ext>
            </a:extLst>
          </a:blip>
          <a:stretch>
            <a:fillRect/>
          </a:stretch>
        </p:blipFill>
        <p:spPr>
          <a:xfrm>
            <a:off x="502979" y="2794878"/>
            <a:ext cx="527698" cy="281008"/>
          </a:xfrm>
          <a:prstGeom prst="rect">
            <a:avLst/>
          </a:prstGeom>
        </p:spPr>
      </p:pic>
      <p:pic>
        <p:nvPicPr>
          <p:cNvPr id="21" name="Picture 6" descr="Jira - Logo">
            <a:extLst>
              <a:ext uri="{FF2B5EF4-FFF2-40B4-BE49-F238E27FC236}">
                <a16:creationId xmlns:a16="http://schemas.microsoft.com/office/drawing/2014/main" id="{46421F2C-80A9-4993-A330-F72A33680620}"/>
              </a:ext>
            </a:extLst>
          </p:cNvPr>
          <p:cNvPicPr>
            <a:picLocks noChangeAspect="1" noChangeArrowheads="1"/>
          </p:cNvPicPr>
          <p:nvPr/>
        </p:nvPicPr>
        <p:blipFill>
          <a:blip r:embed="rId26" cstate="email">
            <a:duotone>
              <a:schemeClr val="bg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473623" y="2466704"/>
            <a:ext cx="475044" cy="212178"/>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6">
            <a:extLst>
              <a:ext uri="{FF2B5EF4-FFF2-40B4-BE49-F238E27FC236}">
                <a16:creationId xmlns:a16="http://schemas.microsoft.com/office/drawing/2014/main" id="{8E43D0E3-532C-4C39-99C9-20721793742D}"/>
              </a:ext>
            </a:extLst>
          </p:cNvPr>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a:off x="3117583" y="3230769"/>
            <a:ext cx="271228" cy="291643"/>
          </a:xfrm>
          <a:prstGeom prst="rect">
            <a:avLst/>
          </a:prstGeom>
        </p:spPr>
      </p:pic>
      <p:grpSp>
        <p:nvGrpSpPr>
          <p:cNvPr id="30" name="Gruppo 57">
            <a:extLst>
              <a:ext uri="{FF2B5EF4-FFF2-40B4-BE49-F238E27FC236}">
                <a16:creationId xmlns:a16="http://schemas.microsoft.com/office/drawing/2014/main" id="{DE5DFB16-D2CA-496C-BD55-F2D48342B748}"/>
              </a:ext>
            </a:extLst>
          </p:cNvPr>
          <p:cNvGrpSpPr/>
          <p:nvPr/>
        </p:nvGrpSpPr>
        <p:grpSpPr>
          <a:xfrm>
            <a:off x="8076068" y="2412332"/>
            <a:ext cx="529106" cy="366887"/>
            <a:chOff x="6946025" y="2094577"/>
            <a:chExt cx="723806" cy="478077"/>
          </a:xfrm>
        </p:grpSpPr>
        <p:pic>
          <p:nvPicPr>
            <p:cNvPr id="31" name="Grafik 143">
              <a:extLst>
                <a:ext uri="{FF2B5EF4-FFF2-40B4-BE49-F238E27FC236}">
                  <a16:creationId xmlns:a16="http://schemas.microsoft.com/office/drawing/2014/main" id="{C74DA0A2-E42C-419D-A1E6-613AA6E5A8E6}"/>
                </a:ext>
              </a:extLst>
            </p:cNvPr>
            <p:cNvPicPr>
              <a:picLocks noChangeAspect="1"/>
            </p:cNvPicPr>
            <p:nvPr/>
          </p:nvPicPr>
          <p:blipFill>
            <a:blip r:embed="rId17"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6946025" y="2122512"/>
              <a:ext cx="723806" cy="450142"/>
            </a:xfrm>
            <a:prstGeom prst="rect">
              <a:avLst/>
            </a:prstGeom>
          </p:spPr>
        </p:pic>
        <p:sp>
          <p:nvSpPr>
            <p:cNvPr id="32" name="CasellaDiTesto 59">
              <a:extLst>
                <a:ext uri="{FF2B5EF4-FFF2-40B4-BE49-F238E27FC236}">
                  <a16:creationId xmlns:a16="http://schemas.microsoft.com/office/drawing/2014/main" id="{C6BE75B0-EEDD-42DA-8834-701850B9CB36}"/>
                </a:ext>
              </a:extLst>
            </p:cNvPr>
            <p:cNvSpPr txBox="1"/>
            <p:nvPr/>
          </p:nvSpPr>
          <p:spPr>
            <a:xfrm>
              <a:off x="7225224" y="2094577"/>
              <a:ext cx="434106" cy="158833"/>
            </a:xfrm>
            <a:prstGeom prst="rect">
              <a:avLst/>
            </a:prstGeom>
            <a:solidFill>
              <a:sysClr val="window" lastClr="FFFFFF"/>
            </a:solid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1" i="1" u="none" strike="noStrike" kern="0" cap="none" spc="0" normalizeH="0" baseline="0" noProof="0" dirty="0">
                  <a:ln>
                    <a:noFill/>
                  </a:ln>
                  <a:solidFill>
                    <a:srgbClr val="999999"/>
                  </a:solidFill>
                  <a:effectLst/>
                  <a:uLnTx/>
                  <a:uFillTx/>
                  <a:latin typeface="UniCredit"/>
                  <a:cs typeface="Arial" charset="0"/>
                </a:rPr>
                <a:t>DEPLOY</a:t>
              </a:r>
              <a:endParaRPr kumimoji="0" lang="en-US" sz="1400" b="1" i="1" u="none" strike="noStrike" kern="0" cap="none" spc="0" normalizeH="0" baseline="0" noProof="0" dirty="0">
                <a:ln>
                  <a:noFill/>
                </a:ln>
                <a:solidFill>
                  <a:srgbClr val="999999"/>
                </a:solidFill>
                <a:effectLst/>
                <a:uLnTx/>
                <a:uFillTx/>
                <a:latin typeface="UniCredit"/>
                <a:cs typeface="Arial" charset="0"/>
              </a:endParaRPr>
            </a:p>
          </p:txBody>
        </p:sp>
      </p:grpSp>
      <p:pic>
        <p:nvPicPr>
          <p:cNvPr id="33" name="Picture 28" descr="WireMock for Java Developers | Udemy">
            <a:extLst>
              <a:ext uri="{FF2B5EF4-FFF2-40B4-BE49-F238E27FC236}">
                <a16:creationId xmlns:a16="http://schemas.microsoft.com/office/drawing/2014/main" id="{24A9A257-90C9-4533-934C-7A70205C7E26}"/>
              </a:ext>
            </a:extLst>
          </p:cNvPr>
          <p:cNvPicPr>
            <a:picLocks noChangeAspect="1" noChangeArrowheads="1"/>
          </p:cNvPicPr>
          <p:nvPr/>
        </p:nvPicPr>
        <p:blipFill>
          <a:blip r:embed="rId28" cstate="print">
            <a:duotone>
              <a:schemeClr val="bg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6806341" y="2862878"/>
            <a:ext cx="518476" cy="291643"/>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20" descr="Liquibase | Database CI/CD &amp; Automation | Database DevOps">
            <a:extLst>
              <a:ext uri="{FF2B5EF4-FFF2-40B4-BE49-F238E27FC236}">
                <a16:creationId xmlns:a16="http://schemas.microsoft.com/office/drawing/2014/main" id="{98ABEE39-4DFB-4526-B645-77E5F85F754A}"/>
              </a:ext>
            </a:extLst>
          </p:cNvPr>
          <p:cNvPicPr>
            <a:picLocks noChangeAspect="1" noChangeArrowheads="1"/>
          </p:cNvPicPr>
          <p:nvPr/>
        </p:nvPicPr>
        <p:blipFill>
          <a:blip r:embed="rId29"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871008" y="2901167"/>
            <a:ext cx="545935" cy="360000"/>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10" descr="Flyway (software) - Wikipedia">
            <a:extLst>
              <a:ext uri="{FF2B5EF4-FFF2-40B4-BE49-F238E27FC236}">
                <a16:creationId xmlns:a16="http://schemas.microsoft.com/office/drawing/2014/main" id="{C8C05ECE-D2ED-4084-89F3-5DB603C030C3}"/>
              </a:ext>
            </a:extLst>
          </p:cNvPr>
          <p:cNvPicPr>
            <a:picLocks noChangeAspect="1" noChangeArrowheads="1"/>
          </p:cNvPicPr>
          <p:nvPr/>
        </p:nvPicPr>
        <p:blipFill>
          <a:blip r:embed="rId30"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359763" y="2871407"/>
            <a:ext cx="511245" cy="406440"/>
          </a:xfrm>
          <a:prstGeom prst="rect">
            <a:avLst/>
          </a:prstGeom>
          <a:noFill/>
          <a:extLst>
            <a:ext uri="{909E8E84-426E-40DD-AFC4-6F175D3DCCD1}">
              <a14:hiddenFill xmlns:a14="http://schemas.microsoft.com/office/drawing/2010/main">
                <a:solidFill>
                  <a:srgbClr val="FFFFFF"/>
                </a:solidFill>
              </a14:hiddenFill>
            </a:ext>
          </a:extLst>
        </p:spPr>
      </p:pic>
      <p:pic>
        <p:nvPicPr>
          <p:cNvPr id="37894" name="Picture 6" descr="Branding Guidelines (Draft WIP) | OWASP">
            <a:extLst>
              <a:ext uri="{FF2B5EF4-FFF2-40B4-BE49-F238E27FC236}">
                <a16:creationId xmlns:a16="http://schemas.microsoft.com/office/drawing/2014/main" id="{ECA8E031-C4DE-49C3-98F8-336E375E2F06}"/>
              </a:ext>
            </a:extLst>
          </p:cNvPr>
          <p:cNvPicPr>
            <a:picLocks noChangeAspect="1" noChangeArrowheads="1"/>
          </p:cNvPicPr>
          <p:nvPr/>
        </p:nvPicPr>
        <p:blipFill>
          <a:blip r:embed="rId31"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710231" y="2855669"/>
            <a:ext cx="725763" cy="252505"/>
          </a:xfrm>
          <a:prstGeom prst="rect">
            <a:avLst/>
          </a:prstGeom>
          <a:noFill/>
          <a:extLst>
            <a:ext uri="{909E8E84-426E-40DD-AFC4-6F175D3DCCD1}">
              <a14:hiddenFill xmlns:a14="http://schemas.microsoft.com/office/drawing/2010/main">
                <a:solidFill>
                  <a:srgbClr val="FFFFFF"/>
                </a:solidFill>
              </a14:hiddenFill>
            </a:ext>
          </a:extLst>
        </p:spPr>
      </p:pic>
      <p:pic>
        <p:nvPicPr>
          <p:cNvPr id="37896" name="Picture 8">
            <a:extLst>
              <a:ext uri="{FF2B5EF4-FFF2-40B4-BE49-F238E27FC236}">
                <a16:creationId xmlns:a16="http://schemas.microsoft.com/office/drawing/2014/main" id="{B7DD6AF4-1615-4535-807F-237487883906}"/>
              </a:ext>
            </a:extLst>
          </p:cNvPr>
          <p:cNvPicPr>
            <a:picLocks noChangeAspect="1" noChangeArrowheads="1"/>
          </p:cNvPicPr>
          <p:nvPr/>
        </p:nvPicPr>
        <p:blipFill>
          <a:blip r:embed="rId32"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133631" y="2494295"/>
            <a:ext cx="661499" cy="167442"/>
          </a:xfrm>
          <a:prstGeom prst="rect">
            <a:avLst/>
          </a:prstGeom>
          <a:noFill/>
          <a:extLst>
            <a:ext uri="{909E8E84-426E-40DD-AFC4-6F175D3DCCD1}">
              <a14:hiddenFill xmlns:a14="http://schemas.microsoft.com/office/drawing/2010/main">
                <a:solidFill>
                  <a:srgbClr val="FFFFFF"/>
                </a:solidFill>
              </a14:hiddenFill>
            </a:ext>
          </a:extLst>
        </p:spPr>
      </p:pic>
      <p:pic>
        <p:nvPicPr>
          <p:cNvPr id="37898" name="Picture 10" descr="Press Kit | Atlassian">
            <a:extLst>
              <a:ext uri="{FF2B5EF4-FFF2-40B4-BE49-F238E27FC236}">
                <a16:creationId xmlns:a16="http://schemas.microsoft.com/office/drawing/2014/main" id="{9ECAA01F-D03E-4060-B5BB-87503731390E}"/>
              </a:ext>
            </a:extLst>
          </p:cNvPr>
          <p:cNvPicPr>
            <a:picLocks noChangeAspect="1" noChangeArrowheads="1"/>
          </p:cNvPicPr>
          <p:nvPr/>
        </p:nvPicPr>
        <p:blipFill>
          <a:blip r:embed="rId33"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148118" y="2517890"/>
            <a:ext cx="810336" cy="116805"/>
          </a:xfrm>
          <a:prstGeom prst="rect">
            <a:avLst/>
          </a:prstGeom>
          <a:noFill/>
          <a:extLst>
            <a:ext uri="{909E8E84-426E-40DD-AFC4-6F175D3DCCD1}">
              <a14:hiddenFill xmlns:a14="http://schemas.microsoft.com/office/drawing/2010/main">
                <a:solidFill>
                  <a:srgbClr val="FFFFFF"/>
                </a:solidFill>
              </a14:hiddenFill>
            </a:ext>
          </a:extLst>
        </p:spPr>
      </p:pic>
      <p:pic>
        <p:nvPicPr>
          <p:cNvPr id="37903" name="Picture 15" descr="How to install Node.js 7 and NPM 4 on CentOS 6/7, Debian 8 and Ubuntu 16">
            <a:extLst>
              <a:ext uri="{FF2B5EF4-FFF2-40B4-BE49-F238E27FC236}">
                <a16:creationId xmlns:a16="http://schemas.microsoft.com/office/drawing/2014/main" id="{7873FB91-1337-4A7F-8995-6F82AEF761CD}"/>
              </a:ext>
            </a:extLst>
          </p:cNvPr>
          <p:cNvPicPr>
            <a:picLocks noChangeAspect="1" noChangeArrowheads="1"/>
          </p:cNvPicPr>
          <p:nvPr/>
        </p:nvPicPr>
        <p:blipFill>
          <a:blip r:embed="rId34"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992296" y="2803150"/>
            <a:ext cx="926045" cy="360000"/>
          </a:xfrm>
          <a:prstGeom prst="rect">
            <a:avLst/>
          </a:prstGeom>
          <a:noFill/>
          <a:extLst>
            <a:ext uri="{909E8E84-426E-40DD-AFC4-6F175D3DCCD1}">
              <a14:hiddenFill xmlns:a14="http://schemas.microsoft.com/office/drawing/2010/main">
                <a:solidFill>
                  <a:srgbClr val="FFFFFF"/>
                </a:solidFill>
              </a14:hiddenFill>
            </a:ext>
          </a:extLst>
        </p:spPr>
      </p:pic>
      <p:pic>
        <p:nvPicPr>
          <p:cNvPr id="37905" name="Picture 17" descr="PowerMock (Android). Often, in order to write unit tests… | by Gioacchino  Lonardo | Medium">
            <a:extLst>
              <a:ext uri="{FF2B5EF4-FFF2-40B4-BE49-F238E27FC236}">
                <a16:creationId xmlns:a16="http://schemas.microsoft.com/office/drawing/2014/main" id="{D068A2D2-A3E1-43A2-9A0A-99C002C43726}"/>
              </a:ext>
            </a:extLst>
          </p:cNvPr>
          <p:cNvPicPr>
            <a:picLocks noChangeAspect="1" noChangeArrowheads="1"/>
          </p:cNvPicPr>
          <p:nvPr/>
        </p:nvPicPr>
        <p:blipFill>
          <a:blip r:embed="rId35" cstate="print">
            <a:extLst>
              <a:ext uri="{28A0092B-C50C-407E-A947-70E740481C1C}">
                <a14:useLocalDpi xmlns:a14="http://schemas.microsoft.com/office/drawing/2010/main" val="0"/>
              </a:ext>
            </a:extLst>
          </a:blip>
          <a:srcRect/>
          <a:stretch>
            <a:fillRect/>
          </a:stretch>
        </p:blipFill>
        <p:spPr bwMode="auto">
          <a:xfrm>
            <a:off x="3024516" y="2835505"/>
            <a:ext cx="493019" cy="2473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9090074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7E28239E-51D2-414C-A8EE-B834383A0A1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206" name="think-cell Slide" r:id="rId5" imgW="360" imgH="360" progId="TCLayout.ActiveDocument.1">
                  <p:embed/>
                </p:oleObj>
              </mc:Choice>
              <mc:Fallback>
                <p:oleObj name="think-cell Slide" r:id="rId5" imgW="360" imgH="360" progId="TCLayout.ActiveDocument.1">
                  <p:embed/>
                  <p:pic>
                    <p:nvPicPr>
                      <p:cNvPr id="12" name="Object 11" hidden="1">
                        <a:extLst>
                          <a:ext uri="{FF2B5EF4-FFF2-40B4-BE49-F238E27FC236}">
                            <a16:creationId xmlns:a16="http://schemas.microsoft.com/office/drawing/2014/main" id="{7E28239E-51D2-414C-A8EE-B834383A0A1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11EF5AE1-37C3-4A14-B826-661109980F5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UniCredit" panose="02000506040000020004" pitchFamily="2" charset="0"/>
              <a:ea typeface="+mj-ea"/>
              <a:cs typeface="Arial" panose="020B0604020202020204" pitchFamily="34" charset="0"/>
              <a:sym typeface="UniCredit" panose="02000506040000020004" pitchFamily="2" charset="0"/>
            </a:endParaRPr>
          </a:p>
        </p:txBody>
      </p:sp>
      <p:cxnSp>
        <p:nvCxnSpPr>
          <p:cNvPr id="25" name="Straight Connector 24">
            <a:extLst>
              <a:ext uri="{FF2B5EF4-FFF2-40B4-BE49-F238E27FC236}">
                <a16:creationId xmlns:a16="http://schemas.microsoft.com/office/drawing/2014/main" id="{B0AEAC00-90F1-4F09-AE95-4C400CE5718A}"/>
              </a:ext>
            </a:extLst>
          </p:cNvPr>
          <p:cNvCxnSpPr>
            <a:cxnSpLocks/>
          </p:cNvCxnSpPr>
          <p:nvPr/>
        </p:nvCxnSpPr>
        <p:spPr>
          <a:xfrm flipH="1">
            <a:off x="5173139" y="1241779"/>
            <a:ext cx="11287" cy="2530507"/>
          </a:xfrm>
          <a:prstGeom prst="line">
            <a:avLst/>
          </a:prstGeom>
          <a:ln>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sp>
        <p:nvSpPr>
          <p:cNvPr id="8" name="Title 7">
            <a:extLst>
              <a:ext uri="{FF2B5EF4-FFF2-40B4-BE49-F238E27FC236}">
                <a16:creationId xmlns:a16="http://schemas.microsoft.com/office/drawing/2014/main" id="{57893CD7-531D-458B-9BC3-BD8E417A9F20}"/>
              </a:ext>
            </a:extLst>
          </p:cNvPr>
          <p:cNvSpPr>
            <a:spLocks noGrp="1"/>
          </p:cNvSpPr>
          <p:nvPr>
            <p:ph type="title"/>
          </p:nvPr>
        </p:nvSpPr>
        <p:spPr/>
        <p:txBody>
          <a:bodyPr/>
          <a:lstStyle/>
          <a:p>
            <a:r>
              <a:rPr lang="en-US" dirty="0"/>
              <a:t>Introducing the team</a:t>
            </a:r>
          </a:p>
        </p:txBody>
      </p:sp>
      <p:sp>
        <p:nvSpPr>
          <p:cNvPr id="15" name="Oval 14">
            <a:extLst>
              <a:ext uri="{FF2B5EF4-FFF2-40B4-BE49-F238E27FC236}">
                <a16:creationId xmlns:a16="http://schemas.microsoft.com/office/drawing/2014/main" id="{10C2F9A7-47C6-4B50-AD15-289EDF0B09A3}"/>
              </a:ext>
            </a:extLst>
          </p:cNvPr>
          <p:cNvSpPr/>
          <p:nvPr/>
        </p:nvSpPr>
        <p:spPr bwMode="gray">
          <a:xfrm>
            <a:off x="5117249" y="1463951"/>
            <a:ext cx="134354" cy="134354"/>
          </a:xfrm>
          <a:prstGeom prst="ellipse">
            <a:avLst/>
          </a:prstGeom>
          <a:solidFill>
            <a:srgbClr val="C0E4ED"/>
          </a:solidFill>
          <a:ln w="76200" cmpd="dbl">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i="1" dirty="0">
              <a:solidFill>
                <a:schemeClr val="bg1"/>
              </a:solidFill>
              <a:latin typeface="UniCredit" panose="02000506040000020004" pitchFamily="2" charset="0"/>
            </a:endParaRPr>
          </a:p>
        </p:txBody>
      </p:sp>
      <p:sp>
        <p:nvSpPr>
          <p:cNvPr id="16" name="Oval 15">
            <a:extLst>
              <a:ext uri="{FF2B5EF4-FFF2-40B4-BE49-F238E27FC236}">
                <a16:creationId xmlns:a16="http://schemas.microsoft.com/office/drawing/2014/main" id="{DDF9B781-540B-4BEA-9687-9C28118B2EAA}"/>
              </a:ext>
            </a:extLst>
          </p:cNvPr>
          <p:cNvSpPr/>
          <p:nvPr/>
        </p:nvSpPr>
        <p:spPr bwMode="gray">
          <a:xfrm>
            <a:off x="5117249" y="2105943"/>
            <a:ext cx="134354" cy="134354"/>
          </a:xfrm>
          <a:prstGeom prst="ellipse">
            <a:avLst/>
          </a:prstGeom>
          <a:solidFill>
            <a:srgbClr val="C0E4ED"/>
          </a:solidFill>
          <a:ln w="76200" cmpd="dbl">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i="1" dirty="0">
              <a:solidFill>
                <a:schemeClr val="bg1"/>
              </a:solidFill>
              <a:latin typeface="UniCredit" panose="02000506040000020004" pitchFamily="2" charset="0"/>
            </a:endParaRPr>
          </a:p>
        </p:txBody>
      </p:sp>
      <p:sp>
        <p:nvSpPr>
          <p:cNvPr id="17" name="Oval 16">
            <a:extLst>
              <a:ext uri="{FF2B5EF4-FFF2-40B4-BE49-F238E27FC236}">
                <a16:creationId xmlns:a16="http://schemas.microsoft.com/office/drawing/2014/main" id="{A50C8EE1-1B49-46A4-B828-52906DE8B062}"/>
              </a:ext>
            </a:extLst>
          </p:cNvPr>
          <p:cNvSpPr/>
          <p:nvPr/>
        </p:nvSpPr>
        <p:spPr bwMode="gray">
          <a:xfrm>
            <a:off x="5117249" y="2747935"/>
            <a:ext cx="134354" cy="134354"/>
          </a:xfrm>
          <a:prstGeom prst="ellipse">
            <a:avLst/>
          </a:prstGeom>
          <a:solidFill>
            <a:srgbClr val="C0E4ED"/>
          </a:solidFill>
          <a:ln w="76200" cmpd="dbl">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i="1" dirty="0">
              <a:solidFill>
                <a:schemeClr val="bg1"/>
              </a:solidFill>
              <a:latin typeface="UniCredit" panose="02000506040000020004" pitchFamily="2" charset="0"/>
            </a:endParaRPr>
          </a:p>
        </p:txBody>
      </p:sp>
      <p:sp>
        <p:nvSpPr>
          <p:cNvPr id="18" name="Rectangle 17">
            <a:extLst>
              <a:ext uri="{FF2B5EF4-FFF2-40B4-BE49-F238E27FC236}">
                <a16:creationId xmlns:a16="http://schemas.microsoft.com/office/drawing/2014/main" id="{63A7A9A2-35A8-4528-BDBD-A2DC1637FD2E}"/>
              </a:ext>
            </a:extLst>
          </p:cNvPr>
          <p:cNvSpPr/>
          <p:nvPr/>
        </p:nvSpPr>
        <p:spPr>
          <a:xfrm>
            <a:off x="5251603" y="1379071"/>
            <a:ext cx="3597598" cy="2442583"/>
          </a:xfrm>
          <a:prstGeom prst="rect">
            <a:avLst/>
          </a:prstGeom>
        </p:spPr>
        <p:txBody>
          <a:bodyPr wrap="square" lIns="72000" tIns="36000" rIns="36000" bIns="36000">
            <a:spAutoFit/>
          </a:bodyPr>
          <a:lstStyle/>
          <a:p>
            <a:pPr defTabSz="179388"/>
            <a:r>
              <a:rPr lang="en-US" sz="1400" b="1" dirty="0"/>
              <a:t>Guido Riva</a:t>
            </a:r>
            <a:endParaRPr lang="en-US" sz="1400" dirty="0"/>
          </a:p>
          <a:p>
            <a:pPr defTabSz="179388"/>
            <a:r>
              <a:rPr lang="en-US" sz="1400" dirty="0"/>
              <a:t>Credit Origination ICT – E2E Initiatives</a:t>
            </a:r>
          </a:p>
          <a:p>
            <a:pPr defTabSz="179388"/>
            <a:endParaRPr lang="en-US" sz="1400" b="1" dirty="0"/>
          </a:p>
          <a:p>
            <a:pPr defTabSz="179388"/>
            <a:r>
              <a:rPr lang="en-US" sz="1400" b="1" dirty="0"/>
              <a:t>Roberto Venturetti</a:t>
            </a:r>
          </a:p>
          <a:p>
            <a:pPr defTabSz="179388"/>
            <a:r>
              <a:rPr lang="en-US" sz="1400" dirty="0"/>
              <a:t>GRM&amp;GLO Technologies</a:t>
            </a:r>
          </a:p>
          <a:p>
            <a:pPr defTabSz="179388"/>
            <a:endParaRPr lang="en-US" sz="1400" dirty="0"/>
          </a:p>
          <a:p>
            <a:pPr defTabSz="179388"/>
            <a:r>
              <a:rPr lang="en-US" sz="1400" b="1" dirty="0"/>
              <a:t>Raluca State</a:t>
            </a:r>
          </a:p>
          <a:p>
            <a:pPr defTabSz="179388"/>
            <a:r>
              <a:rPr lang="en-US" sz="1400" dirty="0"/>
              <a:t>Credit Origination ICT - UW Italy </a:t>
            </a:r>
            <a:r>
              <a:rPr lang="en-US" sz="1400" dirty="0" err="1"/>
              <a:t>SME&amp;Corporate</a:t>
            </a:r>
            <a:r>
              <a:rPr lang="en-US" sz="1400" dirty="0"/>
              <a:t> </a:t>
            </a:r>
          </a:p>
          <a:p>
            <a:pPr defTabSz="179388"/>
            <a:endParaRPr lang="en-US" sz="1400" b="1" dirty="0"/>
          </a:p>
          <a:p>
            <a:pPr defTabSz="179388"/>
            <a:r>
              <a:rPr lang="en-US" sz="1400" b="1" dirty="0"/>
              <a:t>Nistor Buliga</a:t>
            </a:r>
          </a:p>
          <a:p>
            <a:pPr defTabSz="179388"/>
            <a:r>
              <a:rPr lang="en-US" sz="1400" dirty="0"/>
              <a:t>Credit Origination ICT - UW Austria</a:t>
            </a:r>
          </a:p>
        </p:txBody>
      </p:sp>
      <p:sp>
        <p:nvSpPr>
          <p:cNvPr id="19" name="Oval 18">
            <a:extLst>
              <a:ext uri="{FF2B5EF4-FFF2-40B4-BE49-F238E27FC236}">
                <a16:creationId xmlns:a16="http://schemas.microsoft.com/office/drawing/2014/main" id="{32989419-7E8E-4B28-A95C-175884B8C5AD}"/>
              </a:ext>
            </a:extLst>
          </p:cNvPr>
          <p:cNvSpPr/>
          <p:nvPr/>
        </p:nvSpPr>
        <p:spPr bwMode="gray">
          <a:xfrm>
            <a:off x="5117249" y="3389927"/>
            <a:ext cx="134354" cy="134354"/>
          </a:xfrm>
          <a:prstGeom prst="ellipse">
            <a:avLst/>
          </a:prstGeom>
          <a:solidFill>
            <a:srgbClr val="C0E4ED"/>
          </a:solidFill>
          <a:ln w="76200" cmpd="dbl">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i="1" dirty="0">
              <a:solidFill>
                <a:schemeClr val="bg1"/>
              </a:solidFill>
              <a:latin typeface="UniCredit" panose="02000506040000020004" pitchFamily="2" charset="0"/>
            </a:endParaRPr>
          </a:p>
        </p:txBody>
      </p:sp>
      <p:sp>
        <p:nvSpPr>
          <p:cNvPr id="26" name="Round Diagonal Corner Rectangle 33">
            <a:extLst>
              <a:ext uri="{FF2B5EF4-FFF2-40B4-BE49-F238E27FC236}">
                <a16:creationId xmlns:a16="http://schemas.microsoft.com/office/drawing/2014/main" id="{F484B9E8-71D9-4FF2-9FCB-497830F7B9FB}"/>
              </a:ext>
            </a:extLst>
          </p:cNvPr>
          <p:cNvSpPr/>
          <p:nvPr/>
        </p:nvSpPr>
        <p:spPr bwMode="gray">
          <a:xfrm>
            <a:off x="4993071" y="1032480"/>
            <a:ext cx="3709996" cy="294375"/>
          </a:xfrm>
          <a:prstGeom prst="round2DiagRect">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b="1" dirty="0">
                <a:solidFill>
                  <a:schemeClr val="tx1"/>
                </a:solidFill>
              </a:rPr>
              <a:t>Today’s speakers</a:t>
            </a:r>
          </a:p>
        </p:txBody>
      </p:sp>
      <p:pic>
        <p:nvPicPr>
          <p:cNvPr id="20" name="Picture 19">
            <a:extLst>
              <a:ext uri="{FF2B5EF4-FFF2-40B4-BE49-F238E27FC236}">
                <a16:creationId xmlns:a16="http://schemas.microsoft.com/office/drawing/2014/main" id="{BC443B0D-C36F-4CC7-9E6C-684FA77D1756}"/>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565784" y="1459014"/>
            <a:ext cx="3666482" cy="2063868"/>
          </a:xfrm>
          <a:prstGeom prst="rect">
            <a:avLst/>
          </a:prstGeom>
        </p:spPr>
      </p:pic>
      <p:sp>
        <p:nvSpPr>
          <p:cNvPr id="2" name="Rectangle 1">
            <a:extLst>
              <a:ext uri="{FF2B5EF4-FFF2-40B4-BE49-F238E27FC236}">
                <a16:creationId xmlns:a16="http://schemas.microsoft.com/office/drawing/2014/main" id="{23C938D2-EE40-4938-8386-9A57AAE94BA4}"/>
              </a:ext>
            </a:extLst>
          </p:cNvPr>
          <p:cNvSpPr/>
          <p:nvPr/>
        </p:nvSpPr>
        <p:spPr>
          <a:xfrm>
            <a:off x="565783" y="1459014"/>
            <a:ext cx="1223259" cy="646929"/>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E982FB63-420D-4B9B-8496-44DF39490263}"/>
              </a:ext>
            </a:extLst>
          </p:cNvPr>
          <p:cNvSpPr/>
          <p:nvPr/>
        </p:nvSpPr>
        <p:spPr>
          <a:xfrm>
            <a:off x="3009007" y="1450585"/>
            <a:ext cx="1223259" cy="646929"/>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Freeform: Shape 26">
            <a:extLst>
              <a:ext uri="{FF2B5EF4-FFF2-40B4-BE49-F238E27FC236}">
                <a16:creationId xmlns:a16="http://schemas.microsoft.com/office/drawing/2014/main" id="{6F0E0816-23CB-4BDF-88E5-E8CA5000A6CA}"/>
              </a:ext>
            </a:extLst>
          </p:cNvPr>
          <p:cNvSpPr/>
          <p:nvPr/>
        </p:nvSpPr>
        <p:spPr>
          <a:xfrm>
            <a:off x="2997092" y="2703703"/>
            <a:ext cx="1223259" cy="799329"/>
          </a:xfrm>
          <a:custGeom>
            <a:avLst/>
            <a:gdLst>
              <a:gd name="connsiteX0" fmla="*/ 0 w 1223259"/>
              <a:gd name="connsiteY0" fmla="*/ 0 h 799329"/>
              <a:gd name="connsiteX1" fmla="*/ 1223259 w 1223259"/>
              <a:gd name="connsiteY1" fmla="*/ 0 h 799329"/>
              <a:gd name="connsiteX2" fmla="*/ 1223259 w 1223259"/>
              <a:gd name="connsiteY2" fmla="*/ 439329 h 799329"/>
              <a:gd name="connsiteX3" fmla="*/ 1223259 w 1223259"/>
              <a:gd name="connsiteY3" fmla="*/ 646929 h 799329"/>
              <a:gd name="connsiteX4" fmla="*/ 1223259 w 1223259"/>
              <a:gd name="connsiteY4" fmla="*/ 799329 h 799329"/>
              <a:gd name="connsiteX5" fmla="*/ 695717 w 1223259"/>
              <a:gd name="connsiteY5" fmla="*/ 799329 h 799329"/>
              <a:gd name="connsiteX6" fmla="*/ 695717 w 1223259"/>
              <a:gd name="connsiteY6" fmla="*/ 646929 h 799329"/>
              <a:gd name="connsiteX7" fmla="*/ 0 w 1223259"/>
              <a:gd name="connsiteY7" fmla="*/ 646929 h 799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23259" h="799329">
                <a:moveTo>
                  <a:pt x="0" y="0"/>
                </a:moveTo>
                <a:lnTo>
                  <a:pt x="1223259" y="0"/>
                </a:lnTo>
                <a:lnTo>
                  <a:pt x="1223259" y="439329"/>
                </a:lnTo>
                <a:lnTo>
                  <a:pt x="1223259" y="646929"/>
                </a:lnTo>
                <a:lnTo>
                  <a:pt x="1223259" y="799329"/>
                </a:lnTo>
                <a:lnTo>
                  <a:pt x="695717" y="799329"/>
                </a:lnTo>
                <a:lnTo>
                  <a:pt x="695717" y="646929"/>
                </a:lnTo>
                <a:lnTo>
                  <a:pt x="0" y="646929"/>
                </a:lnTo>
                <a:close/>
              </a:path>
            </a:pathLst>
          </a:cu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a:extLst>
              <a:ext uri="{FF2B5EF4-FFF2-40B4-BE49-F238E27FC236}">
                <a16:creationId xmlns:a16="http://schemas.microsoft.com/office/drawing/2014/main" id="{F0F207D6-8EEB-4351-925A-3AFA58BBD64D}"/>
              </a:ext>
            </a:extLst>
          </p:cNvPr>
          <p:cNvSpPr/>
          <p:nvPr/>
        </p:nvSpPr>
        <p:spPr>
          <a:xfrm>
            <a:off x="3697357" y="3153168"/>
            <a:ext cx="522994" cy="360000"/>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ttangolo con angoli arrotondati in diagonale 102">
            <a:extLst>
              <a:ext uri="{FF2B5EF4-FFF2-40B4-BE49-F238E27FC236}">
                <a16:creationId xmlns:a16="http://schemas.microsoft.com/office/drawing/2014/main" id="{E65A4092-6713-469F-9D57-F678455B44B6}"/>
              </a:ext>
            </a:extLst>
          </p:cNvPr>
          <p:cNvSpPr/>
          <p:nvPr/>
        </p:nvSpPr>
        <p:spPr>
          <a:xfrm>
            <a:off x="1729408" y="1266406"/>
            <a:ext cx="1420737" cy="232364"/>
          </a:xfrm>
          <a:prstGeom prst="round2DiagRect">
            <a:avLst/>
          </a:prstGeom>
          <a:solidFill>
            <a:srgbClr val="C0E4E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200" b="1" dirty="0">
                <a:solidFill>
                  <a:schemeClr val="tx1"/>
                </a:solidFill>
              </a:rPr>
              <a:t>Team</a:t>
            </a:r>
            <a:endParaRPr lang="en-US" sz="1200" dirty="0">
              <a:solidFill>
                <a:schemeClr val="tx1"/>
              </a:solidFill>
            </a:endParaRPr>
          </a:p>
        </p:txBody>
      </p:sp>
    </p:spTree>
    <p:extLst>
      <p:ext uri="{BB962C8B-B14F-4D97-AF65-F5344CB8AC3E}">
        <p14:creationId xmlns:p14="http://schemas.microsoft.com/office/powerpoint/2010/main" val="291828416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Object 34" hidden="1"/>
          <p:cNvGraphicFramePr>
            <a:graphicFrameLocks noChangeAspect="1"/>
          </p:cNvGraphicFramePr>
          <p:nvPr>
            <p:custDataLst>
              <p:tags r:id="rId2"/>
            </p:custDataLst>
            <p:extLst>
              <p:ext uri="{D42A27DB-BD31-4B8C-83A1-F6EECF244321}">
                <p14:modId xmlns:p14="http://schemas.microsoft.com/office/powerpoint/2010/main" val="35695731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0935"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4" name="Rectangle 3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2400" b="1" dirty="0">
              <a:latin typeface="UniCredit" panose="02000506040000020004" pitchFamily="2" charset="0"/>
              <a:ea typeface="+mj-ea"/>
              <a:cs typeface="Arial" panose="020B0604020202020204" pitchFamily="34" charset="0"/>
              <a:sym typeface="UniCredit" panose="02000506040000020004" pitchFamily="2" charset="0"/>
            </a:endParaRPr>
          </a:p>
        </p:txBody>
      </p:sp>
      <p:sp>
        <p:nvSpPr>
          <p:cNvPr id="41" name="Rectangle 40"/>
          <p:cNvSpPr/>
          <p:nvPr/>
        </p:nvSpPr>
        <p:spPr>
          <a:xfrm>
            <a:off x="1" y="942036"/>
            <a:ext cx="9144000" cy="3551849"/>
          </a:xfrm>
          <a:prstGeom prst="rect">
            <a:avLst/>
          </a:prstGeom>
          <a:gradFill flip="none" rotWithShape="1">
            <a:gsLst>
              <a:gs pos="100000">
                <a:srgbClr val="FFFFFF"/>
              </a:gs>
              <a:gs pos="0">
                <a:schemeClr val="bg1"/>
              </a:gs>
              <a:gs pos="50000">
                <a:srgbClr val="EBF6F9"/>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360000" tIns="0" bIns="0" rtlCol="0" anchor="ctr"/>
          <a:lstStyle/>
          <a:p>
            <a:pPr>
              <a:buClr>
                <a:srgbClr val="C00000"/>
              </a:buClr>
            </a:pPr>
            <a:endParaRPr lang="en-US" sz="1800" dirty="0">
              <a:solidFill>
                <a:schemeClr val="tx1"/>
              </a:solidFill>
            </a:endParaRPr>
          </a:p>
        </p:txBody>
      </p:sp>
      <p:sp>
        <p:nvSpPr>
          <p:cNvPr id="4" name="Slide Number Placeholder 3">
            <a:extLst>
              <a:ext uri="{FF2B5EF4-FFF2-40B4-BE49-F238E27FC236}">
                <a16:creationId xmlns:a16="http://schemas.microsoft.com/office/drawing/2014/main" id="{42794877-470F-4F2B-AB35-FC46BA447784}"/>
              </a:ext>
            </a:extLst>
          </p:cNvPr>
          <p:cNvSpPr>
            <a:spLocks noGrp="1"/>
          </p:cNvSpPr>
          <p:nvPr>
            <p:ph type="sldNum" sz="quarter" idx="11"/>
          </p:nvPr>
        </p:nvSpPr>
        <p:spPr/>
        <p:txBody>
          <a:bodyPr/>
          <a:lstStyle/>
          <a:p>
            <a:pPr>
              <a:defRPr/>
            </a:pPr>
            <a:fld id="{1D1043DC-2681-49D5-9D69-158B3FA3398E}" type="slidenum">
              <a:rPr lang="en-GB" noProof="1" smtClean="0"/>
              <a:pPr>
                <a:defRPr/>
              </a:pPr>
              <a:t>20</a:t>
            </a:fld>
            <a:endParaRPr lang="en-GB" noProof="1"/>
          </a:p>
        </p:txBody>
      </p:sp>
      <p:sp>
        <p:nvSpPr>
          <p:cNvPr id="6" name="Title 5">
            <a:extLst>
              <a:ext uri="{FF2B5EF4-FFF2-40B4-BE49-F238E27FC236}">
                <a16:creationId xmlns:a16="http://schemas.microsoft.com/office/drawing/2014/main" id="{DD3CD8F7-2B68-46F3-841A-2A1E6156BCEE}"/>
              </a:ext>
            </a:extLst>
          </p:cNvPr>
          <p:cNvSpPr>
            <a:spLocks noGrp="1"/>
          </p:cNvSpPr>
          <p:nvPr>
            <p:ph type="title"/>
          </p:nvPr>
        </p:nvSpPr>
        <p:spPr/>
        <p:txBody>
          <a:bodyPr/>
          <a:lstStyle/>
          <a:p>
            <a:r>
              <a:rPr lang="en-GB" dirty="0"/>
              <a:t>Test automation principles</a:t>
            </a:r>
          </a:p>
        </p:txBody>
      </p:sp>
      <p:sp>
        <p:nvSpPr>
          <p:cNvPr id="10" name="Rounded Rectangle 9"/>
          <p:cNvSpPr/>
          <p:nvPr/>
        </p:nvSpPr>
        <p:spPr>
          <a:xfrm>
            <a:off x="2553410" y="2088435"/>
            <a:ext cx="1913007" cy="213814"/>
          </a:xfrm>
          <a:prstGeom prst="roundRect">
            <a:avLst/>
          </a:prstGeom>
          <a:solidFill>
            <a:srgbClr val="ED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i="1" dirty="0"/>
              <a:t>Fast</a:t>
            </a:r>
          </a:p>
        </p:txBody>
      </p:sp>
      <p:sp>
        <p:nvSpPr>
          <p:cNvPr id="11" name="Rounded Rectangle 10"/>
          <p:cNvSpPr/>
          <p:nvPr/>
        </p:nvSpPr>
        <p:spPr>
          <a:xfrm>
            <a:off x="2553410" y="2388718"/>
            <a:ext cx="2104309" cy="213814"/>
          </a:xfrm>
          <a:prstGeom prst="roundRect">
            <a:avLst/>
          </a:prstGeom>
          <a:solidFill>
            <a:srgbClr val="2A8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i="1" dirty="0"/>
              <a:t>Reliable</a:t>
            </a:r>
          </a:p>
        </p:txBody>
      </p:sp>
      <p:sp>
        <p:nvSpPr>
          <p:cNvPr id="12" name="Rounded Rectangle 11"/>
          <p:cNvSpPr/>
          <p:nvPr/>
        </p:nvSpPr>
        <p:spPr>
          <a:xfrm>
            <a:off x="2553410" y="2689001"/>
            <a:ext cx="2314739" cy="213814"/>
          </a:xfrm>
          <a:prstGeom prst="roundRect">
            <a:avLst/>
          </a:prstGeom>
          <a:solidFill>
            <a:srgbClr val="5454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i="1" dirty="0"/>
              <a:t>Reusable</a:t>
            </a:r>
          </a:p>
        </p:txBody>
      </p:sp>
      <p:sp>
        <p:nvSpPr>
          <p:cNvPr id="13" name="Rounded Rectangle 12"/>
          <p:cNvSpPr/>
          <p:nvPr/>
        </p:nvSpPr>
        <p:spPr>
          <a:xfrm>
            <a:off x="2553410" y="2989284"/>
            <a:ext cx="2546213" cy="213814"/>
          </a:xfrm>
          <a:prstGeom prst="roundRect">
            <a:avLst/>
          </a:prstGeom>
          <a:solidFill>
            <a:srgbClr val="5302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i="1" dirty="0"/>
              <a:t>Improves Accuracy</a:t>
            </a:r>
          </a:p>
        </p:txBody>
      </p:sp>
      <p:sp>
        <p:nvSpPr>
          <p:cNvPr id="14" name="Rounded Rectangle 13"/>
          <p:cNvSpPr/>
          <p:nvPr/>
        </p:nvSpPr>
        <p:spPr>
          <a:xfrm>
            <a:off x="2553410" y="3289567"/>
            <a:ext cx="2800835" cy="213814"/>
          </a:xfrm>
          <a:prstGeom prst="roundRect">
            <a:avLst/>
          </a:prstGeom>
          <a:solidFill>
            <a:srgbClr val="9B39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i="1" dirty="0"/>
              <a:t>Saves time and money</a:t>
            </a:r>
          </a:p>
        </p:txBody>
      </p:sp>
      <p:sp>
        <p:nvSpPr>
          <p:cNvPr id="15" name="Rounded Rectangle 14"/>
          <p:cNvSpPr/>
          <p:nvPr/>
        </p:nvSpPr>
        <p:spPr>
          <a:xfrm>
            <a:off x="2553410" y="3589850"/>
            <a:ext cx="3080919" cy="213814"/>
          </a:xfrm>
          <a:prstGeom prst="roundRect">
            <a:avLst/>
          </a:prstGeom>
          <a:solidFill>
            <a:srgbClr val="F694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i="1" dirty="0"/>
              <a:t>Reduces Human generated error</a:t>
            </a:r>
          </a:p>
        </p:txBody>
      </p:sp>
      <p:sp>
        <p:nvSpPr>
          <p:cNvPr id="16" name="Rounded Rectangle 15"/>
          <p:cNvSpPr/>
          <p:nvPr/>
        </p:nvSpPr>
        <p:spPr>
          <a:xfrm>
            <a:off x="2553410" y="3890132"/>
            <a:ext cx="3389011" cy="213814"/>
          </a:xfrm>
          <a:prstGeom prst="roundRect">
            <a:avLst/>
          </a:prstGeom>
          <a:solidFill>
            <a:srgbClr val="DF0E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i="1" dirty="0"/>
              <a:t>Support the execution of repeated test cased</a:t>
            </a:r>
          </a:p>
        </p:txBody>
      </p:sp>
      <p:sp>
        <p:nvSpPr>
          <p:cNvPr id="17" name="Rectangle 16"/>
          <p:cNvSpPr/>
          <p:nvPr/>
        </p:nvSpPr>
        <p:spPr>
          <a:xfrm>
            <a:off x="2238830" y="1753849"/>
            <a:ext cx="4666341" cy="2542380"/>
          </a:xfrm>
          <a:prstGeom prst="rect">
            <a:avLst/>
          </a:prstGeom>
          <a:noFill/>
          <a:ln w="50800" cmpd="dbl">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0" rtlCol="0" anchor="t"/>
          <a:lstStyle/>
          <a:p>
            <a:pPr algn="ctr"/>
            <a:r>
              <a:rPr lang="en-US" sz="1600" b="1" dirty="0">
                <a:solidFill>
                  <a:schemeClr val="accent1"/>
                </a:solidFill>
              </a:rPr>
              <a:t>Benefits</a:t>
            </a:r>
          </a:p>
        </p:txBody>
      </p:sp>
      <p:grpSp>
        <p:nvGrpSpPr>
          <p:cNvPr id="18" name="Group 17"/>
          <p:cNvGrpSpPr/>
          <p:nvPr/>
        </p:nvGrpSpPr>
        <p:grpSpPr>
          <a:xfrm>
            <a:off x="5433082" y="2244694"/>
            <a:ext cx="582414" cy="549947"/>
            <a:chOff x="5562600" y="4875213"/>
            <a:chExt cx="790575" cy="790575"/>
          </a:xfrm>
          <a:solidFill>
            <a:srgbClr val="00AFD0"/>
          </a:solidFill>
        </p:grpSpPr>
        <p:sp>
          <p:nvSpPr>
            <p:cNvPr id="19" name="Freeform 55"/>
            <p:cNvSpPr>
              <a:spLocks noEditPoints="1"/>
            </p:cNvSpPr>
            <p:nvPr/>
          </p:nvSpPr>
          <p:spPr bwMode="auto">
            <a:xfrm>
              <a:off x="5800725" y="5116513"/>
              <a:ext cx="311150" cy="311150"/>
            </a:xfrm>
            <a:custGeom>
              <a:avLst/>
              <a:gdLst>
                <a:gd name="T0" fmla="*/ 47 w 93"/>
                <a:gd name="T1" fmla="*/ 0 h 93"/>
                <a:gd name="T2" fmla="*/ 0 w 93"/>
                <a:gd name="T3" fmla="*/ 46 h 93"/>
                <a:gd name="T4" fmla="*/ 47 w 93"/>
                <a:gd name="T5" fmla="*/ 93 h 93"/>
                <a:gd name="T6" fmla="*/ 93 w 93"/>
                <a:gd name="T7" fmla="*/ 46 h 93"/>
                <a:gd name="T8" fmla="*/ 47 w 93"/>
                <a:gd name="T9" fmla="*/ 0 h 93"/>
                <a:gd name="T10" fmla="*/ 47 w 93"/>
                <a:gd name="T11" fmla="*/ 84 h 93"/>
                <a:gd name="T12" fmla="*/ 10 w 93"/>
                <a:gd name="T13" fmla="*/ 46 h 93"/>
                <a:gd name="T14" fmla="*/ 47 w 93"/>
                <a:gd name="T15" fmla="*/ 9 h 93"/>
                <a:gd name="T16" fmla="*/ 84 w 93"/>
                <a:gd name="T17" fmla="*/ 46 h 93"/>
                <a:gd name="T18" fmla="*/ 47 w 93"/>
                <a:gd name="T19" fmla="*/ 84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93">
                  <a:moveTo>
                    <a:pt x="47" y="0"/>
                  </a:moveTo>
                  <a:cubicBezTo>
                    <a:pt x="21" y="0"/>
                    <a:pt x="0" y="21"/>
                    <a:pt x="0" y="46"/>
                  </a:cubicBezTo>
                  <a:cubicBezTo>
                    <a:pt x="0" y="72"/>
                    <a:pt x="21" y="93"/>
                    <a:pt x="47" y="93"/>
                  </a:cubicBezTo>
                  <a:cubicBezTo>
                    <a:pt x="72" y="93"/>
                    <a:pt x="93" y="72"/>
                    <a:pt x="93" y="46"/>
                  </a:cubicBezTo>
                  <a:cubicBezTo>
                    <a:pt x="93" y="21"/>
                    <a:pt x="72" y="0"/>
                    <a:pt x="47" y="0"/>
                  </a:cubicBezTo>
                  <a:close/>
                  <a:moveTo>
                    <a:pt x="47" y="84"/>
                  </a:moveTo>
                  <a:cubicBezTo>
                    <a:pt x="26" y="84"/>
                    <a:pt x="10" y="67"/>
                    <a:pt x="10" y="46"/>
                  </a:cubicBezTo>
                  <a:cubicBezTo>
                    <a:pt x="10" y="26"/>
                    <a:pt x="26" y="9"/>
                    <a:pt x="47" y="9"/>
                  </a:cubicBezTo>
                  <a:cubicBezTo>
                    <a:pt x="67" y="9"/>
                    <a:pt x="84" y="26"/>
                    <a:pt x="84" y="46"/>
                  </a:cubicBezTo>
                  <a:cubicBezTo>
                    <a:pt x="84" y="67"/>
                    <a:pt x="67" y="84"/>
                    <a:pt x="47" y="84"/>
                  </a:cubicBezTo>
                  <a:close/>
                </a:path>
              </a:pathLst>
            </a:custGeom>
            <a:grpFill/>
            <a:ln>
              <a:solidFill>
                <a:srgbClr val="00AFD0"/>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 name="Freeform 56"/>
            <p:cNvSpPr>
              <a:spLocks noEditPoints="1"/>
            </p:cNvSpPr>
            <p:nvPr/>
          </p:nvSpPr>
          <p:spPr bwMode="auto">
            <a:xfrm>
              <a:off x="5562600" y="4875213"/>
              <a:ext cx="790575" cy="790575"/>
            </a:xfrm>
            <a:custGeom>
              <a:avLst/>
              <a:gdLst>
                <a:gd name="T0" fmla="*/ 230 w 236"/>
                <a:gd name="T1" fmla="*/ 98 h 236"/>
                <a:gd name="T2" fmla="*/ 195 w 236"/>
                <a:gd name="T3" fmla="*/ 75 h 236"/>
                <a:gd name="T4" fmla="*/ 212 w 236"/>
                <a:gd name="T5" fmla="*/ 47 h 236"/>
                <a:gd name="T6" fmla="*/ 183 w 236"/>
                <a:gd name="T7" fmla="*/ 24 h 236"/>
                <a:gd name="T8" fmla="*/ 142 w 236"/>
                <a:gd name="T9" fmla="*/ 33 h 236"/>
                <a:gd name="T10" fmla="*/ 134 w 236"/>
                <a:gd name="T11" fmla="*/ 2 h 236"/>
                <a:gd name="T12" fmla="*/ 97 w 236"/>
                <a:gd name="T13" fmla="*/ 6 h 236"/>
                <a:gd name="T14" fmla="*/ 74 w 236"/>
                <a:gd name="T15" fmla="*/ 41 h 236"/>
                <a:gd name="T16" fmla="*/ 47 w 236"/>
                <a:gd name="T17" fmla="*/ 24 h 236"/>
                <a:gd name="T18" fmla="*/ 33 w 236"/>
                <a:gd name="T19" fmla="*/ 36 h 236"/>
                <a:gd name="T20" fmla="*/ 24 w 236"/>
                <a:gd name="T21" fmla="*/ 53 h 236"/>
                <a:gd name="T22" fmla="*/ 32 w 236"/>
                <a:gd name="T23" fmla="*/ 94 h 236"/>
                <a:gd name="T24" fmla="*/ 1 w 236"/>
                <a:gd name="T25" fmla="*/ 102 h 236"/>
                <a:gd name="T26" fmla="*/ 0 w 236"/>
                <a:gd name="T27" fmla="*/ 120 h 236"/>
                <a:gd name="T28" fmla="*/ 5 w 236"/>
                <a:gd name="T29" fmla="*/ 139 h 236"/>
                <a:gd name="T30" fmla="*/ 40 w 236"/>
                <a:gd name="T31" fmla="*/ 162 h 236"/>
                <a:gd name="T32" fmla="*/ 24 w 236"/>
                <a:gd name="T33" fmla="*/ 190 h 236"/>
                <a:gd name="T34" fmla="*/ 35 w 236"/>
                <a:gd name="T35" fmla="*/ 203 h 236"/>
                <a:gd name="T36" fmla="*/ 52 w 236"/>
                <a:gd name="T37" fmla="*/ 213 h 236"/>
                <a:gd name="T38" fmla="*/ 94 w 236"/>
                <a:gd name="T39" fmla="*/ 204 h 236"/>
                <a:gd name="T40" fmla="*/ 101 w 236"/>
                <a:gd name="T41" fmla="*/ 235 h 236"/>
                <a:gd name="T42" fmla="*/ 134 w 236"/>
                <a:gd name="T43" fmla="*/ 235 h 236"/>
                <a:gd name="T44" fmla="*/ 142 w 236"/>
                <a:gd name="T45" fmla="*/ 204 h 236"/>
                <a:gd name="T46" fmla="*/ 183 w 236"/>
                <a:gd name="T47" fmla="*/ 213 h 236"/>
                <a:gd name="T48" fmla="*/ 212 w 236"/>
                <a:gd name="T49" fmla="*/ 190 h 236"/>
                <a:gd name="T50" fmla="*/ 195 w 236"/>
                <a:gd name="T51" fmla="*/ 162 h 236"/>
                <a:gd name="T52" fmla="*/ 230 w 236"/>
                <a:gd name="T53" fmla="*/ 139 h 236"/>
                <a:gd name="T54" fmla="*/ 236 w 236"/>
                <a:gd name="T55" fmla="*/ 118 h 236"/>
                <a:gd name="T56" fmla="*/ 225 w 236"/>
                <a:gd name="T57" fmla="*/ 130 h 236"/>
                <a:gd name="T58" fmla="*/ 194 w 236"/>
                <a:gd name="T59" fmla="*/ 137 h 236"/>
                <a:gd name="T60" fmla="*/ 185 w 236"/>
                <a:gd name="T61" fmla="*/ 165 h 236"/>
                <a:gd name="T62" fmla="*/ 186 w 236"/>
                <a:gd name="T63" fmla="*/ 203 h 236"/>
                <a:gd name="T64" fmla="*/ 159 w 236"/>
                <a:gd name="T65" fmla="*/ 186 h 236"/>
                <a:gd name="T66" fmla="*/ 133 w 236"/>
                <a:gd name="T67" fmla="*/ 199 h 236"/>
                <a:gd name="T68" fmla="*/ 106 w 236"/>
                <a:gd name="T69" fmla="*/ 226 h 236"/>
                <a:gd name="T70" fmla="*/ 99 w 236"/>
                <a:gd name="T71" fmla="*/ 195 h 236"/>
                <a:gd name="T72" fmla="*/ 71 w 236"/>
                <a:gd name="T73" fmla="*/ 186 h 236"/>
                <a:gd name="T74" fmla="*/ 42 w 236"/>
                <a:gd name="T75" fmla="*/ 196 h 236"/>
                <a:gd name="T76" fmla="*/ 34 w 236"/>
                <a:gd name="T77" fmla="*/ 187 h 236"/>
                <a:gd name="T78" fmla="*/ 50 w 236"/>
                <a:gd name="T79" fmla="*/ 160 h 236"/>
                <a:gd name="T80" fmla="*/ 37 w 236"/>
                <a:gd name="T81" fmla="*/ 133 h 236"/>
                <a:gd name="T82" fmla="*/ 9 w 236"/>
                <a:gd name="T83" fmla="*/ 120 h 236"/>
                <a:gd name="T84" fmla="*/ 10 w 236"/>
                <a:gd name="T85" fmla="*/ 107 h 236"/>
                <a:gd name="T86" fmla="*/ 41 w 236"/>
                <a:gd name="T87" fmla="*/ 100 h 236"/>
                <a:gd name="T88" fmla="*/ 50 w 236"/>
                <a:gd name="T89" fmla="*/ 72 h 236"/>
                <a:gd name="T90" fmla="*/ 40 w 236"/>
                <a:gd name="T91" fmla="*/ 43 h 236"/>
                <a:gd name="T92" fmla="*/ 50 w 236"/>
                <a:gd name="T93" fmla="*/ 34 h 236"/>
                <a:gd name="T94" fmla="*/ 77 w 236"/>
                <a:gd name="T95" fmla="*/ 51 h 236"/>
                <a:gd name="T96" fmla="*/ 103 w 236"/>
                <a:gd name="T97" fmla="*/ 38 h 236"/>
                <a:gd name="T98" fmla="*/ 129 w 236"/>
                <a:gd name="T99" fmla="*/ 11 h 236"/>
                <a:gd name="T100" fmla="*/ 136 w 236"/>
                <a:gd name="T101" fmla="*/ 42 h 236"/>
                <a:gd name="T102" fmla="*/ 164 w 236"/>
                <a:gd name="T103" fmla="*/ 51 h 236"/>
                <a:gd name="T104" fmla="*/ 202 w 236"/>
                <a:gd name="T105" fmla="*/ 50 h 236"/>
                <a:gd name="T106" fmla="*/ 185 w 236"/>
                <a:gd name="T107" fmla="*/ 77 h 236"/>
                <a:gd name="T108" fmla="*/ 198 w 236"/>
                <a:gd name="T109" fmla="*/ 104 h 236"/>
                <a:gd name="T110" fmla="*/ 226 w 236"/>
                <a:gd name="T111" fmla="*/ 11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36" h="236">
                  <a:moveTo>
                    <a:pt x="234" y="102"/>
                  </a:moveTo>
                  <a:cubicBezTo>
                    <a:pt x="234" y="100"/>
                    <a:pt x="232" y="98"/>
                    <a:pt x="230" y="98"/>
                  </a:cubicBezTo>
                  <a:cubicBezTo>
                    <a:pt x="203" y="94"/>
                    <a:pt x="203" y="94"/>
                    <a:pt x="203" y="94"/>
                  </a:cubicBezTo>
                  <a:cubicBezTo>
                    <a:pt x="201" y="88"/>
                    <a:pt x="198" y="81"/>
                    <a:pt x="195" y="75"/>
                  </a:cubicBezTo>
                  <a:cubicBezTo>
                    <a:pt x="212" y="53"/>
                    <a:pt x="212" y="53"/>
                    <a:pt x="212" y="53"/>
                  </a:cubicBezTo>
                  <a:cubicBezTo>
                    <a:pt x="213" y="52"/>
                    <a:pt x="213" y="49"/>
                    <a:pt x="212" y="47"/>
                  </a:cubicBezTo>
                  <a:cubicBezTo>
                    <a:pt x="205" y="39"/>
                    <a:pt x="197" y="31"/>
                    <a:pt x="189" y="24"/>
                  </a:cubicBezTo>
                  <a:cubicBezTo>
                    <a:pt x="187" y="23"/>
                    <a:pt x="185" y="23"/>
                    <a:pt x="183" y="24"/>
                  </a:cubicBezTo>
                  <a:cubicBezTo>
                    <a:pt x="161" y="41"/>
                    <a:pt x="161" y="41"/>
                    <a:pt x="161" y="41"/>
                  </a:cubicBezTo>
                  <a:cubicBezTo>
                    <a:pt x="155" y="38"/>
                    <a:pt x="148" y="35"/>
                    <a:pt x="142" y="33"/>
                  </a:cubicBezTo>
                  <a:cubicBezTo>
                    <a:pt x="138" y="6"/>
                    <a:pt x="138" y="6"/>
                    <a:pt x="138" y="6"/>
                  </a:cubicBezTo>
                  <a:cubicBezTo>
                    <a:pt x="138" y="4"/>
                    <a:pt x="136" y="2"/>
                    <a:pt x="134" y="2"/>
                  </a:cubicBezTo>
                  <a:cubicBezTo>
                    <a:pt x="123" y="0"/>
                    <a:pt x="112" y="0"/>
                    <a:pt x="101" y="2"/>
                  </a:cubicBezTo>
                  <a:cubicBezTo>
                    <a:pt x="99" y="2"/>
                    <a:pt x="98" y="4"/>
                    <a:pt x="97" y="6"/>
                  </a:cubicBezTo>
                  <a:cubicBezTo>
                    <a:pt x="94" y="33"/>
                    <a:pt x="94" y="33"/>
                    <a:pt x="94" y="33"/>
                  </a:cubicBezTo>
                  <a:cubicBezTo>
                    <a:pt x="87" y="35"/>
                    <a:pt x="80" y="38"/>
                    <a:pt x="74" y="41"/>
                  </a:cubicBezTo>
                  <a:cubicBezTo>
                    <a:pt x="52" y="24"/>
                    <a:pt x="52" y="24"/>
                    <a:pt x="52" y="24"/>
                  </a:cubicBezTo>
                  <a:cubicBezTo>
                    <a:pt x="51" y="23"/>
                    <a:pt x="48" y="23"/>
                    <a:pt x="47" y="24"/>
                  </a:cubicBezTo>
                  <a:cubicBezTo>
                    <a:pt x="43" y="27"/>
                    <a:pt x="39" y="31"/>
                    <a:pt x="35" y="34"/>
                  </a:cubicBezTo>
                  <a:cubicBezTo>
                    <a:pt x="33" y="36"/>
                    <a:pt x="33" y="36"/>
                    <a:pt x="33" y="36"/>
                  </a:cubicBezTo>
                  <a:cubicBezTo>
                    <a:pt x="30" y="40"/>
                    <a:pt x="27" y="43"/>
                    <a:pt x="24" y="47"/>
                  </a:cubicBezTo>
                  <a:cubicBezTo>
                    <a:pt x="22" y="49"/>
                    <a:pt x="22" y="51"/>
                    <a:pt x="24" y="53"/>
                  </a:cubicBezTo>
                  <a:cubicBezTo>
                    <a:pt x="40" y="75"/>
                    <a:pt x="40" y="75"/>
                    <a:pt x="40" y="75"/>
                  </a:cubicBezTo>
                  <a:cubicBezTo>
                    <a:pt x="37" y="81"/>
                    <a:pt x="34" y="88"/>
                    <a:pt x="32" y="94"/>
                  </a:cubicBezTo>
                  <a:cubicBezTo>
                    <a:pt x="5" y="98"/>
                    <a:pt x="5" y="98"/>
                    <a:pt x="5" y="98"/>
                  </a:cubicBezTo>
                  <a:cubicBezTo>
                    <a:pt x="3" y="98"/>
                    <a:pt x="1" y="100"/>
                    <a:pt x="1" y="102"/>
                  </a:cubicBezTo>
                  <a:cubicBezTo>
                    <a:pt x="0" y="107"/>
                    <a:pt x="0" y="112"/>
                    <a:pt x="0" y="117"/>
                  </a:cubicBezTo>
                  <a:cubicBezTo>
                    <a:pt x="0" y="120"/>
                    <a:pt x="0" y="120"/>
                    <a:pt x="0" y="120"/>
                  </a:cubicBezTo>
                  <a:cubicBezTo>
                    <a:pt x="0" y="125"/>
                    <a:pt x="0" y="130"/>
                    <a:pt x="1" y="135"/>
                  </a:cubicBezTo>
                  <a:cubicBezTo>
                    <a:pt x="1" y="137"/>
                    <a:pt x="3" y="139"/>
                    <a:pt x="5" y="139"/>
                  </a:cubicBezTo>
                  <a:cubicBezTo>
                    <a:pt x="32" y="142"/>
                    <a:pt x="32" y="142"/>
                    <a:pt x="32" y="142"/>
                  </a:cubicBezTo>
                  <a:cubicBezTo>
                    <a:pt x="34" y="149"/>
                    <a:pt x="37" y="156"/>
                    <a:pt x="40" y="162"/>
                  </a:cubicBezTo>
                  <a:cubicBezTo>
                    <a:pt x="24" y="184"/>
                    <a:pt x="24" y="184"/>
                    <a:pt x="24" y="184"/>
                  </a:cubicBezTo>
                  <a:cubicBezTo>
                    <a:pt x="22" y="185"/>
                    <a:pt x="22" y="188"/>
                    <a:pt x="24" y="190"/>
                  </a:cubicBezTo>
                  <a:cubicBezTo>
                    <a:pt x="27" y="194"/>
                    <a:pt x="30" y="197"/>
                    <a:pt x="33" y="201"/>
                  </a:cubicBezTo>
                  <a:cubicBezTo>
                    <a:pt x="35" y="203"/>
                    <a:pt x="35" y="203"/>
                    <a:pt x="35" y="203"/>
                  </a:cubicBezTo>
                  <a:cubicBezTo>
                    <a:pt x="39" y="206"/>
                    <a:pt x="43" y="210"/>
                    <a:pt x="47" y="213"/>
                  </a:cubicBezTo>
                  <a:cubicBezTo>
                    <a:pt x="48" y="214"/>
                    <a:pt x="51" y="214"/>
                    <a:pt x="52" y="213"/>
                  </a:cubicBezTo>
                  <a:cubicBezTo>
                    <a:pt x="74" y="196"/>
                    <a:pt x="74" y="196"/>
                    <a:pt x="74" y="196"/>
                  </a:cubicBezTo>
                  <a:cubicBezTo>
                    <a:pt x="80" y="199"/>
                    <a:pt x="87" y="202"/>
                    <a:pt x="94" y="204"/>
                  </a:cubicBezTo>
                  <a:cubicBezTo>
                    <a:pt x="97" y="231"/>
                    <a:pt x="97" y="231"/>
                    <a:pt x="97" y="231"/>
                  </a:cubicBezTo>
                  <a:cubicBezTo>
                    <a:pt x="98" y="233"/>
                    <a:pt x="99" y="235"/>
                    <a:pt x="101" y="235"/>
                  </a:cubicBezTo>
                  <a:cubicBezTo>
                    <a:pt x="107" y="236"/>
                    <a:pt x="112" y="236"/>
                    <a:pt x="118" y="236"/>
                  </a:cubicBezTo>
                  <a:cubicBezTo>
                    <a:pt x="123" y="236"/>
                    <a:pt x="128" y="236"/>
                    <a:pt x="134" y="235"/>
                  </a:cubicBezTo>
                  <a:cubicBezTo>
                    <a:pt x="136" y="235"/>
                    <a:pt x="138" y="233"/>
                    <a:pt x="138" y="231"/>
                  </a:cubicBezTo>
                  <a:cubicBezTo>
                    <a:pt x="142" y="204"/>
                    <a:pt x="142" y="204"/>
                    <a:pt x="142" y="204"/>
                  </a:cubicBezTo>
                  <a:cubicBezTo>
                    <a:pt x="148" y="202"/>
                    <a:pt x="155" y="199"/>
                    <a:pt x="161" y="196"/>
                  </a:cubicBezTo>
                  <a:cubicBezTo>
                    <a:pt x="183" y="213"/>
                    <a:pt x="183" y="213"/>
                    <a:pt x="183" y="213"/>
                  </a:cubicBezTo>
                  <a:cubicBezTo>
                    <a:pt x="185" y="214"/>
                    <a:pt x="187" y="214"/>
                    <a:pt x="189" y="213"/>
                  </a:cubicBezTo>
                  <a:cubicBezTo>
                    <a:pt x="197" y="206"/>
                    <a:pt x="205" y="198"/>
                    <a:pt x="212" y="190"/>
                  </a:cubicBezTo>
                  <a:cubicBezTo>
                    <a:pt x="213" y="188"/>
                    <a:pt x="213" y="185"/>
                    <a:pt x="212" y="184"/>
                  </a:cubicBezTo>
                  <a:cubicBezTo>
                    <a:pt x="195" y="162"/>
                    <a:pt x="195" y="162"/>
                    <a:pt x="195" y="162"/>
                  </a:cubicBezTo>
                  <a:cubicBezTo>
                    <a:pt x="198" y="156"/>
                    <a:pt x="201" y="149"/>
                    <a:pt x="203" y="142"/>
                  </a:cubicBezTo>
                  <a:cubicBezTo>
                    <a:pt x="230" y="139"/>
                    <a:pt x="230" y="139"/>
                    <a:pt x="230" y="139"/>
                  </a:cubicBezTo>
                  <a:cubicBezTo>
                    <a:pt x="232" y="139"/>
                    <a:pt x="234" y="137"/>
                    <a:pt x="234" y="135"/>
                  </a:cubicBezTo>
                  <a:cubicBezTo>
                    <a:pt x="235" y="129"/>
                    <a:pt x="236" y="124"/>
                    <a:pt x="236" y="118"/>
                  </a:cubicBezTo>
                  <a:cubicBezTo>
                    <a:pt x="236" y="113"/>
                    <a:pt x="235" y="108"/>
                    <a:pt x="234" y="102"/>
                  </a:cubicBezTo>
                  <a:close/>
                  <a:moveTo>
                    <a:pt x="225" y="130"/>
                  </a:moveTo>
                  <a:cubicBezTo>
                    <a:pt x="198" y="133"/>
                    <a:pt x="198" y="133"/>
                    <a:pt x="198" y="133"/>
                  </a:cubicBezTo>
                  <a:cubicBezTo>
                    <a:pt x="196" y="134"/>
                    <a:pt x="195" y="135"/>
                    <a:pt x="194" y="137"/>
                  </a:cubicBezTo>
                  <a:cubicBezTo>
                    <a:pt x="192" y="145"/>
                    <a:pt x="189" y="153"/>
                    <a:pt x="185" y="160"/>
                  </a:cubicBezTo>
                  <a:cubicBezTo>
                    <a:pt x="184" y="161"/>
                    <a:pt x="184" y="163"/>
                    <a:pt x="185" y="165"/>
                  </a:cubicBezTo>
                  <a:cubicBezTo>
                    <a:pt x="202" y="187"/>
                    <a:pt x="202" y="187"/>
                    <a:pt x="202" y="187"/>
                  </a:cubicBezTo>
                  <a:cubicBezTo>
                    <a:pt x="197" y="192"/>
                    <a:pt x="192" y="198"/>
                    <a:pt x="186" y="203"/>
                  </a:cubicBezTo>
                  <a:cubicBezTo>
                    <a:pt x="164" y="186"/>
                    <a:pt x="164" y="186"/>
                    <a:pt x="164" y="186"/>
                  </a:cubicBezTo>
                  <a:cubicBezTo>
                    <a:pt x="163" y="185"/>
                    <a:pt x="161" y="185"/>
                    <a:pt x="159" y="186"/>
                  </a:cubicBezTo>
                  <a:cubicBezTo>
                    <a:pt x="152" y="190"/>
                    <a:pt x="144" y="193"/>
                    <a:pt x="136" y="195"/>
                  </a:cubicBezTo>
                  <a:cubicBezTo>
                    <a:pt x="134" y="196"/>
                    <a:pt x="133" y="197"/>
                    <a:pt x="133" y="199"/>
                  </a:cubicBezTo>
                  <a:cubicBezTo>
                    <a:pt x="129" y="226"/>
                    <a:pt x="129" y="226"/>
                    <a:pt x="129" y="226"/>
                  </a:cubicBezTo>
                  <a:cubicBezTo>
                    <a:pt x="121" y="227"/>
                    <a:pt x="114" y="227"/>
                    <a:pt x="106" y="226"/>
                  </a:cubicBezTo>
                  <a:cubicBezTo>
                    <a:pt x="103" y="199"/>
                    <a:pt x="103" y="199"/>
                    <a:pt x="103" y="199"/>
                  </a:cubicBezTo>
                  <a:cubicBezTo>
                    <a:pt x="103" y="197"/>
                    <a:pt x="101" y="196"/>
                    <a:pt x="99" y="195"/>
                  </a:cubicBezTo>
                  <a:cubicBezTo>
                    <a:pt x="91" y="193"/>
                    <a:pt x="84" y="190"/>
                    <a:pt x="77" y="186"/>
                  </a:cubicBezTo>
                  <a:cubicBezTo>
                    <a:pt x="75" y="185"/>
                    <a:pt x="73" y="185"/>
                    <a:pt x="71" y="186"/>
                  </a:cubicBezTo>
                  <a:cubicBezTo>
                    <a:pt x="50" y="203"/>
                    <a:pt x="50" y="203"/>
                    <a:pt x="50" y="203"/>
                  </a:cubicBezTo>
                  <a:cubicBezTo>
                    <a:pt x="47" y="201"/>
                    <a:pt x="44" y="198"/>
                    <a:pt x="42" y="196"/>
                  </a:cubicBezTo>
                  <a:cubicBezTo>
                    <a:pt x="40" y="194"/>
                    <a:pt x="40" y="194"/>
                    <a:pt x="40" y="194"/>
                  </a:cubicBezTo>
                  <a:cubicBezTo>
                    <a:pt x="38" y="192"/>
                    <a:pt x="36" y="189"/>
                    <a:pt x="34" y="187"/>
                  </a:cubicBezTo>
                  <a:cubicBezTo>
                    <a:pt x="50" y="165"/>
                    <a:pt x="50" y="165"/>
                    <a:pt x="50" y="165"/>
                  </a:cubicBezTo>
                  <a:cubicBezTo>
                    <a:pt x="51" y="164"/>
                    <a:pt x="51" y="161"/>
                    <a:pt x="50" y="160"/>
                  </a:cubicBezTo>
                  <a:cubicBezTo>
                    <a:pt x="46" y="153"/>
                    <a:pt x="43" y="145"/>
                    <a:pt x="41" y="137"/>
                  </a:cubicBezTo>
                  <a:cubicBezTo>
                    <a:pt x="41" y="135"/>
                    <a:pt x="39" y="134"/>
                    <a:pt x="37" y="133"/>
                  </a:cubicBezTo>
                  <a:cubicBezTo>
                    <a:pt x="10" y="130"/>
                    <a:pt x="10" y="130"/>
                    <a:pt x="10" y="130"/>
                  </a:cubicBezTo>
                  <a:cubicBezTo>
                    <a:pt x="10" y="127"/>
                    <a:pt x="9" y="123"/>
                    <a:pt x="9" y="120"/>
                  </a:cubicBezTo>
                  <a:cubicBezTo>
                    <a:pt x="9" y="117"/>
                    <a:pt x="9" y="117"/>
                    <a:pt x="9" y="117"/>
                  </a:cubicBezTo>
                  <a:cubicBezTo>
                    <a:pt x="9" y="114"/>
                    <a:pt x="10" y="110"/>
                    <a:pt x="10" y="107"/>
                  </a:cubicBezTo>
                  <a:cubicBezTo>
                    <a:pt x="37" y="104"/>
                    <a:pt x="37" y="104"/>
                    <a:pt x="37" y="104"/>
                  </a:cubicBezTo>
                  <a:cubicBezTo>
                    <a:pt x="39" y="103"/>
                    <a:pt x="41" y="102"/>
                    <a:pt x="41" y="100"/>
                  </a:cubicBezTo>
                  <a:cubicBezTo>
                    <a:pt x="43" y="92"/>
                    <a:pt x="46" y="84"/>
                    <a:pt x="50" y="77"/>
                  </a:cubicBezTo>
                  <a:cubicBezTo>
                    <a:pt x="51" y="76"/>
                    <a:pt x="51" y="73"/>
                    <a:pt x="50" y="72"/>
                  </a:cubicBezTo>
                  <a:cubicBezTo>
                    <a:pt x="34" y="50"/>
                    <a:pt x="34" y="50"/>
                    <a:pt x="34" y="50"/>
                  </a:cubicBezTo>
                  <a:cubicBezTo>
                    <a:pt x="36" y="48"/>
                    <a:pt x="38" y="45"/>
                    <a:pt x="40" y="43"/>
                  </a:cubicBezTo>
                  <a:cubicBezTo>
                    <a:pt x="42" y="41"/>
                    <a:pt x="42" y="41"/>
                    <a:pt x="42" y="41"/>
                  </a:cubicBezTo>
                  <a:cubicBezTo>
                    <a:pt x="44" y="39"/>
                    <a:pt x="47" y="36"/>
                    <a:pt x="50" y="34"/>
                  </a:cubicBezTo>
                  <a:cubicBezTo>
                    <a:pt x="71" y="51"/>
                    <a:pt x="71" y="51"/>
                    <a:pt x="71" y="51"/>
                  </a:cubicBezTo>
                  <a:cubicBezTo>
                    <a:pt x="73" y="52"/>
                    <a:pt x="75" y="52"/>
                    <a:pt x="77" y="51"/>
                  </a:cubicBezTo>
                  <a:cubicBezTo>
                    <a:pt x="84" y="47"/>
                    <a:pt x="91" y="44"/>
                    <a:pt x="99" y="42"/>
                  </a:cubicBezTo>
                  <a:cubicBezTo>
                    <a:pt x="101" y="41"/>
                    <a:pt x="103" y="40"/>
                    <a:pt x="103" y="38"/>
                  </a:cubicBezTo>
                  <a:cubicBezTo>
                    <a:pt x="106" y="11"/>
                    <a:pt x="106" y="11"/>
                    <a:pt x="106" y="11"/>
                  </a:cubicBezTo>
                  <a:cubicBezTo>
                    <a:pt x="114" y="10"/>
                    <a:pt x="121" y="10"/>
                    <a:pt x="129" y="11"/>
                  </a:cubicBezTo>
                  <a:cubicBezTo>
                    <a:pt x="133" y="38"/>
                    <a:pt x="133" y="38"/>
                    <a:pt x="133" y="38"/>
                  </a:cubicBezTo>
                  <a:cubicBezTo>
                    <a:pt x="133" y="40"/>
                    <a:pt x="134" y="41"/>
                    <a:pt x="136" y="42"/>
                  </a:cubicBezTo>
                  <a:cubicBezTo>
                    <a:pt x="144" y="44"/>
                    <a:pt x="152" y="47"/>
                    <a:pt x="159" y="51"/>
                  </a:cubicBezTo>
                  <a:cubicBezTo>
                    <a:pt x="161" y="52"/>
                    <a:pt x="163" y="52"/>
                    <a:pt x="164" y="51"/>
                  </a:cubicBezTo>
                  <a:cubicBezTo>
                    <a:pt x="186" y="34"/>
                    <a:pt x="186" y="34"/>
                    <a:pt x="186" y="34"/>
                  </a:cubicBezTo>
                  <a:cubicBezTo>
                    <a:pt x="192" y="39"/>
                    <a:pt x="197" y="44"/>
                    <a:pt x="202" y="50"/>
                  </a:cubicBezTo>
                  <a:cubicBezTo>
                    <a:pt x="185" y="72"/>
                    <a:pt x="185" y="72"/>
                    <a:pt x="185" y="72"/>
                  </a:cubicBezTo>
                  <a:cubicBezTo>
                    <a:pt x="184" y="73"/>
                    <a:pt x="184" y="76"/>
                    <a:pt x="185" y="77"/>
                  </a:cubicBezTo>
                  <a:cubicBezTo>
                    <a:pt x="189" y="84"/>
                    <a:pt x="192" y="92"/>
                    <a:pt x="194" y="100"/>
                  </a:cubicBezTo>
                  <a:cubicBezTo>
                    <a:pt x="195" y="102"/>
                    <a:pt x="196" y="103"/>
                    <a:pt x="198" y="104"/>
                  </a:cubicBezTo>
                  <a:cubicBezTo>
                    <a:pt x="225" y="107"/>
                    <a:pt x="225" y="107"/>
                    <a:pt x="225" y="107"/>
                  </a:cubicBezTo>
                  <a:cubicBezTo>
                    <a:pt x="226" y="111"/>
                    <a:pt x="226" y="115"/>
                    <a:pt x="226" y="118"/>
                  </a:cubicBezTo>
                  <a:cubicBezTo>
                    <a:pt x="226" y="122"/>
                    <a:pt x="226" y="126"/>
                    <a:pt x="225" y="130"/>
                  </a:cubicBezTo>
                  <a:close/>
                </a:path>
              </a:pathLst>
            </a:custGeom>
            <a:grpFill/>
            <a:ln>
              <a:solidFill>
                <a:srgbClr val="00AFD0"/>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1" name="Group 20"/>
          <p:cNvGrpSpPr/>
          <p:nvPr/>
        </p:nvGrpSpPr>
        <p:grpSpPr>
          <a:xfrm>
            <a:off x="5769127" y="2525895"/>
            <a:ext cx="587094" cy="556571"/>
            <a:chOff x="7186613" y="4868863"/>
            <a:chExt cx="796925" cy="800101"/>
          </a:xfrm>
          <a:solidFill>
            <a:srgbClr val="00AFD0"/>
          </a:solidFill>
        </p:grpSpPr>
        <p:sp>
          <p:nvSpPr>
            <p:cNvPr id="22" name="Freeform 57"/>
            <p:cNvSpPr>
              <a:spLocks noEditPoints="1"/>
            </p:cNvSpPr>
            <p:nvPr/>
          </p:nvSpPr>
          <p:spPr bwMode="auto">
            <a:xfrm>
              <a:off x="7343775" y="5300663"/>
              <a:ext cx="214313" cy="214313"/>
            </a:xfrm>
            <a:custGeom>
              <a:avLst/>
              <a:gdLst>
                <a:gd name="T0" fmla="*/ 32 w 64"/>
                <a:gd name="T1" fmla="*/ 0 h 64"/>
                <a:gd name="T2" fmla="*/ 0 w 64"/>
                <a:gd name="T3" fmla="*/ 32 h 64"/>
                <a:gd name="T4" fmla="*/ 32 w 64"/>
                <a:gd name="T5" fmla="*/ 64 h 64"/>
                <a:gd name="T6" fmla="*/ 64 w 64"/>
                <a:gd name="T7" fmla="*/ 32 h 64"/>
                <a:gd name="T8" fmla="*/ 32 w 64"/>
                <a:gd name="T9" fmla="*/ 0 h 64"/>
                <a:gd name="T10" fmla="*/ 32 w 64"/>
                <a:gd name="T11" fmla="*/ 54 h 64"/>
                <a:gd name="T12" fmla="*/ 9 w 64"/>
                <a:gd name="T13" fmla="*/ 32 h 64"/>
                <a:gd name="T14" fmla="*/ 32 w 64"/>
                <a:gd name="T15" fmla="*/ 9 h 64"/>
                <a:gd name="T16" fmla="*/ 54 w 64"/>
                <a:gd name="T17" fmla="*/ 32 h 64"/>
                <a:gd name="T18" fmla="*/ 32 w 64"/>
                <a:gd name="T19" fmla="*/ 5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0"/>
                  </a:moveTo>
                  <a:cubicBezTo>
                    <a:pt x="14" y="0"/>
                    <a:pt x="0" y="14"/>
                    <a:pt x="0" y="32"/>
                  </a:cubicBezTo>
                  <a:cubicBezTo>
                    <a:pt x="0" y="49"/>
                    <a:pt x="14" y="64"/>
                    <a:pt x="32" y="64"/>
                  </a:cubicBezTo>
                  <a:cubicBezTo>
                    <a:pt x="50" y="64"/>
                    <a:pt x="64" y="49"/>
                    <a:pt x="64" y="32"/>
                  </a:cubicBezTo>
                  <a:cubicBezTo>
                    <a:pt x="64" y="14"/>
                    <a:pt x="50" y="0"/>
                    <a:pt x="32" y="0"/>
                  </a:cubicBezTo>
                  <a:close/>
                  <a:moveTo>
                    <a:pt x="32" y="54"/>
                  </a:moveTo>
                  <a:cubicBezTo>
                    <a:pt x="19" y="54"/>
                    <a:pt x="9" y="44"/>
                    <a:pt x="9" y="32"/>
                  </a:cubicBezTo>
                  <a:cubicBezTo>
                    <a:pt x="9" y="19"/>
                    <a:pt x="19" y="9"/>
                    <a:pt x="32" y="9"/>
                  </a:cubicBezTo>
                  <a:cubicBezTo>
                    <a:pt x="44" y="9"/>
                    <a:pt x="54" y="19"/>
                    <a:pt x="54" y="32"/>
                  </a:cubicBezTo>
                  <a:cubicBezTo>
                    <a:pt x="54" y="44"/>
                    <a:pt x="44" y="54"/>
                    <a:pt x="32" y="54"/>
                  </a:cubicBezTo>
                  <a:close/>
                </a:path>
              </a:pathLst>
            </a:custGeom>
            <a:grpFill/>
            <a:ln>
              <a:solidFill>
                <a:srgbClr val="00AFD0"/>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 name="Freeform 58"/>
            <p:cNvSpPr>
              <a:spLocks noEditPoints="1"/>
            </p:cNvSpPr>
            <p:nvPr/>
          </p:nvSpPr>
          <p:spPr bwMode="auto">
            <a:xfrm>
              <a:off x="7186613" y="5143501"/>
              <a:ext cx="525463" cy="525463"/>
            </a:xfrm>
            <a:custGeom>
              <a:avLst/>
              <a:gdLst>
                <a:gd name="T0" fmla="*/ 136 w 157"/>
                <a:gd name="T1" fmla="*/ 61 h 157"/>
                <a:gd name="T2" fmla="*/ 141 w 157"/>
                <a:gd name="T3" fmla="*/ 37 h 157"/>
                <a:gd name="T4" fmla="*/ 126 w 157"/>
                <a:gd name="T5" fmla="*/ 16 h 157"/>
                <a:gd name="T6" fmla="*/ 107 w 157"/>
                <a:gd name="T7" fmla="*/ 26 h 157"/>
                <a:gd name="T8" fmla="*/ 94 w 157"/>
                <a:gd name="T9" fmla="*/ 5 h 157"/>
                <a:gd name="T10" fmla="*/ 68 w 157"/>
                <a:gd name="T11" fmla="*/ 1 h 157"/>
                <a:gd name="T12" fmla="*/ 62 w 157"/>
                <a:gd name="T13" fmla="*/ 22 h 157"/>
                <a:gd name="T14" fmla="*/ 37 w 157"/>
                <a:gd name="T15" fmla="*/ 16 h 157"/>
                <a:gd name="T16" fmla="*/ 24 w 157"/>
                <a:gd name="T17" fmla="*/ 23 h 157"/>
                <a:gd name="T18" fmla="*/ 16 w 157"/>
                <a:gd name="T19" fmla="*/ 31 h 157"/>
                <a:gd name="T20" fmla="*/ 27 w 157"/>
                <a:gd name="T21" fmla="*/ 51 h 157"/>
                <a:gd name="T22" fmla="*/ 5 w 157"/>
                <a:gd name="T23" fmla="*/ 64 h 157"/>
                <a:gd name="T24" fmla="*/ 0 w 157"/>
                <a:gd name="T25" fmla="*/ 78 h 157"/>
                <a:gd name="T26" fmla="*/ 1 w 157"/>
                <a:gd name="T27" fmla="*/ 89 h 157"/>
                <a:gd name="T28" fmla="*/ 22 w 157"/>
                <a:gd name="T29" fmla="*/ 96 h 157"/>
                <a:gd name="T30" fmla="*/ 16 w 157"/>
                <a:gd name="T31" fmla="*/ 120 h 157"/>
                <a:gd name="T32" fmla="*/ 23 w 157"/>
                <a:gd name="T33" fmla="*/ 133 h 157"/>
                <a:gd name="T34" fmla="*/ 32 w 157"/>
                <a:gd name="T35" fmla="*/ 141 h 157"/>
                <a:gd name="T36" fmla="*/ 51 w 157"/>
                <a:gd name="T37" fmla="*/ 131 h 157"/>
                <a:gd name="T38" fmla="*/ 64 w 157"/>
                <a:gd name="T39" fmla="*/ 152 h 157"/>
                <a:gd name="T40" fmla="*/ 79 w 157"/>
                <a:gd name="T41" fmla="*/ 157 h 157"/>
                <a:gd name="T42" fmla="*/ 94 w 157"/>
                <a:gd name="T43" fmla="*/ 152 h 157"/>
                <a:gd name="T44" fmla="*/ 107 w 157"/>
                <a:gd name="T45" fmla="*/ 131 h 157"/>
                <a:gd name="T46" fmla="*/ 126 w 157"/>
                <a:gd name="T47" fmla="*/ 141 h 157"/>
                <a:gd name="T48" fmla="*/ 141 w 157"/>
                <a:gd name="T49" fmla="*/ 120 h 157"/>
                <a:gd name="T50" fmla="*/ 136 w 157"/>
                <a:gd name="T51" fmla="*/ 96 h 157"/>
                <a:gd name="T52" fmla="*/ 156 w 157"/>
                <a:gd name="T53" fmla="*/ 89 h 157"/>
                <a:gd name="T54" fmla="*/ 156 w 157"/>
                <a:gd name="T55" fmla="*/ 68 h 157"/>
                <a:gd name="T56" fmla="*/ 147 w 157"/>
                <a:gd name="T57" fmla="*/ 85 h 157"/>
                <a:gd name="T58" fmla="*/ 127 w 157"/>
                <a:gd name="T59" fmla="*/ 90 h 157"/>
                <a:gd name="T60" fmla="*/ 122 w 157"/>
                <a:gd name="T61" fmla="*/ 110 h 157"/>
                <a:gd name="T62" fmla="*/ 123 w 157"/>
                <a:gd name="T63" fmla="*/ 131 h 157"/>
                <a:gd name="T64" fmla="*/ 105 w 157"/>
                <a:gd name="T65" fmla="*/ 121 h 157"/>
                <a:gd name="T66" fmla="*/ 87 w 157"/>
                <a:gd name="T67" fmla="*/ 131 h 157"/>
                <a:gd name="T68" fmla="*/ 73 w 157"/>
                <a:gd name="T69" fmla="*/ 147 h 157"/>
                <a:gd name="T70" fmla="*/ 67 w 157"/>
                <a:gd name="T71" fmla="*/ 127 h 157"/>
                <a:gd name="T72" fmla="*/ 48 w 157"/>
                <a:gd name="T73" fmla="*/ 121 h 157"/>
                <a:gd name="T74" fmla="*/ 31 w 157"/>
                <a:gd name="T75" fmla="*/ 128 h 157"/>
                <a:gd name="T76" fmla="*/ 26 w 157"/>
                <a:gd name="T77" fmla="*/ 123 h 157"/>
                <a:gd name="T78" fmla="*/ 36 w 157"/>
                <a:gd name="T79" fmla="*/ 105 h 157"/>
                <a:gd name="T80" fmla="*/ 27 w 157"/>
                <a:gd name="T81" fmla="*/ 87 h 157"/>
                <a:gd name="T82" fmla="*/ 10 w 157"/>
                <a:gd name="T83" fmla="*/ 80 h 157"/>
                <a:gd name="T84" fmla="*/ 10 w 157"/>
                <a:gd name="T85" fmla="*/ 73 h 157"/>
                <a:gd name="T86" fmla="*/ 31 w 157"/>
                <a:gd name="T87" fmla="*/ 67 h 157"/>
                <a:gd name="T88" fmla="*/ 36 w 157"/>
                <a:gd name="T89" fmla="*/ 47 h 157"/>
                <a:gd name="T90" fmla="*/ 30 w 157"/>
                <a:gd name="T91" fmla="*/ 31 h 157"/>
                <a:gd name="T92" fmla="*/ 35 w 157"/>
                <a:gd name="T93" fmla="*/ 26 h 157"/>
                <a:gd name="T94" fmla="*/ 53 w 157"/>
                <a:gd name="T95" fmla="*/ 36 h 157"/>
                <a:gd name="T96" fmla="*/ 71 w 157"/>
                <a:gd name="T97" fmla="*/ 26 h 157"/>
                <a:gd name="T98" fmla="*/ 85 w 157"/>
                <a:gd name="T99" fmla="*/ 10 h 157"/>
                <a:gd name="T100" fmla="*/ 91 w 157"/>
                <a:gd name="T101" fmla="*/ 30 h 157"/>
                <a:gd name="T102" fmla="*/ 110 w 157"/>
                <a:gd name="T103" fmla="*/ 36 h 157"/>
                <a:gd name="T104" fmla="*/ 131 w 157"/>
                <a:gd name="T105" fmla="*/ 34 h 157"/>
                <a:gd name="T106" fmla="*/ 121 w 157"/>
                <a:gd name="T107" fmla="*/ 53 h 157"/>
                <a:gd name="T108" fmla="*/ 131 w 157"/>
                <a:gd name="T109" fmla="*/ 71 h 157"/>
                <a:gd name="T110" fmla="*/ 148 w 157"/>
                <a:gd name="T111" fmla="*/ 79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7" h="157">
                  <a:moveTo>
                    <a:pt x="152" y="64"/>
                  </a:moveTo>
                  <a:cubicBezTo>
                    <a:pt x="136" y="61"/>
                    <a:pt x="136" y="61"/>
                    <a:pt x="136" y="61"/>
                  </a:cubicBezTo>
                  <a:cubicBezTo>
                    <a:pt x="134" y="58"/>
                    <a:pt x="133" y="54"/>
                    <a:pt x="131" y="51"/>
                  </a:cubicBezTo>
                  <a:cubicBezTo>
                    <a:pt x="141" y="37"/>
                    <a:pt x="141" y="37"/>
                    <a:pt x="141" y="37"/>
                  </a:cubicBezTo>
                  <a:cubicBezTo>
                    <a:pt x="143" y="35"/>
                    <a:pt x="143" y="33"/>
                    <a:pt x="141" y="31"/>
                  </a:cubicBezTo>
                  <a:cubicBezTo>
                    <a:pt x="137" y="26"/>
                    <a:pt x="132" y="20"/>
                    <a:pt x="126" y="16"/>
                  </a:cubicBezTo>
                  <a:cubicBezTo>
                    <a:pt x="124" y="15"/>
                    <a:pt x="122" y="15"/>
                    <a:pt x="120" y="16"/>
                  </a:cubicBezTo>
                  <a:cubicBezTo>
                    <a:pt x="107" y="26"/>
                    <a:pt x="107" y="26"/>
                    <a:pt x="107" y="26"/>
                  </a:cubicBezTo>
                  <a:cubicBezTo>
                    <a:pt x="103" y="25"/>
                    <a:pt x="100" y="23"/>
                    <a:pt x="96" y="22"/>
                  </a:cubicBezTo>
                  <a:cubicBezTo>
                    <a:pt x="94" y="5"/>
                    <a:pt x="94" y="5"/>
                    <a:pt x="94" y="5"/>
                  </a:cubicBezTo>
                  <a:cubicBezTo>
                    <a:pt x="94" y="3"/>
                    <a:pt x="92" y="1"/>
                    <a:pt x="90" y="1"/>
                  </a:cubicBezTo>
                  <a:cubicBezTo>
                    <a:pt x="82" y="0"/>
                    <a:pt x="75" y="0"/>
                    <a:pt x="68" y="1"/>
                  </a:cubicBezTo>
                  <a:cubicBezTo>
                    <a:pt x="66" y="1"/>
                    <a:pt x="64" y="3"/>
                    <a:pt x="64" y="5"/>
                  </a:cubicBezTo>
                  <a:cubicBezTo>
                    <a:pt x="62" y="22"/>
                    <a:pt x="62" y="22"/>
                    <a:pt x="62" y="22"/>
                  </a:cubicBezTo>
                  <a:cubicBezTo>
                    <a:pt x="58" y="23"/>
                    <a:pt x="54" y="25"/>
                    <a:pt x="51" y="26"/>
                  </a:cubicBezTo>
                  <a:cubicBezTo>
                    <a:pt x="37" y="16"/>
                    <a:pt x="37" y="16"/>
                    <a:pt x="37" y="16"/>
                  </a:cubicBezTo>
                  <a:cubicBezTo>
                    <a:pt x="36" y="15"/>
                    <a:pt x="33" y="15"/>
                    <a:pt x="32" y="16"/>
                  </a:cubicBezTo>
                  <a:cubicBezTo>
                    <a:pt x="29" y="18"/>
                    <a:pt x="26" y="20"/>
                    <a:pt x="24" y="23"/>
                  </a:cubicBezTo>
                  <a:cubicBezTo>
                    <a:pt x="23" y="24"/>
                    <a:pt x="23" y="24"/>
                    <a:pt x="23" y="24"/>
                  </a:cubicBezTo>
                  <a:cubicBezTo>
                    <a:pt x="20" y="26"/>
                    <a:pt x="18" y="29"/>
                    <a:pt x="16" y="31"/>
                  </a:cubicBezTo>
                  <a:cubicBezTo>
                    <a:pt x="15" y="33"/>
                    <a:pt x="15" y="35"/>
                    <a:pt x="16" y="37"/>
                  </a:cubicBezTo>
                  <a:cubicBezTo>
                    <a:pt x="27" y="51"/>
                    <a:pt x="27" y="51"/>
                    <a:pt x="27" y="51"/>
                  </a:cubicBezTo>
                  <a:cubicBezTo>
                    <a:pt x="25" y="54"/>
                    <a:pt x="23" y="58"/>
                    <a:pt x="22" y="61"/>
                  </a:cubicBezTo>
                  <a:cubicBezTo>
                    <a:pt x="5" y="64"/>
                    <a:pt x="5" y="64"/>
                    <a:pt x="5" y="64"/>
                  </a:cubicBezTo>
                  <a:cubicBezTo>
                    <a:pt x="3" y="64"/>
                    <a:pt x="2" y="66"/>
                    <a:pt x="1" y="68"/>
                  </a:cubicBezTo>
                  <a:cubicBezTo>
                    <a:pt x="1" y="71"/>
                    <a:pt x="1" y="74"/>
                    <a:pt x="0" y="78"/>
                  </a:cubicBezTo>
                  <a:cubicBezTo>
                    <a:pt x="0" y="80"/>
                    <a:pt x="0" y="80"/>
                    <a:pt x="0" y="80"/>
                  </a:cubicBezTo>
                  <a:cubicBezTo>
                    <a:pt x="1" y="83"/>
                    <a:pt x="1" y="86"/>
                    <a:pt x="1" y="89"/>
                  </a:cubicBezTo>
                  <a:cubicBezTo>
                    <a:pt x="2" y="92"/>
                    <a:pt x="3" y="93"/>
                    <a:pt x="5" y="94"/>
                  </a:cubicBezTo>
                  <a:cubicBezTo>
                    <a:pt x="22" y="96"/>
                    <a:pt x="22" y="96"/>
                    <a:pt x="22" y="96"/>
                  </a:cubicBezTo>
                  <a:cubicBezTo>
                    <a:pt x="23" y="100"/>
                    <a:pt x="25" y="103"/>
                    <a:pt x="27" y="107"/>
                  </a:cubicBezTo>
                  <a:cubicBezTo>
                    <a:pt x="16" y="120"/>
                    <a:pt x="16" y="120"/>
                    <a:pt x="16" y="120"/>
                  </a:cubicBezTo>
                  <a:cubicBezTo>
                    <a:pt x="15" y="122"/>
                    <a:pt x="15" y="124"/>
                    <a:pt x="16" y="126"/>
                  </a:cubicBezTo>
                  <a:cubicBezTo>
                    <a:pt x="18" y="128"/>
                    <a:pt x="20" y="131"/>
                    <a:pt x="23" y="133"/>
                  </a:cubicBezTo>
                  <a:cubicBezTo>
                    <a:pt x="24" y="135"/>
                    <a:pt x="24" y="135"/>
                    <a:pt x="24" y="135"/>
                  </a:cubicBezTo>
                  <a:cubicBezTo>
                    <a:pt x="26" y="137"/>
                    <a:pt x="29" y="139"/>
                    <a:pt x="32" y="141"/>
                  </a:cubicBezTo>
                  <a:cubicBezTo>
                    <a:pt x="33" y="142"/>
                    <a:pt x="36" y="142"/>
                    <a:pt x="37" y="141"/>
                  </a:cubicBezTo>
                  <a:cubicBezTo>
                    <a:pt x="51" y="131"/>
                    <a:pt x="51" y="131"/>
                    <a:pt x="51" y="131"/>
                  </a:cubicBezTo>
                  <a:cubicBezTo>
                    <a:pt x="54" y="133"/>
                    <a:pt x="58" y="134"/>
                    <a:pt x="62" y="135"/>
                  </a:cubicBezTo>
                  <a:cubicBezTo>
                    <a:pt x="64" y="152"/>
                    <a:pt x="64" y="152"/>
                    <a:pt x="64" y="152"/>
                  </a:cubicBezTo>
                  <a:cubicBezTo>
                    <a:pt x="64" y="154"/>
                    <a:pt x="66" y="156"/>
                    <a:pt x="68" y="156"/>
                  </a:cubicBezTo>
                  <a:cubicBezTo>
                    <a:pt x="72" y="157"/>
                    <a:pt x="75" y="157"/>
                    <a:pt x="79" y="157"/>
                  </a:cubicBezTo>
                  <a:cubicBezTo>
                    <a:pt x="82" y="157"/>
                    <a:pt x="86" y="157"/>
                    <a:pt x="90" y="156"/>
                  </a:cubicBezTo>
                  <a:cubicBezTo>
                    <a:pt x="92" y="156"/>
                    <a:pt x="94" y="154"/>
                    <a:pt x="94" y="152"/>
                  </a:cubicBezTo>
                  <a:cubicBezTo>
                    <a:pt x="96" y="135"/>
                    <a:pt x="96" y="135"/>
                    <a:pt x="96" y="135"/>
                  </a:cubicBezTo>
                  <a:cubicBezTo>
                    <a:pt x="100" y="134"/>
                    <a:pt x="103" y="133"/>
                    <a:pt x="107" y="131"/>
                  </a:cubicBezTo>
                  <a:cubicBezTo>
                    <a:pt x="120" y="141"/>
                    <a:pt x="120" y="141"/>
                    <a:pt x="120" y="141"/>
                  </a:cubicBezTo>
                  <a:cubicBezTo>
                    <a:pt x="122" y="142"/>
                    <a:pt x="124" y="142"/>
                    <a:pt x="126" y="141"/>
                  </a:cubicBezTo>
                  <a:cubicBezTo>
                    <a:pt x="132" y="137"/>
                    <a:pt x="137" y="132"/>
                    <a:pt x="141" y="126"/>
                  </a:cubicBezTo>
                  <a:cubicBezTo>
                    <a:pt x="143" y="124"/>
                    <a:pt x="143" y="122"/>
                    <a:pt x="141" y="120"/>
                  </a:cubicBezTo>
                  <a:cubicBezTo>
                    <a:pt x="131" y="107"/>
                    <a:pt x="131" y="107"/>
                    <a:pt x="131" y="107"/>
                  </a:cubicBezTo>
                  <a:cubicBezTo>
                    <a:pt x="133" y="103"/>
                    <a:pt x="134" y="99"/>
                    <a:pt x="136" y="96"/>
                  </a:cubicBezTo>
                  <a:cubicBezTo>
                    <a:pt x="152" y="94"/>
                    <a:pt x="152" y="94"/>
                    <a:pt x="152" y="94"/>
                  </a:cubicBezTo>
                  <a:cubicBezTo>
                    <a:pt x="154" y="93"/>
                    <a:pt x="156" y="92"/>
                    <a:pt x="156" y="89"/>
                  </a:cubicBezTo>
                  <a:cubicBezTo>
                    <a:pt x="157" y="86"/>
                    <a:pt x="157" y="82"/>
                    <a:pt x="157" y="79"/>
                  </a:cubicBezTo>
                  <a:cubicBezTo>
                    <a:pt x="157" y="75"/>
                    <a:pt x="157" y="71"/>
                    <a:pt x="156" y="68"/>
                  </a:cubicBezTo>
                  <a:cubicBezTo>
                    <a:pt x="156" y="66"/>
                    <a:pt x="154" y="64"/>
                    <a:pt x="152" y="64"/>
                  </a:cubicBezTo>
                  <a:close/>
                  <a:moveTo>
                    <a:pt x="147" y="85"/>
                  </a:moveTo>
                  <a:cubicBezTo>
                    <a:pt x="131" y="87"/>
                    <a:pt x="131" y="87"/>
                    <a:pt x="131" y="87"/>
                  </a:cubicBezTo>
                  <a:cubicBezTo>
                    <a:pt x="129" y="87"/>
                    <a:pt x="128" y="88"/>
                    <a:pt x="127" y="90"/>
                  </a:cubicBezTo>
                  <a:cubicBezTo>
                    <a:pt x="126" y="95"/>
                    <a:pt x="124" y="100"/>
                    <a:pt x="121" y="104"/>
                  </a:cubicBezTo>
                  <a:cubicBezTo>
                    <a:pt x="120" y="106"/>
                    <a:pt x="120" y="108"/>
                    <a:pt x="122" y="110"/>
                  </a:cubicBezTo>
                  <a:cubicBezTo>
                    <a:pt x="131" y="123"/>
                    <a:pt x="131" y="123"/>
                    <a:pt x="131" y="123"/>
                  </a:cubicBezTo>
                  <a:cubicBezTo>
                    <a:pt x="129" y="126"/>
                    <a:pt x="126" y="129"/>
                    <a:pt x="123" y="131"/>
                  </a:cubicBezTo>
                  <a:cubicBezTo>
                    <a:pt x="110" y="121"/>
                    <a:pt x="110" y="121"/>
                    <a:pt x="110" y="121"/>
                  </a:cubicBezTo>
                  <a:cubicBezTo>
                    <a:pt x="109" y="120"/>
                    <a:pt x="106" y="120"/>
                    <a:pt x="105" y="121"/>
                  </a:cubicBezTo>
                  <a:cubicBezTo>
                    <a:pt x="100" y="124"/>
                    <a:pt x="96" y="126"/>
                    <a:pt x="91" y="127"/>
                  </a:cubicBezTo>
                  <a:cubicBezTo>
                    <a:pt x="89" y="127"/>
                    <a:pt x="87" y="129"/>
                    <a:pt x="87" y="131"/>
                  </a:cubicBezTo>
                  <a:cubicBezTo>
                    <a:pt x="85" y="147"/>
                    <a:pt x="85" y="147"/>
                    <a:pt x="85" y="147"/>
                  </a:cubicBezTo>
                  <a:cubicBezTo>
                    <a:pt x="81" y="147"/>
                    <a:pt x="77" y="147"/>
                    <a:pt x="73" y="147"/>
                  </a:cubicBezTo>
                  <a:cubicBezTo>
                    <a:pt x="71" y="131"/>
                    <a:pt x="71" y="131"/>
                    <a:pt x="71" y="131"/>
                  </a:cubicBezTo>
                  <a:cubicBezTo>
                    <a:pt x="71" y="129"/>
                    <a:pt x="69" y="127"/>
                    <a:pt x="67" y="127"/>
                  </a:cubicBezTo>
                  <a:cubicBezTo>
                    <a:pt x="62" y="126"/>
                    <a:pt x="57" y="124"/>
                    <a:pt x="53" y="121"/>
                  </a:cubicBezTo>
                  <a:cubicBezTo>
                    <a:pt x="51" y="120"/>
                    <a:pt x="49" y="120"/>
                    <a:pt x="48" y="121"/>
                  </a:cubicBezTo>
                  <a:cubicBezTo>
                    <a:pt x="35" y="131"/>
                    <a:pt x="35" y="131"/>
                    <a:pt x="35" y="131"/>
                  </a:cubicBezTo>
                  <a:cubicBezTo>
                    <a:pt x="33" y="130"/>
                    <a:pt x="32" y="129"/>
                    <a:pt x="31" y="128"/>
                  </a:cubicBezTo>
                  <a:cubicBezTo>
                    <a:pt x="30" y="127"/>
                    <a:pt x="30" y="127"/>
                    <a:pt x="30" y="127"/>
                  </a:cubicBezTo>
                  <a:cubicBezTo>
                    <a:pt x="28" y="125"/>
                    <a:pt x="27" y="124"/>
                    <a:pt x="26" y="123"/>
                  </a:cubicBezTo>
                  <a:cubicBezTo>
                    <a:pt x="36" y="110"/>
                    <a:pt x="36" y="110"/>
                    <a:pt x="36" y="110"/>
                  </a:cubicBezTo>
                  <a:cubicBezTo>
                    <a:pt x="37" y="108"/>
                    <a:pt x="38" y="106"/>
                    <a:pt x="36" y="105"/>
                  </a:cubicBezTo>
                  <a:cubicBezTo>
                    <a:pt x="34" y="100"/>
                    <a:pt x="32" y="95"/>
                    <a:pt x="31" y="90"/>
                  </a:cubicBezTo>
                  <a:cubicBezTo>
                    <a:pt x="30" y="88"/>
                    <a:pt x="28" y="87"/>
                    <a:pt x="27" y="87"/>
                  </a:cubicBezTo>
                  <a:cubicBezTo>
                    <a:pt x="10" y="84"/>
                    <a:pt x="10" y="84"/>
                    <a:pt x="10" y="84"/>
                  </a:cubicBezTo>
                  <a:cubicBezTo>
                    <a:pt x="10" y="83"/>
                    <a:pt x="10" y="81"/>
                    <a:pt x="10" y="80"/>
                  </a:cubicBezTo>
                  <a:cubicBezTo>
                    <a:pt x="10" y="78"/>
                    <a:pt x="10" y="78"/>
                    <a:pt x="10" y="78"/>
                  </a:cubicBezTo>
                  <a:cubicBezTo>
                    <a:pt x="10" y="76"/>
                    <a:pt x="10" y="74"/>
                    <a:pt x="10" y="73"/>
                  </a:cubicBezTo>
                  <a:cubicBezTo>
                    <a:pt x="27" y="71"/>
                    <a:pt x="27" y="71"/>
                    <a:pt x="27" y="71"/>
                  </a:cubicBezTo>
                  <a:cubicBezTo>
                    <a:pt x="28" y="70"/>
                    <a:pt x="30" y="69"/>
                    <a:pt x="31" y="67"/>
                  </a:cubicBezTo>
                  <a:cubicBezTo>
                    <a:pt x="32" y="62"/>
                    <a:pt x="34" y="57"/>
                    <a:pt x="36" y="53"/>
                  </a:cubicBezTo>
                  <a:cubicBezTo>
                    <a:pt x="38" y="51"/>
                    <a:pt x="37" y="49"/>
                    <a:pt x="36" y="47"/>
                  </a:cubicBezTo>
                  <a:cubicBezTo>
                    <a:pt x="26" y="34"/>
                    <a:pt x="26" y="34"/>
                    <a:pt x="26" y="34"/>
                  </a:cubicBezTo>
                  <a:cubicBezTo>
                    <a:pt x="27" y="33"/>
                    <a:pt x="28" y="32"/>
                    <a:pt x="30" y="31"/>
                  </a:cubicBezTo>
                  <a:cubicBezTo>
                    <a:pt x="31" y="29"/>
                    <a:pt x="31" y="29"/>
                    <a:pt x="31" y="29"/>
                  </a:cubicBezTo>
                  <a:cubicBezTo>
                    <a:pt x="32" y="28"/>
                    <a:pt x="33" y="27"/>
                    <a:pt x="35" y="26"/>
                  </a:cubicBezTo>
                  <a:cubicBezTo>
                    <a:pt x="48" y="36"/>
                    <a:pt x="48" y="36"/>
                    <a:pt x="48" y="36"/>
                  </a:cubicBezTo>
                  <a:cubicBezTo>
                    <a:pt x="49" y="37"/>
                    <a:pt x="51" y="37"/>
                    <a:pt x="53" y="36"/>
                  </a:cubicBezTo>
                  <a:cubicBezTo>
                    <a:pt x="57" y="34"/>
                    <a:pt x="62" y="32"/>
                    <a:pt x="67" y="30"/>
                  </a:cubicBezTo>
                  <a:cubicBezTo>
                    <a:pt x="69" y="30"/>
                    <a:pt x="71" y="28"/>
                    <a:pt x="71" y="26"/>
                  </a:cubicBezTo>
                  <a:cubicBezTo>
                    <a:pt x="73" y="10"/>
                    <a:pt x="73" y="10"/>
                    <a:pt x="73" y="10"/>
                  </a:cubicBezTo>
                  <a:cubicBezTo>
                    <a:pt x="77" y="10"/>
                    <a:pt x="81" y="10"/>
                    <a:pt x="85" y="10"/>
                  </a:cubicBezTo>
                  <a:cubicBezTo>
                    <a:pt x="87" y="26"/>
                    <a:pt x="87" y="26"/>
                    <a:pt x="87" y="26"/>
                  </a:cubicBezTo>
                  <a:cubicBezTo>
                    <a:pt x="87" y="28"/>
                    <a:pt x="89" y="30"/>
                    <a:pt x="91" y="30"/>
                  </a:cubicBezTo>
                  <a:cubicBezTo>
                    <a:pt x="96" y="32"/>
                    <a:pt x="100" y="34"/>
                    <a:pt x="105" y="36"/>
                  </a:cubicBezTo>
                  <a:cubicBezTo>
                    <a:pt x="106" y="37"/>
                    <a:pt x="109" y="37"/>
                    <a:pt x="110" y="36"/>
                  </a:cubicBezTo>
                  <a:cubicBezTo>
                    <a:pt x="123" y="26"/>
                    <a:pt x="123" y="26"/>
                    <a:pt x="123" y="26"/>
                  </a:cubicBezTo>
                  <a:cubicBezTo>
                    <a:pt x="126" y="29"/>
                    <a:pt x="129" y="31"/>
                    <a:pt x="131" y="34"/>
                  </a:cubicBezTo>
                  <a:cubicBezTo>
                    <a:pt x="122" y="47"/>
                    <a:pt x="122" y="47"/>
                    <a:pt x="122" y="47"/>
                  </a:cubicBezTo>
                  <a:cubicBezTo>
                    <a:pt x="120" y="49"/>
                    <a:pt x="120" y="51"/>
                    <a:pt x="121" y="53"/>
                  </a:cubicBezTo>
                  <a:cubicBezTo>
                    <a:pt x="124" y="57"/>
                    <a:pt x="126" y="62"/>
                    <a:pt x="127" y="67"/>
                  </a:cubicBezTo>
                  <a:cubicBezTo>
                    <a:pt x="128" y="69"/>
                    <a:pt x="129" y="70"/>
                    <a:pt x="131" y="71"/>
                  </a:cubicBezTo>
                  <a:cubicBezTo>
                    <a:pt x="147" y="73"/>
                    <a:pt x="147" y="73"/>
                    <a:pt x="147" y="73"/>
                  </a:cubicBezTo>
                  <a:cubicBezTo>
                    <a:pt x="148" y="75"/>
                    <a:pt x="148" y="77"/>
                    <a:pt x="148" y="79"/>
                  </a:cubicBezTo>
                  <a:cubicBezTo>
                    <a:pt x="148" y="81"/>
                    <a:pt x="148" y="83"/>
                    <a:pt x="147" y="85"/>
                  </a:cubicBezTo>
                  <a:close/>
                </a:path>
              </a:pathLst>
            </a:custGeom>
            <a:grpFill/>
            <a:ln>
              <a:solidFill>
                <a:srgbClr val="00AFD0"/>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 name="Freeform 59"/>
            <p:cNvSpPr>
              <a:spLocks noEditPoints="1"/>
            </p:cNvSpPr>
            <p:nvPr/>
          </p:nvSpPr>
          <p:spPr bwMode="auto">
            <a:xfrm>
              <a:off x="7718425" y="4983163"/>
              <a:ext cx="153988" cy="153988"/>
            </a:xfrm>
            <a:custGeom>
              <a:avLst/>
              <a:gdLst>
                <a:gd name="T0" fmla="*/ 31 w 46"/>
                <a:gd name="T1" fmla="*/ 2 h 46"/>
                <a:gd name="T2" fmla="*/ 23 w 46"/>
                <a:gd name="T3" fmla="*/ 0 h 46"/>
                <a:gd name="T4" fmla="*/ 2 w 46"/>
                <a:gd name="T5" fmla="*/ 14 h 46"/>
                <a:gd name="T6" fmla="*/ 2 w 46"/>
                <a:gd name="T7" fmla="*/ 32 h 46"/>
                <a:gd name="T8" fmla="*/ 14 w 46"/>
                <a:gd name="T9" fmla="*/ 44 h 46"/>
                <a:gd name="T10" fmla="*/ 23 w 46"/>
                <a:gd name="T11" fmla="*/ 46 h 46"/>
                <a:gd name="T12" fmla="*/ 43 w 46"/>
                <a:gd name="T13" fmla="*/ 32 h 46"/>
                <a:gd name="T14" fmla="*/ 43 w 46"/>
                <a:gd name="T15" fmla="*/ 14 h 46"/>
                <a:gd name="T16" fmla="*/ 31 w 46"/>
                <a:gd name="T17" fmla="*/ 2 h 46"/>
                <a:gd name="T18" fmla="*/ 35 w 46"/>
                <a:gd name="T19" fmla="*/ 28 h 46"/>
                <a:gd name="T20" fmla="*/ 23 w 46"/>
                <a:gd name="T21" fmla="*/ 36 h 46"/>
                <a:gd name="T22" fmla="*/ 18 w 46"/>
                <a:gd name="T23" fmla="*/ 35 h 46"/>
                <a:gd name="T24" fmla="*/ 11 w 46"/>
                <a:gd name="T25" fmla="*/ 28 h 46"/>
                <a:gd name="T26" fmla="*/ 11 w 46"/>
                <a:gd name="T27" fmla="*/ 18 h 46"/>
                <a:gd name="T28" fmla="*/ 23 w 46"/>
                <a:gd name="T29" fmla="*/ 10 h 46"/>
                <a:gd name="T30" fmla="*/ 28 w 46"/>
                <a:gd name="T31" fmla="*/ 11 h 46"/>
                <a:gd name="T32" fmla="*/ 35 w 46"/>
                <a:gd name="T33" fmla="*/ 18 h 46"/>
                <a:gd name="T34" fmla="*/ 35 w 46"/>
                <a:gd name="T35" fmla="*/ 2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 h="46">
                  <a:moveTo>
                    <a:pt x="31" y="2"/>
                  </a:moveTo>
                  <a:cubicBezTo>
                    <a:pt x="28" y="1"/>
                    <a:pt x="26" y="0"/>
                    <a:pt x="23" y="0"/>
                  </a:cubicBezTo>
                  <a:cubicBezTo>
                    <a:pt x="13" y="0"/>
                    <a:pt x="5" y="6"/>
                    <a:pt x="2" y="14"/>
                  </a:cubicBezTo>
                  <a:cubicBezTo>
                    <a:pt x="0" y="20"/>
                    <a:pt x="0" y="26"/>
                    <a:pt x="2" y="32"/>
                  </a:cubicBezTo>
                  <a:cubicBezTo>
                    <a:pt x="4" y="37"/>
                    <a:pt x="9" y="42"/>
                    <a:pt x="14" y="44"/>
                  </a:cubicBezTo>
                  <a:cubicBezTo>
                    <a:pt x="17" y="45"/>
                    <a:pt x="20" y="46"/>
                    <a:pt x="23" y="46"/>
                  </a:cubicBezTo>
                  <a:cubicBezTo>
                    <a:pt x="32" y="46"/>
                    <a:pt x="40" y="40"/>
                    <a:pt x="43" y="32"/>
                  </a:cubicBezTo>
                  <a:cubicBezTo>
                    <a:pt x="46" y="26"/>
                    <a:pt x="46" y="20"/>
                    <a:pt x="43" y="14"/>
                  </a:cubicBezTo>
                  <a:cubicBezTo>
                    <a:pt x="41" y="9"/>
                    <a:pt x="37" y="4"/>
                    <a:pt x="31" y="2"/>
                  </a:cubicBezTo>
                  <a:close/>
                  <a:moveTo>
                    <a:pt x="35" y="28"/>
                  </a:moveTo>
                  <a:cubicBezTo>
                    <a:pt x="33" y="33"/>
                    <a:pt x="28" y="36"/>
                    <a:pt x="23" y="36"/>
                  </a:cubicBezTo>
                  <a:cubicBezTo>
                    <a:pt x="21" y="36"/>
                    <a:pt x="19" y="36"/>
                    <a:pt x="18" y="35"/>
                  </a:cubicBezTo>
                  <a:cubicBezTo>
                    <a:pt x="15" y="34"/>
                    <a:pt x="12" y="31"/>
                    <a:pt x="11" y="28"/>
                  </a:cubicBezTo>
                  <a:cubicBezTo>
                    <a:pt x="9" y="25"/>
                    <a:pt x="9" y="21"/>
                    <a:pt x="11" y="18"/>
                  </a:cubicBezTo>
                  <a:cubicBezTo>
                    <a:pt x="13" y="13"/>
                    <a:pt x="17" y="10"/>
                    <a:pt x="23" y="10"/>
                  </a:cubicBezTo>
                  <a:cubicBezTo>
                    <a:pt x="24" y="10"/>
                    <a:pt x="26" y="10"/>
                    <a:pt x="28" y="11"/>
                  </a:cubicBezTo>
                  <a:cubicBezTo>
                    <a:pt x="31" y="12"/>
                    <a:pt x="33" y="15"/>
                    <a:pt x="35" y="18"/>
                  </a:cubicBezTo>
                  <a:cubicBezTo>
                    <a:pt x="36" y="21"/>
                    <a:pt x="36" y="25"/>
                    <a:pt x="35" y="28"/>
                  </a:cubicBezTo>
                  <a:close/>
                </a:path>
              </a:pathLst>
            </a:custGeom>
            <a:grpFill/>
            <a:ln>
              <a:solidFill>
                <a:srgbClr val="00AFD0"/>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 name="Freeform 60"/>
            <p:cNvSpPr>
              <a:spLocks noEditPoints="1"/>
            </p:cNvSpPr>
            <p:nvPr/>
          </p:nvSpPr>
          <p:spPr bwMode="auto">
            <a:xfrm>
              <a:off x="7605713" y="4868863"/>
              <a:ext cx="377825" cy="381000"/>
            </a:xfrm>
            <a:custGeom>
              <a:avLst/>
              <a:gdLst>
                <a:gd name="T0" fmla="*/ 101 w 113"/>
                <a:gd name="T1" fmla="*/ 60 h 114"/>
                <a:gd name="T2" fmla="*/ 110 w 113"/>
                <a:gd name="T3" fmla="*/ 48 h 114"/>
                <a:gd name="T4" fmla="*/ 106 w 113"/>
                <a:gd name="T5" fmla="*/ 27 h 114"/>
                <a:gd name="T6" fmla="*/ 90 w 113"/>
                <a:gd name="T7" fmla="*/ 28 h 114"/>
                <a:gd name="T8" fmla="*/ 88 w 113"/>
                <a:gd name="T9" fmla="*/ 12 h 114"/>
                <a:gd name="T10" fmla="*/ 79 w 113"/>
                <a:gd name="T11" fmla="*/ 3 h 114"/>
                <a:gd name="T12" fmla="*/ 66 w 113"/>
                <a:gd name="T13" fmla="*/ 3 h 114"/>
                <a:gd name="T14" fmla="*/ 53 w 113"/>
                <a:gd name="T15" fmla="*/ 13 h 114"/>
                <a:gd name="T16" fmla="*/ 42 w 113"/>
                <a:gd name="T17" fmla="*/ 1 h 114"/>
                <a:gd name="T18" fmla="*/ 34 w 113"/>
                <a:gd name="T19" fmla="*/ 4 h 114"/>
                <a:gd name="T20" fmla="*/ 25 w 113"/>
                <a:gd name="T21" fmla="*/ 13 h 114"/>
                <a:gd name="T22" fmla="*/ 23 w 113"/>
                <a:gd name="T23" fmla="*/ 29 h 114"/>
                <a:gd name="T24" fmla="*/ 7 w 113"/>
                <a:gd name="T25" fmla="*/ 28 h 114"/>
                <a:gd name="T26" fmla="*/ 3 w 113"/>
                <a:gd name="T27" fmla="*/ 36 h 114"/>
                <a:gd name="T28" fmla="*/ 3 w 113"/>
                <a:gd name="T29" fmla="*/ 48 h 114"/>
                <a:gd name="T30" fmla="*/ 13 w 113"/>
                <a:gd name="T31" fmla="*/ 61 h 114"/>
                <a:gd name="T32" fmla="*/ 1 w 113"/>
                <a:gd name="T33" fmla="*/ 72 h 114"/>
                <a:gd name="T34" fmla="*/ 3 w 113"/>
                <a:gd name="T35" fmla="*/ 80 h 114"/>
                <a:gd name="T36" fmla="*/ 12 w 113"/>
                <a:gd name="T37" fmla="*/ 89 h 114"/>
                <a:gd name="T38" fmla="*/ 28 w 113"/>
                <a:gd name="T39" fmla="*/ 91 h 114"/>
                <a:gd name="T40" fmla="*/ 28 w 113"/>
                <a:gd name="T41" fmla="*/ 107 h 114"/>
                <a:gd name="T42" fmla="*/ 42 w 113"/>
                <a:gd name="T43" fmla="*/ 113 h 114"/>
                <a:gd name="T44" fmla="*/ 48 w 113"/>
                <a:gd name="T45" fmla="*/ 111 h 114"/>
                <a:gd name="T46" fmla="*/ 60 w 113"/>
                <a:gd name="T47" fmla="*/ 101 h 114"/>
                <a:gd name="T48" fmla="*/ 71 w 113"/>
                <a:gd name="T49" fmla="*/ 113 h 114"/>
                <a:gd name="T50" fmla="*/ 88 w 113"/>
                <a:gd name="T51" fmla="*/ 101 h 114"/>
                <a:gd name="T52" fmla="*/ 90 w 113"/>
                <a:gd name="T53" fmla="*/ 85 h 114"/>
                <a:gd name="T54" fmla="*/ 107 w 113"/>
                <a:gd name="T55" fmla="*/ 86 h 114"/>
                <a:gd name="T56" fmla="*/ 113 w 113"/>
                <a:gd name="T57" fmla="*/ 71 h 114"/>
                <a:gd name="T58" fmla="*/ 101 w 113"/>
                <a:gd name="T59" fmla="*/ 75 h 114"/>
                <a:gd name="T60" fmla="*/ 90 w 113"/>
                <a:gd name="T61" fmla="*/ 75 h 114"/>
                <a:gd name="T62" fmla="*/ 77 w 113"/>
                <a:gd name="T63" fmla="*/ 85 h 114"/>
                <a:gd name="T64" fmla="*/ 78 w 113"/>
                <a:gd name="T65" fmla="*/ 100 h 114"/>
                <a:gd name="T66" fmla="*/ 67 w 113"/>
                <a:gd name="T67" fmla="*/ 93 h 114"/>
                <a:gd name="T68" fmla="*/ 51 w 113"/>
                <a:gd name="T69" fmla="*/ 91 h 114"/>
                <a:gd name="T70" fmla="*/ 41 w 113"/>
                <a:gd name="T71" fmla="*/ 103 h 114"/>
                <a:gd name="T72" fmla="*/ 36 w 113"/>
                <a:gd name="T73" fmla="*/ 100 h 114"/>
                <a:gd name="T74" fmla="*/ 36 w 113"/>
                <a:gd name="T75" fmla="*/ 85 h 114"/>
                <a:gd name="T76" fmla="*/ 24 w 113"/>
                <a:gd name="T77" fmla="*/ 76 h 114"/>
                <a:gd name="T78" fmla="*/ 12 w 113"/>
                <a:gd name="T79" fmla="*/ 76 h 114"/>
                <a:gd name="T80" fmla="*/ 11 w 113"/>
                <a:gd name="T81" fmla="*/ 73 h 114"/>
                <a:gd name="T82" fmla="*/ 23 w 113"/>
                <a:gd name="T83" fmla="*/ 63 h 114"/>
                <a:gd name="T84" fmla="*/ 20 w 113"/>
                <a:gd name="T85" fmla="*/ 47 h 114"/>
                <a:gd name="T86" fmla="*/ 12 w 113"/>
                <a:gd name="T87" fmla="*/ 39 h 114"/>
                <a:gd name="T88" fmla="*/ 13 w 113"/>
                <a:gd name="T89" fmla="*/ 36 h 114"/>
                <a:gd name="T90" fmla="*/ 29 w 113"/>
                <a:gd name="T91" fmla="*/ 37 h 114"/>
                <a:gd name="T92" fmla="*/ 38 w 113"/>
                <a:gd name="T93" fmla="*/ 24 h 114"/>
                <a:gd name="T94" fmla="*/ 37 w 113"/>
                <a:gd name="T95" fmla="*/ 13 h 114"/>
                <a:gd name="T96" fmla="*/ 41 w 113"/>
                <a:gd name="T97" fmla="*/ 11 h 114"/>
                <a:gd name="T98" fmla="*/ 51 w 113"/>
                <a:gd name="T99" fmla="*/ 23 h 114"/>
                <a:gd name="T100" fmla="*/ 67 w 113"/>
                <a:gd name="T101" fmla="*/ 21 h 114"/>
                <a:gd name="T102" fmla="*/ 75 w 113"/>
                <a:gd name="T103" fmla="*/ 12 h 114"/>
                <a:gd name="T104" fmla="*/ 75 w 113"/>
                <a:gd name="T105" fmla="*/ 24 h 114"/>
                <a:gd name="T106" fmla="*/ 84 w 113"/>
                <a:gd name="T107" fmla="*/ 37 h 114"/>
                <a:gd name="T108" fmla="*/ 100 w 113"/>
                <a:gd name="T109" fmla="*/ 36 h 114"/>
                <a:gd name="T110" fmla="*/ 93 w 113"/>
                <a:gd name="T111" fmla="*/ 47 h 114"/>
                <a:gd name="T112" fmla="*/ 91 w 113"/>
                <a:gd name="T113" fmla="*/ 62 h 114"/>
                <a:gd name="T114" fmla="*/ 102 w 113"/>
                <a:gd name="T115" fmla="*/ 7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3" h="114">
                  <a:moveTo>
                    <a:pt x="110" y="66"/>
                  </a:moveTo>
                  <a:cubicBezTo>
                    <a:pt x="101" y="60"/>
                    <a:pt x="101" y="60"/>
                    <a:pt x="101" y="60"/>
                  </a:cubicBezTo>
                  <a:cubicBezTo>
                    <a:pt x="101" y="58"/>
                    <a:pt x="101" y="56"/>
                    <a:pt x="101" y="53"/>
                  </a:cubicBezTo>
                  <a:cubicBezTo>
                    <a:pt x="110" y="48"/>
                    <a:pt x="110" y="48"/>
                    <a:pt x="110" y="48"/>
                  </a:cubicBezTo>
                  <a:cubicBezTo>
                    <a:pt x="112" y="47"/>
                    <a:pt x="113" y="44"/>
                    <a:pt x="113" y="42"/>
                  </a:cubicBezTo>
                  <a:cubicBezTo>
                    <a:pt x="111" y="37"/>
                    <a:pt x="109" y="32"/>
                    <a:pt x="106" y="27"/>
                  </a:cubicBezTo>
                  <a:cubicBezTo>
                    <a:pt x="105" y="26"/>
                    <a:pt x="103" y="25"/>
                    <a:pt x="101" y="25"/>
                  </a:cubicBezTo>
                  <a:cubicBezTo>
                    <a:pt x="90" y="28"/>
                    <a:pt x="90" y="28"/>
                    <a:pt x="90" y="28"/>
                  </a:cubicBezTo>
                  <a:cubicBezTo>
                    <a:pt x="89" y="26"/>
                    <a:pt x="87" y="25"/>
                    <a:pt x="85" y="23"/>
                  </a:cubicBezTo>
                  <a:cubicBezTo>
                    <a:pt x="88" y="12"/>
                    <a:pt x="88" y="12"/>
                    <a:pt x="88" y="12"/>
                  </a:cubicBezTo>
                  <a:cubicBezTo>
                    <a:pt x="89" y="10"/>
                    <a:pt x="88" y="8"/>
                    <a:pt x="86" y="7"/>
                  </a:cubicBezTo>
                  <a:cubicBezTo>
                    <a:pt x="83" y="6"/>
                    <a:pt x="81" y="4"/>
                    <a:pt x="79" y="3"/>
                  </a:cubicBezTo>
                  <a:cubicBezTo>
                    <a:pt x="76" y="2"/>
                    <a:pt x="74" y="2"/>
                    <a:pt x="71" y="1"/>
                  </a:cubicBezTo>
                  <a:cubicBezTo>
                    <a:pt x="69" y="0"/>
                    <a:pt x="67" y="1"/>
                    <a:pt x="66" y="3"/>
                  </a:cubicBezTo>
                  <a:cubicBezTo>
                    <a:pt x="60" y="13"/>
                    <a:pt x="60" y="13"/>
                    <a:pt x="60" y="13"/>
                  </a:cubicBezTo>
                  <a:cubicBezTo>
                    <a:pt x="58" y="13"/>
                    <a:pt x="55" y="13"/>
                    <a:pt x="53" y="13"/>
                  </a:cubicBezTo>
                  <a:cubicBezTo>
                    <a:pt x="47" y="3"/>
                    <a:pt x="47" y="3"/>
                    <a:pt x="47" y="3"/>
                  </a:cubicBezTo>
                  <a:cubicBezTo>
                    <a:pt x="46" y="1"/>
                    <a:pt x="44" y="0"/>
                    <a:pt x="42" y="1"/>
                  </a:cubicBezTo>
                  <a:cubicBezTo>
                    <a:pt x="39" y="2"/>
                    <a:pt x="37" y="2"/>
                    <a:pt x="35" y="3"/>
                  </a:cubicBezTo>
                  <a:cubicBezTo>
                    <a:pt x="34" y="4"/>
                    <a:pt x="34" y="4"/>
                    <a:pt x="34" y="4"/>
                  </a:cubicBezTo>
                  <a:cubicBezTo>
                    <a:pt x="31" y="5"/>
                    <a:pt x="29" y="6"/>
                    <a:pt x="27" y="7"/>
                  </a:cubicBezTo>
                  <a:cubicBezTo>
                    <a:pt x="25" y="8"/>
                    <a:pt x="24" y="10"/>
                    <a:pt x="25" y="13"/>
                  </a:cubicBezTo>
                  <a:cubicBezTo>
                    <a:pt x="28" y="24"/>
                    <a:pt x="28" y="24"/>
                    <a:pt x="28" y="24"/>
                  </a:cubicBezTo>
                  <a:cubicBezTo>
                    <a:pt x="26" y="25"/>
                    <a:pt x="24" y="27"/>
                    <a:pt x="23" y="29"/>
                  </a:cubicBezTo>
                  <a:cubicBezTo>
                    <a:pt x="12" y="26"/>
                    <a:pt x="12" y="26"/>
                    <a:pt x="12" y="26"/>
                  </a:cubicBezTo>
                  <a:cubicBezTo>
                    <a:pt x="10" y="25"/>
                    <a:pt x="8" y="26"/>
                    <a:pt x="7" y="28"/>
                  </a:cubicBezTo>
                  <a:cubicBezTo>
                    <a:pt x="5" y="30"/>
                    <a:pt x="4" y="32"/>
                    <a:pt x="3" y="34"/>
                  </a:cubicBezTo>
                  <a:cubicBezTo>
                    <a:pt x="3" y="36"/>
                    <a:pt x="3" y="36"/>
                    <a:pt x="3" y="36"/>
                  </a:cubicBezTo>
                  <a:cubicBezTo>
                    <a:pt x="2" y="38"/>
                    <a:pt x="1" y="40"/>
                    <a:pt x="1" y="43"/>
                  </a:cubicBezTo>
                  <a:cubicBezTo>
                    <a:pt x="0" y="45"/>
                    <a:pt x="1" y="47"/>
                    <a:pt x="3" y="48"/>
                  </a:cubicBezTo>
                  <a:cubicBezTo>
                    <a:pt x="13" y="54"/>
                    <a:pt x="13" y="54"/>
                    <a:pt x="13" y="54"/>
                  </a:cubicBezTo>
                  <a:cubicBezTo>
                    <a:pt x="12" y="56"/>
                    <a:pt x="12" y="58"/>
                    <a:pt x="13" y="61"/>
                  </a:cubicBezTo>
                  <a:cubicBezTo>
                    <a:pt x="3" y="66"/>
                    <a:pt x="3" y="66"/>
                    <a:pt x="3" y="66"/>
                  </a:cubicBezTo>
                  <a:cubicBezTo>
                    <a:pt x="1" y="68"/>
                    <a:pt x="0" y="70"/>
                    <a:pt x="1" y="72"/>
                  </a:cubicBezTo>
                  <a:cubicBezTo>
                    <a:pt x="1" y="74"/>
                    <a:pt x="2" y="77"/>
                    <a:pt x="3" y="79"/>
                  </a:cubicBezTo>
                  <a:cubicBezTo>
                    <a:pt x="3" y="80"/>
                    <a:pt x="3" y="80"/>
                    <a:pt x="3" y="80"/>
                  </a:cubicBezTo>
                  <a:cubicBezTo>
                    <a:pt x="4" y="82"/>
                    <a:pt x="6" y="84"/>
                    <a:pt x="7" y="87"/>
                  </a:cubicBezTo>
                  <a:cubicBezTo>
                    <a:pt x="8" y="88"/>
                    <a:pt x="10" y="89"/>
                    <a:pt x="12" y="89"/>
                  </a:cubicBezTo>
                  <a:cubicBezTo>
                    <a:pt x="23" y="86"/>
                    <a:pt x="23" y="86"/>
                    <a:pt x="23" y="86"/>
                  </a:cubicBezTo>
                  <a:cubicBezTo>
                    <a:pt x="25" y="88"/>
                    <a:pt x="26" y="89"/>
                    <a:pt x="28" y="91"/>
                  </a:cubicBezTo>
                  <a:cubicBezTo>
                    <a:pt x="25" y="102"/>
                    <a:pt x="25" y="102"/>
                    <a:pt x="25" y="102"/>
                  </a:cubicBezTo>
                  <a:cubicBezTo>
                    <a:pt x="25" y="104"/>
                    <a:pt x="26" y="106"/>
                    <a:pt x="28" y="107"/>
                  </a:cubicBezTo>
                  <a:cubicBezTo>
                    <a:pt x="30" y="108"/>
                    <a:pt x="32" y="110"/>
                    <a:pt x="35" y="111"/>
                  </a:cubicBezTo>
                  <a:cubicBezTo>
                    <a:pt x="37" y="112"/>
                    <a:pt x="40" y="112"/>
                    <a:pt x="42" y="113"/>
                  </a:cubicBezTo>
                  <a:cubicBezTo>
                    <a:pt x="43" y="113"/>
                    <a:pt x="43" y="113"/>
                    <a:pt x="44" y="113"/>
                  </a:cubicBezTo>
                  <a:cubicBezTo>
                    <a:pt x="45" y="113"/>
                    <a:pt x="47" y="112"/>
                    <a:pt x="48" y="111"/>
                  </a:cubicBezTo>
                  <a:cubicBezTo>
                    <a:pt x="53" y="101"/>
                    <a:pt x="53" y="101"/>
                    <a:pt x="53" y="101"/>
                  </a:cubicBezTo>
                  <a:cubicBezTo>
                    <a:pt x="56" y="101"/>
                    <a:pt x="58" y="101"/>
                    <a:pt x="60" y="101"/>
                  </a:cubicBezTo>
                  <a:cubicBezTo>
                    <a:pt x="66" y="111"/>
                    <a:pt x="66" y="111"/>
                    <a:pt x="66" y="111"/>
                  </a:cubicBezTo>
                  <a:cubicBezTo>
                    <a:pt x="67" y="113"/>
                    <a:pt x="69" y="114"/>
                    <a:pt x="71" y="113"/>
                  </a:cubicBezTo>
                  <a:cubicBezTo>
                    <a:pt x="77" y="112"/>
                    <a:pt x="82" y="110"/>
                    <a:pt x="86" y="107"/>
                  </a:cubicBezTo>
                  <a:cubicBezTo>
                    <a:pt x="88" y="106"/>
                    <a:pt x="89" y="104"/>
                    <a:pt x="88" y="101"/>
                  </a:cubicBezTo>
                  <a:cubicBezTo>
                    <a:pt x="85" y="90"/>
                    <a:pt x="85" y="90"/>
                    <a:pt x="85" y="90"/>
                  </a:cubicBezTo>
                  <a:cubicBezTo>
                    <a:pt x="87" y="89"/>
                    <a:pt x="89" y="87"/>
                    <a:pt x="90" y="85"/>
                  </a:cubicBezTo>
                  <a:cubicBezTo>
                    <a:pt x="101" y="88"/>
                    <a:pt x="101" y="88"/>
                    <a:pt x="101" y="88"/>
                  </a:cubicBezTo>
                  <a:cubicBezTo>
                    <a:pt x="103" y="89"/>
                    <a:pt x="106" y="88"/>
                    <a:pt x="107" y="86"/>
                  </a:cubicBezTo>
                  <a:cubicBezTo>
                    <a:pt x="108" y="84"/>
                    <a:pt x="109" y="81"/>
                    <a:pt x="110" y="79"/>
                  </a:cubicBezTo>
                  <a:cubicBezTo>
                    <a:pt x="111" y="77"/>
                    <a:pt x="112" y="74"/>
                    <a:pt x="113" y="71"/>
                  </a:cubicBezTo>
                  <a:cubicBezTo>
                    <a:pt x="113" y="69"/>
                    <a:pt x="112" y="67"/>
                    <a:pt x="110" y="66"/>
                  </a:cubicBezTo>
                  <a:close/>
                  <a:moveTo>
                    <a:pt x="101" y="75"/>
                  </a:moveTo>
                  <a:cubicBezTo>
                    <a:pt x="101" y="76"/>
                    <a:pt x="101" y="77"/>
                    <a:pt x="100" y="78"/>
                  </a:cubicBezTo>
                  <a:cubicBezTo>
                    <a:pt x="90" y="75"/>
                    <a:pt x="90" y="75"/>
                    <a:pt x="90" y="75"/>
                  </a:cubicBezTo>
                  <a:cubicBezTo>
                    <a:pt x="88" y="75"/>
                    <a:pt x="86" y="76"/>
                    <a:pt x="85" y="77"/>
                  </a:cubicBezTo>
                  <a:cubicBezTo>
                    <a:pt x="83" y="80"/>
                    <a:pt x="80" y="83"/>
                    <a:pt x="77" y="85"/>
                  </a:cubicBezTo>
                  <a:cubicBezTo>
                    <a:pt x="75" y="86"/>
                    <a:pt x="75" y="88"/>
                    <a:pt x="75" y="90"/>
                  </a:cubicBezTo>
                  <a:cubicBezTo>
                    <a:pt x="78" y="100"/>
                    <a:pt x="78" y="100"/>
                    <a:pt x="78" y="100"/>
                  </a:cubicBezTo>
                  <a:cubicBezTo>
                    <a:pt x="76" y="101"/>
                    <a:pt x="74" y="102"/>
                    <a:pt x="72" y="103"/>
                  </a:cubicBezTo>
                  <a:cubicBezTo>
                    <a:pt x="67" y="93"/>
                    <a:pt x="67" y="93"/>
                    <a:pt x="67" y="93"/>
                  </a:cubicBezTo>
                  <a:cubicBezTo>
                    <a:pt x="66" y="92"/>
                    <a:pt x="64" y="91"/>
                    <a:pt x="62" y="91"/>
                  </a:cubicBezTo>
                  <a:cubicBezTo>
                    <a:pt x="59" y="92"/>
                    <a:pt x="55" y="92"/>
                    <a:pt x="51" y="91"/>
                  </a:cubicBezTo>
                  <a:cubicBezTo>
                    <a:pt x="49" y="91"/>
                    <a:pt x="48" y="92"/>
                    <a:pt x="47" y="93"/>
                  </a:cubicBezTo>
                  <a:cubicBezTo>
                    <a:pt x="41" y="103"/>
                    <a:pt x="41" y="103"/>
                    <a:pt x="41" y="103"/>
                  </a:cubicBezTo>
                  <a:cubicBezTo>
                    <a:pt x="40" y="102"/>
                    <a:pt x="39" y="102"/>
                    <a:pt x="38" y="102"/>
                  </a:cubicBezTo>
                  <a:cubicBezTo>
                    <a:pt x="37" y="101"/>
                    <a:pt x="36" y="101"/>
                    <a:pt x="36" y="100"/>
                  </a:cubicBezTo>
                  <a:cubicBezTo>
                    <a:pt x="38" y="90"/>
                    <a:pt x="38" y="90"/>
                    <a:pt x="38" y="90"/>
                  </a:cubicBezTo>
                  <a:cubicBezTo>
                    <a:pt x="39" y="88"/>
                    <a:pt x="38" y="86"/>
                    <a:pt x="36" y="85"/>
                  </a:cubicBezTo>
                  <a:cubicBezTo>
                    <a:pt x="34" y="83"/>
                    <a:pt x="31" y="80"/>
                    <a:pt x="29" y="77"/>
                  </a:cubicBezTo>
                  <a:cubicBezTo>
                    <a:pt x="28" y="76"/>
                    <a:pt x="26" y="75"/>
                    <a:pt x="24" y="76"/>
                  </a:cubicBezTo>
                  <a:cubicBezTo>
                    <a:pt x="13" y="78"/>
                    <a:pt x="13" y="78"/>
                    <a:pt x="13" y="78"/>
                  </a:cubicBezTo>
                  <a:cubicBezTo>
                    <a:pt x="13" y="78"/>
                    <a:pt x="13" y="77"/>
                    <a:pt x="12" y="76"/>
                  </a:cubicBezTo>
                  <a:cubicBezTo>
                    <a:pt x="12" y="75"/>
                    <a:pt x="12" y="75"/>
                    <a:pt x="12" y="75"/>
                  </a:cubicBezTo>
                  <a:cubicBezTo>
                    <a:pt x="12" y="74"/>
                    <a:pt x="11" y="74"/>
                    <a:pt x="11" y="73"/>
                  </a:cubicBezTo>
                  <a:cubicBezTo>
                    <a:pt x="20" y="67"/>
                    <a:pt x="20" y="67"/>
                    <a:pt x="20" y="67"/>
                  </a:cubicBezTo>
                  <a:cubicBezTo>
                    <a:pt x="22" y="66"/>
                    <a:pt x="23" y="64"/>
                    <a:pt x="23" y="63"/>
                  </a:cubicBezTo>
                  <a:cubicBezTo>
                    <a:pt x="22" y="59"/>
                    <a:pt x="22" y="55"/>
                    <a:pt x="23" y="52"/>
                  </a:cubicBezTo>
                  <a:cubicBezTo>
                    <a:pt x="23" y="50"/>
                    <a:pt x="22" y="48"/>
                    <a:pt x="20" y="47"/>
                  </a:cubicBezTo>
                  <a:cubicBezTo>
                    <a:pt x="11" y="42"/>
                    <a:pt x="11" y="42"/>
                    <a:pt x="11" y="42"/>
                  </a:cubicBezTo>
                  <a:cubicBezTo>
                    <a:pt x="11" y="41"/>
                    <a:pt x="11" y="40"/>
                    <a:pt x="12" y="39"/>
                  </a:cubicBezTo>
                  <a:cubicBezTo>
                    <a:pt x="12" y="38"/>
                    <a:pt x="12" y="38"/>
                    <a:pt x="12" y="38"/>
                  </a:cubicBezTo>
                  <a:cubicBezTo>
                    <a:pt x="13" y="37"/>
                    <a:pt x="13" y="37"/>
                    <a:pt x="13" y="36"/>
                  </a:cubicBezTo>
                  <a:cubicBezTo>
                    <a:pt x="24" y="39"/>
                    <a:pt x="24" y="39"/>
                    <a:pt x="24" y="39"/>
                  </a:cubicBezTo>
                  <a:cubicBezTo>
                    <a:pt x="25" y="39"/>
                    <a:pt x="27" y="38"/>
                    <a:pt x="29" y="37"/>
                  </a:cubicBezTo>
                  <a:cubicBezTo>
                    <a:pt x="31" y="34"/>
                    <a:pt x="33" y="31"/>
                    <a:pt x="36" y="29"/>
                  </a:cubicBezTo>
                  <a:cubicBezTo>
                    <a:pt x="38" y="28"/>
                    <a:pt x="39" y="26"/>
                    <a:pt x="38" y="24"/>
                  </a:cubicBezTo>
                  <a:cubicBezTo>
                    <a:pt x="35" y="14"/>
                    <a:pt x="35" y="14"/>
                    <a:pt x="35" y="14"/>
                  </a:cubicBezTo>
                  <a:cubicBezTo>
                    <a:pt x="36" y="13"/>
                    <a:pt x="37" y="13"/>
                    <a:pt x="37" y="13"/>
                  </a:cubicBezTo>
                  <a:cubicBezTo>
                    <a:pt x="38" y="12"/>
                    <a:pt x="38" y="12"/>
                    <a:pt x="38" y="12"/>
                  </a:cubicBezTo>
                  <a:cubicBezTo>
                    <a:pt x="39" y="12"/>
                    <a:pt x="40" y="12"/>
                    <a:pt x="41" y="11"/>
                  </a:cubicBezTo>
                  <a:cubicBezTo>
                    <a:pt x="46" y="21"/>
                    <a:pt x="46" y="21"/>
                    <a:pt x="46" y="21"/>
                  </a:cubicBezTo>
                  <a:cubicBezTo>
                    <a:pt x="47" y="22"/>
                    <a:pt x="49" y="23"/>
                    <a:pt x="51" y="23"/>
                  </a:cubicBezTo>
                  <a:cubicBezTo>
                    <a:pt x="55" y="22"/>
                    <a:pt x="58" y="22"/>
                    <a:pt x="62" y="23"/>
                  </a:cubicBezTo>
                  <a:cubicBezTo>
                    <a:pt x="64" y="23"/>
                    <a:pt x="66" y="22"/>
                    <a:pt x="67" y="21"/>
                  </a:cubicBezTo>
                  <a:cubicBezTo>
                    <a:pt x="72" y="11"/>
                    <a:pt x="72" y="11"/>
                    <a:pt x="72" y="11"/>
                  </a:cubicBezTo>
                  <a:cubicBezTo>
                    <a:pt x="73" y="12"/>
                    <a:pt x="74" y="12"/>
                    <a:pt x="75" y="12"/>
                  </a:cubicBezTo>
                  <a:cubicBezTo>
                    <a:pt x="76" y="13"/>
                    <a:pt x="77" y="13"/>
                    <a:pt x="78" y="14"/>
                  </a:cubicBezTo>
                  <a:cubicBezTo>
                    <a:pt x="75" y="24"/>
                    <a:pt x="75" y="24"/>
                    <a:pt x="75" y="24"/>
                  </a:cubicBezTo>
                  <a:cubicBezTo>
                    <a:pt x="75" y="26"/>
                    <a:pt x="75" y="28"/>
                    <a:pt x="77" y="29"/>
                  </a:cubicBezTo>
                  <a:cubicBezTo>
                    <a:pt x="80" y="31"/>
                    <a:pt x="82" y="34"/>
                    <a:pt x="84" y="37"/>
                  </a:cubicBezTo>
                  <a:cubicBezTo>
                    <a:pt x="86" y="38"/>
                    <a:pt x="88" y="39"/>
                    <a:pt x="90" y="38"/>
                  </a:cubicBezTo>
                  <a:cubicBezTo>
                    <a:pt x="100" y="36"/>
                    <a:pt x="100" y="36"/>
                    <a:pt x="100" y="36"/>
                  </a:cubicBezTo>
                  <a:cubicBezTo>
                    <a:pt x="101" y="37"/>
                    <a:pt x="102" y="39"/>
                    <a:pt x="102" y="41"/>
                  </a:cubicBezTo>
                  <a:cubicBezTo>
                    <a:pt x="93" y="47"/>
                    <a:pt x="93" y="47"/>
                    <a:pt x="93" y="47"/>
                  </a:cubicBezTo>
                  <a:cubicBezTo>
                    <a:pt x="91" y="48"/>
                    <a:pt x="90" y="50"/>
                    <a:pt x="91" y="52"/>
                  </a:cubicBezTo>
                  <a:cubicBezTo>
                    <a:pt x="91" y="55"/>
                    <a:pt x="91" y="59"/>
                    <a:pt x="91" y="62"/>
                  </a:cubicBezTo>
                  <a:cubicBezTo>
                    <a:pt x="90" y="64"/>
                    <a:pt x="91" y="66"/>
                    <a:pt x="93" y="67"/>
                  </a:cubicBezTo>
                  <a:cubicBezTo>
                    <a:pt x="102" y="72"/>
                    <a:pt x="102" y="72"/>
                    <a:pt x="102" y="72"/>
                  </a:cubicBezTo>
                  <a:cubicBezTo>
                    <a:pt x="102" y="73"/>
                    <a:pt x="102" y="74"/>
                    <a:pt x="101" y="75"/>
                  </a:cubicBezTo>
                  <a:close/>
                </a:path>
              </a:pathLst>
            </a:custGeom>
            <a:grpFill/>
            <a:ln>
              <a:solidFill>
                <a:srgbClr val="00AFD0"/>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6" name="Group 25"/>
          <p:cNvGrpSpPr/>
          <p:nvPr/>
        </p:nvGrpSpPr>
        <p:grpSpPr>
          <a:xfrm>
            <a:off x="5784118" y="3036535"/>
            <a:ext cx="582414" cy="549947"/>
            <a:chOff x="5562600" y="4875213"/>
            <a:chExt cx="790575" cy="790575"/>
          </a:xfrm>
          <a:solidFill>
            <a:srgbClr val="00AFD0"/>
          </a:solidFill>
        </p:grpSpPr>
        <p:sp>
          <p:nvSpPr>
            <p:cNvPr id="27" name="Freeform 55"/>
            <p:cNvSpPr>
              <a:spLocks noEditPoints="1"/>
            </p:cNvSpPr>
            <p:nvPr/>
          </p:nvSpPr>
          <p:spPr bwMode="auto">
            <a:xfrm>
              <a:off x="5800725" y="5116513"/>
              <a:ext cx="311150" cy="311150"/>
            </a:xfrm>
            <a:custGeom>
              <a:avLst/>
              <a:gdLst>
                <a:gd name="T0" fmla="*/ 47 w 93"/>
                <a:gd name="T1" fmla="*/ 0 h 93"/>
                <a:gd name="T2" fmla="*/ 0 w 93"/>
                <a:gd name="T3" fmla="*/ 46 h 93"/>
                <a:gd name="T4" fmla="*/ 47 w 93"/>
                <a:gd name="T5" fmla="*/ 93 h 93"/>
                <a:gd name="T6" fmla="*/ 93 w 93"/>
                <a:gd name="T7" fmla="*/ 46 h 93"/>
                <a:gd name="T8" fmla="*/ 47 w 93"/>
                <a:gd name="T9" fmla="*/ 0 h 93"/>
                <a:gd name="T10" fmla="*/ 47 w 93"/>
                <a:gd name="T11" fmla="*/ 84 h 93"/>
                <a:gd name="T12" fmla="*/ 10 w 93"/>
                <a:gd name="T13" fmla="*/ 46 h 93"/>
                <a:gd name="T14" fmla="*/ 47 w 93"/>
                <a:gd name="T15" fmla="*/ 9 h 93"/>
                <a:gd name="T16" fmla="*/ 84 w 93"/>
                <a:gd name="T17" fmla="*/ 46 h 93"/>
                <a:gd name="T18" fmla="*/ 47 w 93"/>
                <a:gd name="T19" fmla="*/ 84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93">
                  <a:moveTo>
                    <a:pt x="47" y="0"/>
                  </a:moveTo>
                  <a:cubicBezTo>
                    <a:pt x="21" y="0"/>
                    <a:pt x="0" y="21"/>
                    <a:pt x="0" y="46"/>
                  </a:cubicBezTo>
                  <a:cubicBezTo>
                    <a:pt x="0" y="72"/>
                    <a:pt x="21" y="93"/>
                    <a:pt x="47" y="93"/>
                  </a:cubicBezTo>
                  <a:cubicBezTo>
                    <a:pt x="72" y="93"/>
                    <a:pt x="93" y="72"/>
                    <a:pt x="93" y="46"/>
                  </a:cubicBezTo>
                  <a:cubicBezTo>
                    <a:pt x="93" y="21"/>
                    <a:pt x="72" y="0"/>
                    <a:pt x="47" y="0"/>
                  </a:cubicBezTo>
                  <a:close/>
                  <a:moveTo>
                    <a:pt x="47" y="84"/>
                  </a:moveTo>
                  <a:cubicBezTo>
                    <a:pt x="26" y="84"/>
                    <a:pt x="10" y="67"/>
                    <a:pt x="10" y="46"/>
                  </a:cubicBezTo>
                  <a:cubicBezTo>
                    <a:pt x="10" y="26"/>
                    <a:pt x="26" y="9"/>
                    <a:pt x="47" y="9"/>
                  </a:cubicBezTo>
                  <a:cubicBezTo>
                    <a:pt x="67" y="9"/>
                    <a:pt x="84" y="26"/>
                    <a:pt x="84" y="46"/>
                  </a:cubicBezTo>
                  <a:cubicBezTo>
                    <a:pt x="84" y="67"/>
                    <a:pt x="67" y="84"/>
                    <a:pt x="47" y="84"/>
                  </a:cubicBezTo>
                  <a:close/>
                </a:path>
              </a:pathLst>
            </a:custGeom>
            <a:grpFill/>
            <a:ln>
              <a:solidFill>
                <a:srgbClr val="00AFD0"/>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 name="Freeform 56"/>
            <p:cNvSpPr>
              <a:spLocks noEditPoints="1"/>
            </p:cNvSpPr>
            <p:nvPr/>
          </p:nvSpPr>
          <p:spPr bwMode="auto">
            <a:xfrm>
              <a:off x="5562600" y="4875213"/>
              <a:ext cx="790575" cy="790575"/>
            </a:xfrm>
            <a:custGeom>
              <a:avLst/>
              <a:gdLst>
                <a:gd name="T0" fmla="*/ 230 w 236"/>
                <a:gd name="T1" fmla="*/ 98 h 236"/>
                <a:gd name="T2" fmla="*/ 195 w 236"/>
                <a:gd name="T3" fmla="*/ 75 h 236"/>
                <a:gd name="T4" fmla="*/ 212 w 236"/>
                <a:gd name="T5" fmla="*/ 47 h 236"/>
                <a:gd name="T6" fmla="*/ 183 w 236"/>
                <a:gd name="T7" fmla="*/ 24 h 236"/>
                <a:gd name="T8" fmla="*/ 142 w 236"/>
                <a:gd name="T9" fmla="*/ 33 h 236"/>
                <a:gd name="T10" fmla="*/ 134 w 236"/>
                <a:gd name="T11" fmla="*/ 2 h 236"/>
                <a:gd name="T12" fmla="*/ 97 w 236"/>
                <a:gd name="T13" fmla="*/ 6 h 236"/>
                <a:gd name="T14" fmla="*/ 74 w 236"/>
                <a:gd name="T15" fmla="*/ 41 h 236"/>
                <a:gd name="T16" fmla="*/ 47 w 236"/>
                <a:gd name="T17" fmla="*/ 24 h 236"/>
                <a:gd name="T18" fmla="*/ 33 w 236"/>
                <a:gd name="T19" fmla="*/ 36 h 236"/>
                <a:gd name="T20" fmla="*/ 24 w 236"/>
                <a:gd name="T21" fmla="*/ 53 h 236"/>
                <a:gd name="T22" fmla="*/ 32 w 236"/>
                <a:gd name="T23" fmla="*/ 94 h 236"/>
                <a:gd name="T24" fmla="*/ 1 w 236"/>
                <a:gd name="T25" fmla="*/ 102 h 236"/>
                <a:gd name="T26" fmla="*/ 0 w 236"/>
                <a:gd name="T27" fmla="*/ 120 h 236"/>
                <a:gd name="T28" fmla="*/ 5 w 236"/>
                <a:gd name="T29" fmla="*/ 139 h 236"/>
                <a:gd name="T30" fmla="*/ 40 w 236"/>
                <a:gd name="T31" fmla="*/ 162 h 236"/>
                <a:gd name="T32" fmla="*/ 24 w 236"/>
                <a:gd name="T33" fmla="*/ 190 h 236"/>
                <a:gd name="T34" fmla="*/ 35 w 236"/>
                <a:gd name="T35" fmla="*/ 203 h 236"/>
                <a:gd name="T36" fmla="*/ 52 w 236"/>
                <a:gd name="T37" fmla="*/ 213 h 236"/>
                <a:gd name="T38" fmla="*/ 94 w 236"/>
                <a:gd name="T39" fmla="*/ 204 h 236"/>
                <a:gd name="T40" fmla="*/ 101 w 236"/>
                <a:gd name="T41" fmla="*/ 235 h 236"/>
                <a:gd name="T42" fmla="*/ 134 w 236"/>
                <a:gd name="T43" fmla="*/ 235 h 236"/>
                <a:gd name="T44" fmla="*/ 142 w 236"/>
                <a:gd name="T45" fmla="*/ 204 h 236"/>
                <a:gd name="T46" fmla="*/ 183 w 236"/>
                <a:gd name="T47" fmla="*/ 213 h 236"/>
                <a:gd name="T48" fmla="*/ 212 w 236"/>
                <a:gd name="T49" fmla="*/ 190 h 236"/>
                <a:gd name="T50" fmla="*/ 195 w 236"/>
                <a:gd name="T51" fmla="*/ 162 h 236"/>
                <a:gd name="T52" fmla="*/ 230 w 236"/>
                <a:gd name="T53" fmla="*/ 139 h 236"/>
                <a:gd name="T54" fmla="*/ 236 w 236"/>
                <a:gd name="T55" fmla="*/ 118 h 236"/>
                <a:gd name="T56" fmla="*/ 225 w 236"/>
                <a:gd name="T57" fmla="*/ 130 h 236"/>
                <a:gd name="T58" fmla="*/ 194 w 236"/>
                <a:gd name="T59" fmla="*/ 137 h 236"/>
                <a:gd name="T60" fmla="*/ 185 w 236"/>
                <a:gd name="T61" fmla="*/ 165 h 236"/>
                <a:gd name="T62" fmla="*/ 186 w 236"/>
                <a:gd name="T63" fmla="*/ 203 h 236"/>
                <a:gd name="T64" fmla="*/ 159 w 236"/>
                <a:gd name="T65" fmla="*/ 186 h 236"/>
                <a:gd name="T66" fmla="*/ 133 w 236"/>
                <a:gd name="T67" fmla="*/ 199 h 236"/>
                <a:gd name="T68" fmla="*/ 106 w 236"/>
                <a:gd name="T69" fmla="*/ 226 h 236"/>
                <a:gd name="T70" fmla="*/ 99 w 236"/>
                <a:gd name="T71" fmla="*/ 195 h 236"/>
                <a:gd name="T72" fmla="*/ 71 w 236"/>
                <a:gd name="T73" fmla="*/ 186 h 236"/>
                <a:gd name="T74" fmla="*/ 42 w 236"/>
                <a:gd name="T75" fmla="*/ 196 h 236"/>
                <a:gd name="T76" fmla="*/ 34 w 236"/>
                <a:gd name="T77" fmla="*/ 187 h 236"/>
                <a:gd name="T78" fmla="*/ 50 w 236"/>
                <a:gd name="T79" fmla="*/ 160 h 236"/>
                <a:gd name="T80" fmla="*/ 37 w 236"/>
                <a:gd name="T81" fmla="*/ 133 h 236"/>
                <a:gd name="T82" fmla="*/ 9 w 236"/>
                <a:gd name="T83" fmla="*/ 120 h 236"/>
                <a:gd name="T84" fmla="*/ 10 w 236"/>
                <a:gd name="T85" fmla="*/ 107 h 236"/>
                <a:gd name="T86" fmla="*/ 41 w 236"/>
                <a:gd name="T87" fmla="*/ 100 h 236"/>
                <a:gd name="T88" fmla="*/ 50 w 236"/>
                <a:gd name="T89" fmla="*/ 72 h 236"/>
                <a:gd name="T90" fmla="*/ 40 w 236"/>
                <a:gd name="T91" fmla="*/ 43 h 236"/>
                <a:gd name="T92" fmla="*/ 50 w 236"/>
                <a:gd name="T93" fmla="*/ 34 h 236"/>
                <a:gd name="T94" fmla="*/ 77 w 236"/>
                <a:gd name="T95" fmla="*/ 51 h 236"/>
                <a:gd name="T96" fmla="*/ 103 w 236"/>
                <a:gd name="T97" fmla="*/ 38 h 236"/>
                <a:gd name="T98" fmla="*/ 129 w 236"/>
                <a:gd name="T99" fmla="*/ 11 h 236"/>
                <a:gd name="T100" fmla="*/ 136 w 236"/>
                <a:gd name="T101" fmla="*/ 42 h 236"/>
                <a:gd name="T102" fmla="*/ 164 w 236"/>
                <a:gd name="T103" fmla="*/ 51 h 236"/>
                <a:gd name="T104" fmla="*/ 202 w 236"/>
                <a:gd name="T105" fmla="*/ 50 h 236"/>
                <a:gd name="T106" fmla="*/ 185 w 236"/>
                <a:gd name="T107" fmla="*/ 77 h 236"/>
                <a:gd name="T108" fmla="*/ 198 w 236"/>
                <a:gd name="T109" fmla="*/ 104 h 236"/>
                <a:gd name="T110" fmla="*/ 226 w 236"/>
                <a:gd name="T111" fmla="*/ 11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36" h="236">
                  <a:moveTo>
                    <a:pt x="234" y="102"/>
                  </a:moveTo>
                  <a:cubicBezTo>
                    <a:pt x="234" y="100"/>
                    <a:pt x="232" y="98"/>
                    <a:pt x="230" y="98"/>
                  </a:cubicBezTo>
                  <a:cubicBezTo>
                    <a:pt x="203" y="94"/>
                    <a:pt x="203" y="94"/>
                    <a:pt x="203" y="94"/>
                  </a:cubicBezTo>
                  <a:cubicBezTo>
                    <a:pt x="201" y="88"/>
                    <a:pt x="198" y="81"/>
                    <a:pt x="195" y="75"/>
                  </a:cubicBezTo>
                  <a:cubicBezTo>
                    <a:pt x="212" y="53"/>
                    <a:pt x="212" y="53"/>
                    <a:pt x="212" y="53"/>
                  </a:cubicBezTo>
                  <a:cubicBezTo>
                    <a:pt x="213" y="52"/>
                    <a:pt x="213" y="49"/>
                    <a:pt x="212" y="47"/>
                  </a:cubicBezTo>
                  <a:cubicBezTo>
                    <a:pt x="205" y="39"/>
                    <a:pt x="197" y="31"/>
                    <a:pt x="189" y="24"/>
                  </a:cubicBezTo>
                  <a:cubicBezTo>
                    <a:pt x="187" y="23"/>
                    <a:pt x="185" y="23"/>
                    <a:pt x="183" y="24"/>
                  </a:cubicBezTo>
                  <a:cubicBezTo>
                    <a:pt x="161" y="41"/>
                    <a:pt x="161" y="41"/>
                    <a:pt x="161" y="41"/>
                  </a:cubicBezTo>
                  <a:cubicBezTo>
                    <a:pt x="155" y="38"/>
                    <a:pt x="148" y="35"/>
                    <a:pt x="142" y="33"/>
                  </a:cubicBezTo>
                  <a:cubicBezTo>
                    <a:pt x="138" y="6"/>
                    <a:pt x="138" y="6"/>
                    <a:pt x="138" y="6"/>
                  </a:cubicBezTo>
                  <a:cubicBezTo>
                    <a:pt x="138" y="4"/>
                    <a:pt x="136" y="2"/>
                    <a:pt x="134" y="2"/>
                  </a:cubicBezTo>
                  <a:cubicBezTo>
                    <a:pt x="123" y="0"/>
                    <a:pt x="112" y="0"/>
                    <a:pt x="101" y="2"/>
                  </a:cubicBezTo>
                  <a:cubicBezTo>
                    <a:pt x="99" y="2"/>
                    <a:pt x="98" y="4"/>
                    <a:pt x="97" y="6"/>
                  </a:cubicBezTo>
                  <a:cubicBezTo>
                    <a:pt x="94" y="33"/>
                    <a:pt x="94" y="33"/>
                    <a:pt x="94" y="33"/>
                  </a:cubicBezTo>
                  <a:cubicBezTo>
                    <a:pt x="87" y="35"/>
                    <a:pt x="80" y="38"/>
                    <a:pt x="74" y="41"/>
                  </a:cubicBezTo>
                  <a:cubicBezTo>
                    <a:pt x="52" y="24"/>
                    <a:pt x="52" y="24"/>
                    <a:pt x="52" y="24"/>
                  </a:cubicBezTo>
                  <a:cubicBezTo>
                    <a:pt x="51" y="23"/>
                    <a:pt x="48" y="23"/>
                    <a:pt x="47" y="24"/>
                  </a:cubicBezTo>
                  <a:cubicBezTo>
                    <a:pt x="43" y="27"/>
                    <a:pt x="39" y="31"/>
                    <a:pt x="35" y="34"/>
                  </a:cubicBezTo>
                  <a:cubicBezTo>
                    <a:pt x="33" y="36"/>
                    <a:pt x="33" y="36"/>
                    <a:pt x="33" y="36"/>
                  </a:cubicBezTo>
                  <a:cubicBezTo>
                    <a:pt x="30" y="40"/>
                    <a:pt x="27" y="43"/>
                    <a:pt x="24" y="47"/>
                  </a:cubicBezTo>
                  <a:cubicBezTo>
                    <a:pt x="22" y="49"/>
                    <a:pt x="22" y="51"/>
                    <a:pt x="24" y="53"/>
                  </a:cubicBezTo>
                  <a:cubicBezTo>
                    <a:pt x="40" y="75"/>
                    <a:pt x="40" y="75"/>
                    <a:pt x="40" y="75"/>
                  </a:cubicBezTo>
                  <a:cubicBezTo>
                    <a:pt x="37" y="81"/>
                    <a:pt x="34" y="88"/>
                    <a:pt x="32" y="94"/>
                  </a:cubicBezTo>
                  <a:cubicBezTo>
                    <a:pt x="5" y="98"/>
                    <a:pt x="5" y="98"/>
                    <a:pt x="5" y="98"/>
                  </a:cubicBezTo>
                  <a:cubicBezTo>
                    <a:pt x="3" y="98"/>
                    <a:pt x="1" y="100"/>
                    <a:pt x="1" y="102"/>
                  </a:cubicBezTo>
                  <a:cubicBezTo>
                    <a:pt x="0" y="107"/>
                    <a:pt x="0" y="112"/>
                    <a:pt x="0" y="117"/>
                  </a:cubicBezTo>
                  <a:cubicBezTo>
                    <a:pt x="0" y="120"/>
                    <a:pt x="0" y="120"/>
                    <a:pt x="0" y="120"/>
                  </a:cubicBezTo>
                  <a:cubicBezTo>
                    <a:pt x="0" y="125"/>
                    <a:pt x="0" y="130"/>
                    <a:pt x="1" y="135"/>
                  </a:cubicBezTo>
                  <a:cubicBezTo>
                    <a:pt x="1" y="137"/>
                    <a:pt x="3" y="139"/>
                    <a:pt x="5" y="139"/>
                  </a:cubicBezTo>
                  <a:cubicBezTo>
                    <a:pt x="32" y="142"/>
                    <a:pt x="32" y="142"/>
                    <a:pt x="32" y="142"/>
                  </a:cubicBezTo>
                  <a:cubicBezTo>
                    <a:pt x="34" y="149"/>
                    <a:pt x="37" y="156"/>
                    <a:pt x="40" y="162"/>
                  </a:cubicBezTo>
                  <a:cubicBezTo>
                    <a:pt x="24" y="184"/>
                    <a:pt x="24" y="184"/>
                    <a:pt x="24" y="184"/>
                  </a:cubicBezTo>
                  <a:cubicBezTo>
                    <a:pt x="22" y="185"/>
                    <a:pt x="22" y="188"/>
                    <a:pt x="24" y="190"/>
                  </a:cubicBezTo>
                  <a:cubicBezTo>
                    <a:pt x="27" y="194"/>
                    <a:pt x="30" y="197"/>
                    <a:pt x="33" y="201"/>
                  </a:cubicBezTo>
                  <a:cubicBezTo>
                    <a:pt x="35" y="203"/>
                    <a:pt x="35" y="203"/>
                    <a:pt x="35" y="203"/>
                  </a:cubicBezTo>
                  <a:cubicBezTo>
                    <a:pt x="39" y="206"/>
                    <a:pt x="43" y="210"/>
                    <a:pt x="47" y="213"/>
                  </a:cubicBezTo>
                  <a:cubicBezTo>
                    <a:pt x="48" y="214"/>
                    <a:pt x="51" y="214"/>
                    <a:pt x="52" y="213"/>
                  </a:cubicBezTo>
                  <a:cubicBezTo>
                    <a:pt x="74" y="196"/>
                    <a:pt x="74" y="196"/>
                    <a:pt x="74" y="196"/>
                  </a:cubicBezTo>
                  <a:cubicBezTo>
                    <a:pt x="80" y="199"/>
                    <a:pt x="87" y="202"/>
                    <a:pt x="94" y="204"/>
                  </a:cubicBezTo>
                  <a:cubicBezTo>
                    <a:pt x="97" y="231"/>
                    <a:pt x="97" y="231"/>
                    <a:pt x="97" y="231"/>
                  </a:cubicBezTo>
                  <a:cubicBezTo>
                    <a:pt x="98" y="233"/>
                    <a:pt x="99" y="235"/>
                    <a:pt x="101" y="235"/>
                  </a:cubicBezTo>
                  <a:cubicBezTo>
                    <a:pt x="107" y="236"/>
                    <a:pt x="112" y="236"/>
                    <a:pt x="118" y="236"/>
                  </a:cubicBezTo>
                  <a:cubicBezTo>
                    <a:pt x="123" y="236"/>
                    <a:pt x="128" y="236"/>
                    <a:pt x="134" y="235"/>
                  </a:cubicBezTo>
                  <a:cubicBezTo>
                    <a:pt x="136" y="235"/>
                    <a:pt x="138" y="233"/>
                    <a:pt x="138" y="231"/>
                  </a:cubicBezTo>
                  <a:cubicBezTo>
                    <a:pt x="142" y="204"/>
                    <a:pt x="142" y="204"/>
                    <a:pt x="142" y="204"/>
                  </a:cubicBezTo>
                  <a:cubicBezTo>
                    <a:pt x="148" y="202"/>
                    <a:pt x="155" y="199"/>
                    <a:pt x="161" y="196"/>
                  </a:cubicBezTo>
                  <a:cubicBezTo>
                    <a:pt x="183" y="213"/>
                    <a:pt x="183" y="213"/>
                    <a:pt x="183" y="213"/>
                  </a:cubicBezTo>
                  <a:cubicBezTo>
                    <a:pt x="185" y="214"/>
                    <a:pt x="187" y="214"/>
                    <a:pt x="189" y="213"/>
                  </a:cubicBezTo>
                  <a:cubicBezTo>
                    <a:pt x="197" y="206"/>
                    <a:pt x="205" y="198"/>
                    <a:pt x="212" y="190"/>
                  </a:cubicBezTo>
                  <a:cubicBezTo>
                    <a:pt x="213" y="188"/>
                    <a:pt x="213" y="185"/>
                    <a:pt x="212" y="184"/>
                  </a:cubicBezTo>
                  <a:cubicBezTo>
                    <a:pt x="195" y="162"/>
                    <a:pt x="195" y="162"/>
                    <a:pt x="195" y="162"/>
                  </a:cubicBezTo>
                  <a:cubicBezTo>
                    <a:pt x="198" y="156"/>
                    <a:pt x="201" y="149"/>
                    <a:pt x="203" y="142"/>
                  </a:cubicBezTo>
                  <a:cubicBezTo>
                    <a:pt x="230" y="139"/>
                    <a:pt x="230" y="139"/>
                    <a:pt x="230" y="139"/>
                  </a:cubicBezTo>
                  <a:cubicBezTo>
                    <a:pt x="232" y="139"/>
                    <a:pt x="234" y="137"/>
                    <a:pt x="234" y="135"/>
                  </a:cubicBezTo>
                  <a:cubicBezTo>
                    <a:pt x="235" y="129"/>
                    <a:pt x="236" y="124"/>
                    <a:pt x="236" y="118"/>
                  </a:cubicBezTo>
                  <a:cubicBezTo>
                    <a:pt x="236" y="113"/>
                    <a:pt x="235" y="108"/>
                    <a:pt x="234" y="102"/>
                  </a:cubicBezTo>
                  <a:close/>
                  <a:moveTo>
                    <a:pt x="225" y="130"/>
                  </a:moveTo>
                  <a:cubicBezTo>
                    <a:pt x="198" y="133"/>
                    <a:pt x="198" y="133"/>
                    <a:pt x="198" y="133"/>
                  </a:cubicBezTo>
                  <a:cubicBezTo>
                    <a:pt x="196" y="134"/>
                    <a:pt x="195" y="135"/>
                    <a:pt x="194" y="137"/>
                  </a:cubicBezTo>
                  <a:cubicBezTo>
                    <a:pt x="192" y="145"/>
                    <a:pt x="189" y="153"/>
                    <a:pt x="185" y="160"/>
                  </a:cubicBezTo>
                  <a:cubicBezTo>
                    <a:pt x="184" y="161"/>
                    <a:pt x="184" y="163"/>
                    <a:pt x="185" y="165"/>
                  </a:cubicBezTo>
                  <a:cubicBezTo>
                    <a:pt x="202" y="187"/>
                    <a:pt x="202" y="187"/>
                    <a:pt x="202" y="187"/>
                  </a:cubicBezTo>
                  <a:cubicBezTo>
                    <a:pt x="197" y="192"/>
                    <a:pt x="192" y="198"/>
                    <a:pt x="186" y="203"/>
                  </a:cubicBezTo>
                  <a:cubicBezTo>
                    <a:pt x="164" y="186"/>
                    <a:pt x="164" y="186"/>
                    <a:pt x="164" y="186"/>
                  </a:cubicBezTo>
                  <a:cubicBezTo>
                    <a:pt x="163" y="185"/>
                    <a:pt x="161" y="185"/>
                    <a:pt x="159" y="186"/>
                  </a:cubicBezTo>
                  <a:cubicBezTo>
                    <a:pt x="152" y="190"/>
                    <a:pt x="144" y="193"/>
                    <a:pt x="136" y="195"/>
                  </a:cubicBezTo>
                  <a:cubicBezTo>
                    <a:pt x="134" y="196"/>
                    <a:pt x="133" y="197"/>
                    <a:pt x="133" y="199"/>
                  </a:cubicBezTo>
                  <a:cubicBezTo>
                    <a:pt x="129" y="226"/>
                    <a:pt x="129" y="226"/>
                    <a:pt x="129" y="226"/>
                  </a:cubicBezTo>
                  <a:cubicBezTo>
                    <a:pt x="121" y="227"/>
                    <a:pt x="114" y="227"/>
                    <a:pt x="106" y="226"/>
                  </a:cubicBezTo>
                  <a:cubicBezTo>
                    <a:pt x="103" y="199"/>
                    <a:pt x="103" y="199"/>
                    <a:pt x="103" y="199"/>
                  </a:cubicBezTo>
                  <a:cubicBezTo>
                    <a:pt x="103" y="197"/>
                    <a:pt x="101" y="196"/>
                    <a:pt x="99" y="195"/>
                  </a:cubicBezTo>
                  <a:cubicBezTo>
                    <a:pt x="91" y="193"/>
                    <a:pt x="84" y="190"/>
                    <a:pt x="77" y="186"/>
                  </a:cubicBezTo>
                  <a:cubicBezTo>
                    <a:pt x="75" y="185"/>
                    <a:pt x="73" y="185"/>
                    <a:pt x="71" y="186"/>
                  </a:cubicBezTo>
                  <a:cubicBezTo>
                    <a:pt x="50" y="203"/>
                    <a:pt x="50" y="203"/>
                    <a:pt x="50" y="203"/>
                  </a:cubicBezTo>
                  <a:cubicBezTo>
                    <a:pt x="47" y="201"/>
                    <a:pt x="44" y="198"/>
                    <a:pt x="42" y="196"/>
                  </a:cubicBezTo>
                  <a:cubicBezTo>
                    <a:pt x="40" y="194"/>
                    <a:pt x="40" y="194"/>
                    <a:pt x="40" y="194"/>
                  </a:cubicBezTo>
                  <a:cubicBezTo>
                    <a:pt x="38" y="192"/>
                    <a:pt x="36" y="189"/>
                    <a:pt x="34" y="187"/>
                  </a:cubicBezTo>
                  <a:cubicBezTo>
                    <a:pt x="50" y="165"/>
                    <a:pt x="50" y="165"/>
                    <a:pt x="50" y="165"/>
                  </a:cubicBezTo>
                  <a:cubicBezTo>
                    <a:pt x="51" y="164"/>
                    <a:pt x="51" y="161"/>
                    <a:pt x="50" y="160"/>
                  </a:cubicBezTo>
                  <a:cubicBezTo>
                    <a:pt x="46" y="153"/>
                    <a:pt x="43" y="145"/>
                    <a:pt x="41" y="137"/>
                  </a:cubicBezTo>
                  <a:cubicBezTo>
                    <a:pt x="41" y="135"/>
                    <a:pt x="39" y="134"/>
                    <a:pt x="37" y="133"/>
                  </a:cubicBezTo>
                  <a:cubicBezTo>
                    <a:pt x="10" y="130"/>
                    <a:pt x="10" y="130"/>
                    <a:pt x="10" y="130"/>
                  </a:cubicBezTo>
                  <a:cubicBezTo>
                    <a:pt x="10" y="127"/>
                    <a:pt x="9" y="123"/>
                    <a:pt x="9" y="120"/>
                  </a:cubicBezTo>
                  <a:cubicBezTo>
                    <a:pt x="9" y="117"/>
                    <a:pt x="9" y="117"/>
                    <a:pt x="9" y="117"/>
                  </a:cubicBezTo>
                  <a:cubicBezTo>
                    <a:pt x="9" y="114"/>
                    <a:pt x="10" y="110"/>
                    <a:pt x="10" y="107"/>
                  </a:cubicBezTo>
                  <a:cubicBezTo>
                    <a:pt x="37" y="104"/>
                    <a:pt x="37" y="104"/>
                    <a:pt x="37" y="104"/>
                  </a:cubicBezTo>
                  <a:cubicBezTo>
                    <a:pt x="39" y="103"/>
                    <a:pt x="41" y="102"/>
                    <a:pt x="41" y="100"/>
                  </a:cubicBezTo>
                  <a:cubicBezTo>
                    <a:pt x="43" y="92"/>
                    <a:pt x="46" y="84"/>
                    <a:pt x="50" y="77"/>
                  </a:cubicBezTo>
                  <a:cubicBezTo>
                    <a:pt x="51" y="76"/>
                    <a:pt x="51" y="73"/>
                    <a:pt x="50" y="72"/>
                  </a:cubicBezTo>
                  <a:cubicBezTo>
                    <a:pt x="34" y="50"/>
                    <a:pt x="34" y="50"/>
                    <a:pt x="34" y="50"/>
                  </a:cubicBezTo>
                  <a:cubicBezTo>
                    <a:pt x="36" y="48"/>
                    <a:pt x="38" y="45"/>
                    <a:pt x="40" y="43"/>
                  </a:cubicBezTo>
                  <a:cubicBezTo>
                    <a:pt x="42" y="41"/>
                    <a:pt x="42" y="41"/>
                    <a:pt x="42" y="41"/>
                  </a:cubicBezTo>
                  <a:cubicBezTo>
                    <a:pt x="44" y="39"/>
                    <a:pt x="47" y="36"/>
                    <a:pt x="50" y="34"/>
                  </a:cubicBezTo>
                  <a:cubicBezTo>
                    <a:pt x="71" y="51"/>
                    <a:pt x="71" y="51"/>
                    <a:pt x="71" y="51"/>
                  </a:cubicBezTo>
                  <a:cubicBezTo>
                    <a:pt x="73" y="52"/>
                    <a:pt x="75" y="52"/>
                    <a:pt x="77" y="51"/>
                  </a:cubicBezTo>
                  <a:cubicBezTo>
                    <a:pt x="84" y="47"/>
                    <a:pt x="91" y="44"/>
                    <a:pt x="99" y="42"/>
                  </a:cubicBezTo>
                  <a:cubicBezTo>
                    <a:pt x="101" y="41"/>
                    <a:pt x="103" y="40"/>
                    <a:pt x="103" y="38"/>
                  </a:cubicBezTo>
                  <a:cubicBezTo>
                    <a:pt x="106" y="11"/>
                    <a:pt x="106" y="11"/>
                    <a:pt x="106" y="11"/>
                  </a:cubicBezTo>
                  <a:cubicBezTo>
                    <a:pt x="114" y="10"/>
                    <a:pt x="121" y="10"/>
                    <a:pt x="129" y="11"/>
                  </a:cubicBezTo>
                  <a:cubicBezTo>
                    <a:pt x="133" y="38"/>
                    <a:pt x="133" y="38"/>
                    <a:pt x="133" y="38"/>
                  </a:cubicBezTo>
                  <a:cubicBezTo>
                    <a:pt x="133" y="40"/>
                    <a:pt x="134" y="41"/>
                    <a:pt x="136" y="42"/>
                  </a:cubicBezTo>
                  <a:cubicBezTo>
                    <a:pt x="144" y="44"/>
                    <a:pt x="152" y="47"/>
                    <a:pt x="159" y="51"/>
                  </a:cubicBezTo>
                  <a:cubicBezTo>
                    <a:pt x="161" y="52"/>
                    <a:pt x="163" y="52"/>
                    <a:pt x="164" y="51"/>
                  </a:cubicBezTo>
                  <a:cubicBezTo>
                    <a:pt x="186" y="34"/>
                    <a:pt x="186" y="34"/>
                    <a:pt x="186" y="34"/>
                  </a:cubicBezTo>
                  <a:cubicBezTo>
                    <a:pt x="192" y="39"/>
                    <a:pt x="197" y="44"/>
                    <a:pt x="202" y="50"/>
                  </a:cubicBezTo>
                  <a:cubicBezTo>
                    <a:pt x="185" y="72"/>
                    <a:pt x="185" y="72"/>
                    <a:pt x="185" y="72"/>
                  </a:cubicBezTo>
                  <a:cubicBezTo>
                    <a:pt x="184" y="73"/>
                    <a:pt x="184" y="76"/>
                    <a:pt x="185" y="77"/>
                  </a:cubicBezTo>
                  <a:cubicBezTo>
                    <a:pt x="189" y="84"/>
                    <a:pt x="192" y="92"/>
                    <a:pt x="194" y="100"/>
                  </a:cubicBezTo>
                  <a:cubicBezTo>
                    <a:pt x="195" y="102"/>
                    <a:pt x="196" y="103"/>
                    <a:pt x="198" y="104"/>
                  </a:cubicBezTo>
                  <a:cubicBezTo>
                    <a:pt x="225" y="107"/>
                    <a:pt x="225" y="107"/>
                    <a:pt x="225" y="107"/>
                  </a:cubicBezTo>
                  <a:cubicBezTo>
                    <a:pt x="226" y="111"/>
                    <a:pt x="226" y="115"/>
                    <a:pt x="226" y="118"/>
                  </a:cubicBezTo>
                  <a:cubicBezTo>
                    <a:pt x="226" y="122"/>
                    <a:pt x="226" y="126"/>
                    <a:pt x="225" y="130"/>
                  </a:cubicBezTo>
                  <a:close/>
                </a:path>
              </a:pathLst>
            </a:custGeom>
            <a:grpFill/>
            <a:ln>
              <a:solidFill>
                <a:srgbClr val="00AFD0"/>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9" name="Round Diagonal Corner Rectangle 28"/>
          <p:cNvSpPr/>
          <p:nvPr/>
        </p:nvSpPr>
        <p:spPr>
          <a:xfrm>
            <a:off x="307388" y="942036"/>
            <a:ext cx="8529225" cy="656211"/>
          </a:xfrm>
          <a:prstGeom prst="round2DiagRect">
            <a:avLst/>
          </a:prstGeom>
          <a:solidFill>
            <a:srgbClr val="D0EBF2">
              <a:alpha val="46000"/>
            </a:srgbClr>
          </a:solidFill>
          <a:ln>
            <a:solidFill>
              <a:schemeClr val="accent1"/>
            </a:solidFill>
          </a:ln>
        </p:spPr>
        <p:txBody>
          <a:bodyPr wrap="square" lIns="612000" tIns="0" rIns="0" bIns="0" anchor="ctr">
            <a:noAutofit/>
          </a:bodyPr>
          <a:lstStyle/>
          <a:p>
            <a:r>
              <a:rPr lang="en-US" sz="1400" b="1" dirty="0"/>
              <a:t>Test automation </a:t>
            </a:r>
            <a:r>
              <a:rPr lang="en-US" sz="1400" dirty="0"/>
              <a:t>is the practice of running tests </a:t>
            </a:r>
            <a:r>
              <a:rPr lang="en-US" sz="1400" b="1" dirty="0"/>
              <a:t>automatically</a:t>
            </a:r>
            <a:r>
              <a:rPr lang="en-US" sz="1400" dirty="0"/>
              <a:t>, managing test data, and utilizing results to improve </a:t>
            </a:r>
            <a:r>
              <a:rPr lang="en-US" sz="1400" b="1" dirty="0"/>
              <a:t>software quality</a:t>
            </a:r>
            <a:r>
              <a:rPr lang="en-US" sz="1400" dirty="0"/>
              <a:t>. It’s primarily a quality </a:t>
            </a:r>
            <a:r>
              <a:rPr lang="en-US" sz="1400" b="1" dirty="0"/>
              <a:t>assurance measure</a:t>
            </a:r>
            <a:r>
              <a:rPr lang="en-US" sz="1400" dirty="0"/>
              <a:t>, but its activities involve the commitment of the entire </a:t>
            </a:r>
            <a:r>
              <a:rPr lang="en-US" sz="1400" b="1" dirty="0"/>
              <a:t>software production team</a:t>
            </a:r>
          </a:p>
        </p:txBody>
      </p:sp>
      <p:sp>
        <p:nvSpPr>
          <p:cNvPr id="40" name="Freeform 67"/>
          <p:cNvSpPr>
            <a:spLocks noEditPoints="1"/>
          </p:cNvSpPr>
          <p:nvPr/>
        </p:nvSpPr>
        <p:spPr bwMode="auto">
          <a:xfrm>
            <a:off x="469511" y="1057786"/>
            <a:ext cx="331638" cy="424710"/>
          </a:xfrm>
          <a:custGeom>
            <a:avLst/>
            <a:gdLst>
              <a:gd name="T0" fmla="*/ 1522 w 3101"/>
              <a:gd name="T1" fmla="*/ 3151 h 3968"/>
              <a:gd name="T2" fmla="*/ 2644 w 3101"/>
              <a:gd name="T3" fmla="*/ 2950 h 3968"/>
              <a:gd name="T4" fmla="*/ 539 w 3101"/>
              <a:gd name="T5" fmla="*/ 2809 h 3968"/>
              <a:gd name="T6" fmla="*/ 1023 w 3101"/>
              <a:gd name="T7" fmla="*/ 3293 h 3968"/>
              <a:gd name="T8" fmla="*/ 539 w 3101"/>
              <a:gd name="T9" fmla="*/ 2809 h 3968"/>
              <a:gd name="T10" fmla="*/ 1522 w 3101"/>
              <a:gd name="T11" fmla="*/ 2202 h 3968"/>
              <a:gd name="T12" fmla="*/ 2644 w 3101"/>
              <a:gd name="T13" fmla="*/ 2001 h 3968"/>
              <a:gd name="T14" fmla="*/ 539 w 3101"/>
              <a:gd name="T15" fmla="*/ 1860 h 3968"/>
              <a:gd name="T16" fmla="*/ 1023 w 3101"/>
              <a:gd name="T17" fmla="*/ 2344 h 3968"/>
              <a:gd name="T18" fmla="*/ 539 w 3101"/>
              <a:gd name="T19" fmla="*/ 1860 h 3968"/>
              <a:gd name="T20" fmla="*/ 1522 w 3101"/>
              <a:gd name="T21" fmla="*/ 1237 h 3968"/>
              <a:gd name="T22" fmla="*/ 2644 w 3101"/>
              <a:gd name="T23" fmla="*/ 1036 h 3968"/>
              <a:gd name="T24" fmla="*/ 1224 w 3101"/>
              <a:gd name="T25" fmla="*/ 776 h 3968"/>
              <a:gd name="T26" fmla="*/ 1166 w 3101"/>
              <a:gd name="T27" fmla="*/ 792 h 3968"/>
              <a:gd name="T28" fmla="*/ 1115 w 3101"/>
              <a:gd name="T29" fmla="*/ 827 h 3968"/>
              <a:gd name="T30" fmla="*/ 532 w 3101"/>
              <a:gd name="T31" fmla="*/ 993 h 3968"/>
              <a:gd name="T32" fmla="*/ 481 w 3101"/>
              <a:gd name="T33" fmla="*/ 958 h 3968"/>
              <a:gd name="T34" fmla="*/ 422 w 3101"/>
              <a:gd name="T35" fmla="*/ 943 h 3968"/>
              <a:gd name="T36" fmla="*/ 362 w 3101"/>
              <a:gd name="T37" fmla="*/ 947 h 3968"/>
              <a:gd name="T38" fmla="*/ 307 w 3101"/>
              <a:gd name="T39" fmla="*/ 974 h 3968"/>
              <a:gd name="T40" fmla="*/ 616 w 3101"/>
              <a:gd name="T41" fmla="*/ 1327 h 3968"/>
              <a:gd name="T42" fmla="*/ 865 w 3101"/>
              <a:gd name="T43" fmla="*/ 1327 h 3968"/>
              <a:gd name="T44" fmla="*/ 1339 w 3101"/>
              <a:gd name="T45" fmla="*/ 807 h 3968"/>
              <a:gd name="T46" fmla="*/ 1284 w 3101"/>
              <a:gd name="T47" fmla="*/ 781 h 3968"/>
              <a:gd name="T48" fmla="*/ 1224 w 3101"/>
              <a:gd name="T49" fmla="*/ 776 h 3968"/>
              <a:gd name="T50" fmla="*/ 2728 w 3101"/>
              <a:gd name="T51" fmla="*/ 0 h 3968"/>
              <a:gd name="T52" fmla="*/ 2827 w 3101"/>
              <a:gd name="T53" fmla="*/ 13 h 3968"/>
              <a:gd name="T54" fmla="*/ 2916 w 3101"/>
              <a:gd name="T55" fmla="*/ 50 h 3968"/>
              <a:gd name="T56" fmla="*/ 2992 w 3101"/>
              <a:gd name="T57" fmla="*/ 109 h 3968"/>
              <a:gd name="T58" fmla="*/ 3050 w 3101"/>
              <a:gd name="T59" fmla="*/ 184 h 3968"/>
              <a:gd name="T60" fmla="*/ 3087 w 3101"/>
              <a:gd name="T61" fmla="*/ 272 h 3968"/>
              <a:gd name="T62" fmla="*/ 3101 w 3101"/>
              <a:gd name="T63" fmla="*/ 372 h 3968"/>
              <a:gd name="T64" fmla="*/ 372 w 3101"/>
              <a:gd name="T65" fmla="*/ 3968 h 3968"/>
              <a:gd name="T66" fmla="*/ 273 w 3101"/>
              <a:gd name="T67" fmla="*/ 3955 h 3968"/>
              <a:gd name="T68" fmla="*/ 184 w 3101"/>
              <a:gd name="T69" fmla="*/ 3917 h 3968"/>
              <a:gd name="T70" fmla="*/ 109 w 3101"/>
              <a:gd name="T71" fmla="*/ 3859 h 3968"/>
              <a:gd name="T72" fmla="*/ 51 w 3101"/>
              <a:gd name="T73" fmla="*/ 3784 h 3968"/>
              <a:gd name="T74" fmla="*/ 13 w 3101"/>
              <a:gd name="T75" fmla="*/ 3695 h 3968"/>
              <a:gd name="T76" fmla="*/ 0 w 3101"/>
              <a:gd name="T77" fmla="*/ 3596 h 3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101" h="3968">
                <a:moveTo>
                  <a:pt x="1522" y="2950"/>
                </a:moveTo>
                <a:lnTo>
                  <a:pt x="1522" y="3151"/>
                </a:lnTo>
                <a:lnTo>
                  <a:pt x="2644" y="3151"/>
                </a:lnTo>
                <a:lnTo>
                  <a:pt x="2644" y="2950"/>
                </a:lnTo>
                <a:lnTo>
                  <a:pt x="1522" y="2950"/>
                </a:lnTo>
                <a:close/>
                <a:moveTo>
                  <a:pt x="539" y="2809"/>
                </a:moveTo>
                <a:lnTo>
                  <a:pt x="539" y="3293"/>
                </a:lnTo>
                <a:lnTo>
                  <a:pt x="1023" y="3293"/>
                </a:lnTo>
                <a:lnTo>
                  <a:pt x="1023" y="2809"/>
                </a:lnTo>
                <a:lnTo>
                  <a:pt x="539" y="2809"/>
                </a:lnTo>
                <a:close/>
                <a:moveTo>
                  <a:pt x="1522" y="2001"/>
                </a:moveTo>
                <a:lnTo>
                  <a:pt x="1522" y="2202"/>
                </a:lnTo>
                <a:lnTo>
                  <a:pt x="2644" y="2202"/>
                </a:lnTo>
                <a:lnTo>
                  <a:pt x="2644" y="2001"/>
                </a:lnTo>
                <a:lnTo>
                  <a:pt x="1522" y="2001"/>
                </a:lnTo>
                <a:close/>
                <a:moveTo>
                  <a:pt x="539" y="1860"/>
                </a:moveTo>
                <a:lnTo>
                  <a:pt x="539" y="2344"/>
                </a:lnTo>
                <a:lnTo>
                  <a:pt x="1023" y="2344"/>
                </a:lnTo>
                <a:lnTo>
                  <a:pt x="1023" y="1860"/>
                </a:lnTo>
                <a:lnTo>
                  <a:pt x="539" y="1860"/>
                </a:lnTo>
                <a:close/>
                <a:moveTo>
                  <a:pt x="1522" y="1036"/>
                </a:moveTo>
                <a:lnTo>
                  <a:pt x="1522" y="1237"/>
                </a:lnTo>
                <a:lnTo>
                  <a:pt x="2644" y="1237"/>
                </a:lnTo>
                <a:lnTo>
                  <a:pt x="2644" y="1036"/>
                </a:lnTo>
                <a:lnTo>
                  <a:pt x="1522" y="1036"/>
                </a:lnTo>
                <a:close/>
                <a:moveTo>
                  <a:pt x="1224" y="776"/>
                </a:moveTo>
                <a:lnTo>
                  <a:pt x="1195" y="781"/>
                </a:lnTo>
                <a:lnTo>
                  <a:pt x="1166" y="792"/>
                </a:lnTo>
                <a:lnTo>
                  <a:pt x="1139" y="807"/>
                </a:lnTo>
                <a:lnTo>
                  <a:pt x="1115" y="827"/>
                </a:lnTo>
                <a:lnTo>
                  <a:pt x="741" y="1202"/>
                </a:lnTo>
                <a:lnTo>
                  <a:pt x="532" y="993"/>
                </a:lnTo>
                <a:lnTo>
                  <a:pt x="508" y="974"/>
                </a:lnTo>
                <a:lnTo>
                  <a:pt x="481" y="958"/>
                </a:lnTo>
                <a:lnTo>
                  <a:pt x="452" y="947"/>
                </a:lnTo>
                <a:lnTo>
                  <a:pt x="422" y="943"/>
                </a:lnTo>
                <a:lnTo>
                  <a:pt x="393" y="943"/>
                </a:lnTo>
                <a:lnTo>
                  <a:pt x="362" y="947"/>
                </a:lnTo>
                <a:lnTo>
                  <a:pt x="333" y="958"/>
                </a:lnTo>
                <a:lnTo>
                  <a:pt x="307" y="974"/>
                </a:lnTo>
                <a:lnTo>
                  <a:pt x="282" y="993"/>
                </a:lnTo>
                <a:lnTo>
                  <a:pt x="616" y="1327"/>
                </a:lnTo>
                <a:lnTo>
                  <a:pt x="741" y="1452"/>
                </a:lnTo>
                <a:lnTo>
                  <a:pt x="865" y="1327"/>
                </a:lnTo>
                <a:lnTo>
                  <a:pt x="1364" y="827"/>
                </a:lnTo>
                <a:lnTo>
                  <a:pt x="1339" y="807"/>
                </a:lnTo>
                <a:lnTo>
                  <a:pt x="1313" y="792"/>
                </a:lnTo>
                <a:lnTo>
                  <a:pt x="1284" y="781"/>
                </a:lnTo>
                <a:lnTo>
                  <a:pt x="1255" y="776"/>
                </a:lnTo>
                <a:lnTo>
                  <a:pt x="1224" y="776"/>
                </a:lnTo>
                <a:close/>
                <a:moveTo>
                  <a:pt x="0" y="0"/>
                </a:moveTo>
                <a:lnTo>
                  <a:pt x="2728" y="0"/>
                </a:lnTo>
                <a:lnTo>
                  <a:pt x="2779" y="3"/>
                </a:lnTo>
                <a:lnTo>
                  <a:pt x="2827" y="13"/>
                </a:lnTo>
                <a:lnTo>
                  <a:pt x="2873" y="29"/>
                </a:lnTo>
                <a:lnTo>
                  <a:pt x="2916" y="50"/>
                </a:lnTo>
                <a:lnTo>
                  <a:pt x="2955" y="77"/>
                </a:lnTo>
                <a:lnTo>
                  <a:pt x="2992" y="109"/>
                </a:lnTo>
                <a:lnTo>
                  <a:pt x="3023" y="144"/>
                </a:lnTo>
                <a:lnTo>
                  <a:pt x="3050" y="184"/>
                </a:lnTo>
                <a:lnTo>
                  <a:pt x="3072" y="226"/>
                </a:lnTo>
                <a:lnTo>
                  <a:pt x="3087" y="272"/>
                </a:lnTo>
                <a:lnTo>
                  <a:pt x="3097" y="321"/>
                </a:lnTo>
                <a:lnTo>
                  <a:pt x="3101" y="372"/>
                </a:lnTo>
                <a:lnTo>
                  <a:pt x="3101" y="3968"/>
                </a:lnTo>
                <a:lnTo>
                  <a:pt x="372" y="3968"/>
                </a:lnTo>
                <a:lnTo>
                  <a:pt x="321" y="3964"/>
                </a:lnTo>
                <a:lnTo>
                  <a:pt x="273" y="3955"/>
                </a:lnTo>
                <a:lnTo>
                  <a:pt x="227" y="3939"/>
                </a:lnTo>
                <a:lnTo>
                  <a:pt x="184" y="3917"/>
                </a:lnTo>
                <a:lnTo>
                  <a:pt x="144" y="3890"/>
                </a:lnTo>
                <a:lnTo>
                  <a:pt x="109" y="3859"/>
                </a:lnTo>
                <a:lnTo>
                  <a:pt x="78" y="3824"/>
                </a:lnTo>
                <a:lnTo>
                  <a:pt x="51" y="3784"/>
                </a:lnTo>
                <a:lnTo>
                  <a:pt x="29" y="3741"/>
                </a:lnTo>
                <a:lnTo>
                  <a:pt x="13" y="3695"/>
                </a:lnTo>
                <a:lnTo>
                  <a:pt x="4" y="3647"/>
                </a:lnTo>
                <a:lnTo>
                  <a:pt x="0" y="3596"/>
                </a:lnTo>
                <a:lnTo>
                  <a:pt x="0"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p>
        </p:txBody>
      </p:sp>
    </p:spTree>
    <p:extLst>
      <p:ext uri="{BB962C8B-B14F-4D97-AF65-F5344CB8AC3E}">
        <p14:creationId xmlns:p14="http://schemas.microsoft.com/office/powerpoint/2010/main" val="100675543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0B25A3C2-E4AD-47B3-B272-635F46D753D8}"/>
              </a:ext>
            </a:extLst>
          </p:cNvPr>
          <p:cNvSpPr/>
          <p:nvPr/>
        </p:nvSpPr>
        <p:spPr>
          <a:xfrm>
            <a:off x="68" y="693282"/>
            <a:ext cx="9143865" cy="4084923"/>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79" tIns="34289" rIns="68579" bIns="34289" numCol="1" spcCol="0" rtlCol="0" fromWordArt="0" anchor="ctr" anchorCtr="0" forceAA="0" compatLnSpc="1">
            <a:prstTxWarp prst="textNoShape">
              <a:avLst/>
            </a:prstTxWarp>
            <a:noAutofit/>
          </a:bodyPr>
          <a:lstStyle/>
          <a:p>
            <a:pPr algn="ctr"/>
            <a:endParaRPr lang="en-US" sz="1200" dirty="0" err="1">
              <a:solidFill>
                <a:schemeClr val="tx1"/>
              </a:solidFill>
            </a:endParaRPr>
          </a:p>
        </p:txBody>
      </p:sp>
      <p:sp>
        <p:nvSpPr>
          <p:cNvPr id="2" name="Titolo 1">
            <a:extLst>
              <a:ext uri="{FF2B5EF4-FFF2-40B4-BE49-F238E27FC236}">
                <a16:creationId xmlns:a16="http://schemas.microsoft.com/office/drawing/2014/main" id="{FCAB6319-36EA-4C53-A8AD-EF8B557E22D3}"/>
              </a:ext>
            </a:extLst>
          </p:cNvPr>
          <p:cNvSpPr>
            <a:spLocks noGrp="1"/>
          </p:cNvSpPr>
          <p:nvPr>
            <p:ph type="title"/>
          </p:nvPr>
        </p:nvSpPr>
        <p:spPr/>
        <p:txBody>
          <a:bodyPr/>
          <a:lstStyle/>
          <a:p>
            <a:r>
              <a:rPr lang="it-IT" dirty="0"/>
              <a:t>Test Automation </a:t>
            </a:r>
            <a:r>
              <a:rPr lang="en-US" dirty="0"/>
              <a:t>Pyramid</a:t>
            </a:r>
            <a:r>
              <a:rPr lang="it-IT" dirty="0"/>
              <a:t> </a:t>
            </a:r>
          </a:p>
        </p:txBody>
      </p:sp>
      <p:grpSp>
        <p:nvGrpSpPr>
          <p:cNvPr id="3" name="Gruppo 2">
            <a:extLst>
              <a:ext uri="{FF2B5EF4-FFF2-40B4-BE49-F238E27FC236}">
                <a16:creationId xmlns:a16="http://schemas.microsoft.com/office/drawing/2014/main" id="{19B5076B-1342-4AFB-B5AD-FE3B88BD8270}"/>
              </a:ext>
            </a:extLst>
          </p:cNvPr>
          <p:cNvGrpSpPr/>
          <p:nvPr/>
        </p:nvGrpSpPr>
        <p:grpSpPr>
          <a:xfrm>
            <a:off x="1455542" y="958440"/>
            <a:ext cx="3906015" cy="3608090"/>
            <a:chOff x="3120272" y="1261509"/>
            <a:chExt cx="5104417" cy="4715085"/>
          </a:xfrm>
        </p:grpSpPr>
        <p:sp>
          <p:nvSpPr>
            <p:cNvPr id="4" name="Triangolo isoscele 3">
              <a:extLst>
                <a:ext uri="{FF2B5EF4-FFF2-40B4-BE49-F238E27FC236}">
                  <a16:creationId xmlns:a16="http://schemas.microsoft.com/office/drawing/2014/main" id="{B90D765F-529C-4D52-9EBF-060C8CA5E612}"/>
                </a:ext>
              </a:extLst>
            </p:cNvPr>
            <p:cNvSpPr/>
            <p:nvPr/>
          </p:nvSpPr>
          <p:spPr>
            <a:xfrm>
              <a:off x="3120272" y="1489435"/>
              <a:ext cx="5104417" cy="4487159"/>
            </a:xfrm>
            <a:prstGeom prst="triangle">
              <a:avLst/>
            </a:prstGeom>
            <a:solidFill>
              <a:schemeClr val="accent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696"/>
              <a:endParaRPr lang="it-IT" sz="1033" dirty="0" err="1">
                <a:solidFill>
                  <a:srgbClr val="000000"/>
                </a:solidFill>
                <a:latin typeface="UniCredit"/>
              </a:endParaRPr>
            </a:p>
          </p:txBody>
        </p:sp>
        <p:cxnSp>
          <p:nvCxnSpPr>
            <p:cNvPr id="6" name="Connettore diritto 5">
              <a:extLst>
                <a:ext uri="{FF2B5EF4-FFF2-40B4-BE49-F238E27FC236}">
                  <a16:creationId xmlns:a16="http://schemas.microsoft.com/office/drawing/2014/main" id="{6C229A54-3B55-4C27-A28B-E11A9FB4BE6A}"/>
                </a:ext>
              </a:extLst>
            </p:cNvPr>
            <p:cNvCxnSpPr/>
            <p:nvPr/>
          </p:nvCxnSpPr>
          <p:spPr>
            <a:xfrm>
              <a:off x="4182369" y="4073893"/>
              <a:ext cx="2963800" cy="0"/>
            </a:xfrm>
            <a:prstGeom prst="line">
              <a:avLst/>
            </a:prstGeom>
            <a:ln w="381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7" name="Connettore diritto 6">
              <a:extLst>
                <a:ext uri="{FF2B5EF4-FFF2-40B4-BE49-F238E27FC236}">
                  <a16:creationId xmlns:a16="http://schemas.microsoft.com/office/drawing/2014/main" id="{57AE78B9-18E4-4019-8B2C-2324FE9DEA14}"/>
                </a:ext>
              </a:extLst>
            </p:cNvPr>
            <p:cNvCxnSpPr>
              <a:cxnSpLocks/>
            </p:cNvCxnSpPr>
            <p:nvPr/>
          </p:nvCxnSpPr>
          <p:spPr>
            <a:xfrm>
              <a:off x="4957884" y="2739297"/>
              <a:ext cx="1411333" cy="0"/>
            </a:xfrm>
            <a:prstGeom prst="line">
              <a:avLst/>
            </a:prstGeom>
            <a:ln w="381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1" name="CasellaDiTesto 10">
              <a:extLst>
                <a:ext uri="{FF2B5EF4-FFF2-40B4-BE49-F238E27FC236}">
                  <a16:creationId xmlns:a16="http://schemas.microsoft.com/office/drawing/2014/main" id="{EBA9B75D-7161-434C-BF5D-41631A89B942}"/>
                </a:ext>
              </a:extLst>
            </p:cNvPr>
            <p:cNvSpPr txBox="1"/>
            <p:nvPr/>
          </p:nvSpPr>
          <p:spPr>
            <a:xfrm>
              <a:off x="4253746" y="4596457"/>
              <a:ext cx="2837469" cy="844631"/>
            </a:xfrm>
            <a:prstGeom prst="rect">
              <a:avLst/>
            </a:prstGeom>
            <a:noFill/>
          </p:spPr>
          <p:txBody>
            <a:bodyPr wrap="square" rtlCol="0">
              <a:spAutoFit/>
            </a:bodyPr>
            <a:lstStyle/>
            <a:p>
              <a:pPr algn="ctr" defTabSz="699696"/>
              <a:r>
                <a:rPr lang="it-IT" sz="3600" dirty="0">
                  <a:solidFill>
                    <a:srgbClr val="000000"/>
                  </a:solidFill>
                  <a:latin typeface="UniCredit"/>
                </a:rPr>
                <a:t>UNIT TEST</a:t>
              </a:r>
            </a:p>
          </p:txBody>
        </p:sp>
        <p:sp>
          <p:nvSpPr>
            <p:cNvPr id="12" name="CasellaDiTesto 11">
              <a:extLst>
                <a:ext uri="{FF2B5EF4-FFF2-40B4-BE49-F238E27FC236}">
                  <a16:creationId xmlns:a16="http://schemas.microsoft.com/office/drawing/2014/main" id="{7A94D8E7-1435-4EB3-90BB-A524C396A4DD}"/>
                </a:ext>
              </a:extLst>
            </p:cNvPr>
            <p:cNvSpPr txBox="1"/>
            <p:nvPr/>
          </p:nvSpPr>
          <p:spPr>
            <a:xfrm>
              <a:off x="4253746" y="2988945"/>
              <a:ext cx="2837469" cy="965293"/>
            </a:xfrm>
            <a:prstGeom prst="rect">
              <a:avLst/>
            </a:prstGeom>
            <a:noFill/>
          </p:spPr>
          <p:txBody>
            <a:bodyPr wrap="square" rtlCol="0">
              <a:spAutoFit/>
            </a:bodyPr>
            <a:lstStyle/>
            <a:p>
              <a:pPr algn="ctr" defTabSz="699696"/>
              <a:r>
                <a:rPr lang="it-IT" sz="2100" dirty="0">
                  <a:solidFill>
                    <a:srgbClr val="000000"/>
                  </a:solidFill>
                  <a:latin typeface="UniCredit"/>
                </a:rPr>
                <a:t>INTEGRATION </a:t>
              </a:r>
            </a:p>
            <a:p>
              <a:pPr algn="ctr" defTabSz="699696"/>
              <a:r>
                <a:rPr lang="it-IT" sz="2100" dirty="0">
                  <a:solidFill>
                    <a:srgbClr val="000000"/>
                  </a:solidFill>
                  <a:latin typeface="UniCredit"/>
                </a:rPr>
                <a:t>TEST</a:t>
              </a:r>
            </a:p>
          </p:txBody>
        </p:sp>
        <p:sp>
          <p:nvSpPr>
            <p:cNvPr id="13" name="CasellaDiTesto 12">
              <a:extLst>
                <a:ext uri="{FF2B5EF4-FFF2-40B4-BE49-F238E27FC236}">
                  <a16:creationId xmlns:a16="http://schemas.microsoft.com/office/drawing/2014/main" id="{4C90293E-31D4-4935-9B86-52177D254AC3}"/>
                </a:ext>
              </a:extLst>
            </p:cNvPr>
            <p:cNvSpPr txBox="1"/>
            <p:nvPr/>
          </p:nvSpPr>
          <p:spPr>
            <a:xfrm>
              <a:off x="4830682" y="1928899"/>
              <a:ext cx="1683596" cy="723970"/>
            </a:xfrm>
            <a:prstGeom prst="rect">
              <a:avLst/>
            </a:prstGeom>
            <a:noFill/>
          </p:spPr>
          <p:txBody>
            <a:bodyPr wrap="square" rtlCol="0">
              <a:spAutoFit/>
            </a:bodyPr>
            <a:lstStyle/>
            <a:p>
              <a:pPr algn="ctr" defTabSz="699696"/>
              <a:r>
                <a:rPr lang="it-IT" sz="1500" dirty="0">
                  <a:solidFill>
                    <a:srgbClr val="000000"/>
                  </a:solidFill>
                  <a:latin typeface="UniCredit"/>
                </a:rPr>
                <a:t>E2E </a:t>
              </a:r>
            </a:p>
            <a:p>
              <a:pPr algn="ctr" defTabSz="699696"/>
              <a:r>
                <a:rPr lang="it-IT" sz="1500" dirty="0">
                  <a:solidFill>
                    <a:srgbClr val="000000"/>
                  </a:solidFill>
                  <a:latin typeface="UniCredit"/>
                </a:rPr>
                <a:t>TEST</a:t>
              </a:r>
            </a:p>
          </p:txBody>
        </p:sp>
        <p:sp>
          <p:nvSpPr>
            <p:cNvPr id="14" name="Nuvola 13">
              <a:extLst>
                <a:ext uri="{FF2B5EF4-FFF2-40B4-BE49-F238E27FC236}">
                  <a16:creationId xmlns:a16="http://schemas.microsoft.com/office/drawing/2014/main" id="{06716776-9196-4437-80CD-423AD6EA5402}"/>
                </a:ext>
              </a:extLst>
            </p:cNvPr>
            <p:cNvSpPr/>
            <p:nvPr/>
          </p:nvSpPr>
          <p:spPr>
            <a:xfrm>
              <a:off x="5068686" y="1261509"/>
              <a:ext cx="1165366" cy="745637"/>
            </a:xfrm>
            <a:prstGeom prst="cloud">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696">
                <a:lnSpc>
                  <a:spcPts val="1653"/>
                </a:lnSpc>
              </a:pPr>
              <a:endParaRPr lang="it-IT" sz="918" dirty="0">
                <a:solidFill>
                  <a:srgbClr val="000000"/>
                </a:solidFill>
                <a:latin typeface="UniCredit"/>
              </a:endParaRPr>
            </a:p>
          </p:txBody>
        </p:sp>
        <p:sp>
          <p:nvSpPr>
            <p:cNvPr id="37" name="CasellaDiTesto 36">
              <a:extLst>
                <a:ext uri="{FF2B5EF4-FFF2-40B4-BE49-F238E27FC236}">
                  <a16:creationId xmlns:a16="http://schemas.microsoft.com/office/drawing/2014/main" id="{2B4A0B47-EBD6-4F7F-93BB-08B6DC522490}"/>
                </a:ext>
              </a:extLst>
            </p:cNvPr>
            <p:cNvSpPr txBox="1"/>
            <p:nvPr/>
          </p:nvSpPr>
          <p:spPr>
            <a:xfrm rot="21154366">
              <a:off x="4988438" y="1371416"/>
              <a:ext cx="1398098" cy="489852"/>
            </a:xfrm>
            <a:prstGeom prst="rect">
              <a:avLst/>
            </a:prstGeom>
            <a:noFill/>
          </p:spPr>
          <p:txBody>
            <a:bodyPr wrap="square" rtlCol="0">
              <a:spAutoFit/>
            </a:bodyPr>
            <a:lstStyle/>
            <a:p>
              <a:pPr algn="ctr" defTabSz="699696"/>
              <a:r>
                <a:rPr lang="it-IT" sz="918" dirty="0">
                  <a:solidFill>
                    <a:srgbClr val="FFFFFF"/>
                  </a:solidFill>
                  <a:latin typeface="UniCredit"/>
                </a:rPr>
                <a:t>Manual Session </a:t>
              </a:r>
              <a:r>
                <a:rPr lang="it-IT" sz="918" dirty="0" err="1">
                  <a:solidFill>
                    <a:srgbClr val="FFFFFF"/>
                  </a:solidFill>
                  <a:latin typeface="UniCredit"/>
                </a:rPr>
                <a:t>Based</a:t>
              </a:r>
              <a:r>
                <a:rPr lang="it-IT" sz="918" dirty="0">
                  <a:solidFill>
                    <a:srgbClr val="FFFFFF"/>
                  </a:solidFill>
                  <a:latin typeface="UniCredit"/>
                </a:rPr>
                <a:t> </a:t>
              </a:r>
              <a:r>
                <a:rPr lang="it-IT" sz="918" dirty="0" err="1">
                  <a:solidFill>
                    <a:srgbClr val="FFFFFF"/>
                  </a:solidFill>
                  <a:latin typeface="UniCredit"/>
                </a:rPr>
                <a:t>Tested</a:t>
              </a:r>
              <a:endParaRPr lang="it-IT" sz="918" dirty="0">
                <a:solidFill>
                  <a:srgbClr val="FFFFFF"/>
                </a:solidFill>
                <a:latin typeface="UniCredit"/>
              </a:endParaRPr>
            </a:p>
          </p:txBody>
        </p:sp>
      </p:grpSp>
      <p:grpSp>
        <p:nvGrpSpPr>
          <p:cNvPr id="10" name="Gruppo 9">
            <a:extLst>
              <a:ext uri="{FF2B5EF4-FFF2-40B4-BE49-F238E27FC236}">
                <a16:creationId xmlns:a16="http://schemas.microsoft.com/office/drawing/2014/main" id="{8E952D8F-826D-4003-BADF-FC0008302A4A}"/>
              </a:ext>
            </a:extLst>
          </p:cNvPr>
          <p:cNvGrpSpPr/>
          <p:nvPr/>
        </p:nvGrpSpPr>
        <p:grpSpPr>
          <a:xfrm>
            <a:off x="6156448" y="983008"/>
            <a:ext cx="2154889" cy="3575754"/>
            <a:chOff x="8146222" y="1298813"/>
            <a:chExt cx="2816028" cy="4672830"/>
          </a:xfrm>
        </p:grpSpPr>
        <p:sp>
          <p:nvSpPr>
            <p:cNvPr id="22" name="CasellaDiTesto 21">
              <a:extLst>
                <a:ext uri="{FF2B5EF4-FFF2-40B4-BE49-F238E27FC236}">
                  <a16:creationId xmlns:a16="http://schemas.microsoft.com/office/drawing/2014/main" id="{5431D9DF-9D4A-4039-ACAC-258F9A70BEDD}"/>
                </a:ext>
              </a:extLst>
            </p:cNvPr>
            <p:cNvSpPr txBox="1"/>
            <p:nvPr/>
          </p:nvSpPr>
          <p:spPr>
            <a:xfrm>
              <a:off x="9563863" y="1298813"/>
              <a:ext cx="1398387" cy="428349"/>
            </a:xfrm>
            <a:prstGeom prst="rect">
              <a:avLst/>
            </a:prstGeom>
            <a:noFill/>
          </p:spPr>
          <p:txBody>
            <a:bodyPr wrap="square" rtlCol="0">
              <a:spAutoFit/>
            </a:bodyPr>
            <a:lstStyle/>
            <a:p>
              <a:pPr algn="ctr" defTabSz="699696"/>
              <a:r>
                <a:rPr lang="it-IT" sz="1530" dirty="0">
                  <a:solidFill>
                    <a:srgbClr val="000000"/>
                  </a:solidFill>
                  <a:latin typeface="UniCredit"/>
                </a:rPr>
                <a:t>Confidence</a:t>
              </a:r>
              <a:endParaRPr lang="it-IT" sz="1377" dirty="0">
                <a:solidFill>
                  <a:srgbClr val="000000"/>
                </a:solidFill>
                <a:latin typeface="UniCredit"/>
              </a:endParaRPr>
            </a:p>
          </p:txBody>
        </p:sp>
        <p:sp>
          <p:nvSpPr>
            <p:cNvPr id="20" name="CasellaDiTesto 19">
              <a:extLst>
                <a:ext uri="{FF2B5EF4-FFF2-40B4-BE49-F238E27FC236}">
                  <a16:creationId xmlns:a16="http://schemas.microsoft.com/office/drawing/2014/main" id="{AA292B5A-CCD6-42DF-AAF1-E6CA77B64F2D}"/>
                </a:ext>
              </a:extLst>
            </p:cNvPr>
            <p:cNvSpPr txBox="1"/>
            <p:nvPr/>
          </p:nvSpPr>
          <p:spPr>
            <a:xfrm>
              <a:off x="8906905" y="5543294"/>
              <a:ext cx="1065225" cy="428349"/>
            </a:xfrm>
            <a:prstGeom prst="rect">
              <a:avLst/>
            </a:prstGeom>
            <a:noFill/>
          </p:spPr>
          <p:txBody>
            <a:bodyPr wrap="square" rtlCol="0">
              <a:spAutoFit/>
            </a:bodyPr>
            <a:lstStyle/>
            <a:p>
              <a:pPr algn="ctr" defTabSz="699696"/>
              <a:r>
                <a:rPr lang="it-IT" sz="1530" dirty="0">
                  <a:solidFill>
                    <a:srgbClr val="000000"/>
                  </a:solidFill>
                  <a:latin typeface="UniCredit"/>
                </a:rPr>
                <a:t>Speed</a:t>
              </a:r>
            </a:p>
          </p:txBody>
        </p:sp>
        <p:sp>
          <p:nvSpPr>
            <p:cNvPr id="21" name="CasellaDiTesto 20">
              <a:extLst>
                <a:ext uri="{FF2B5EF4-FFF2-40B4-BE49-F238E27FC236}">
                  <a16:creationId xmlns:a16="http://schemas.microsoft.com/office/drawing/2014/main" id="{CC05BA77-EAEF-4999-BB89-2584F66FCA3B}"/>
                </a:ext>
              </a:extLst>
            </p:cNvPr>
            <p:cNvSpPr txBox="1"/>
            <p:nvPr/>
          </p:nvSpPr>
          <p:spPr>
            <a:xfrm>
              <a:off x="8146222" y="1298813"/>
              <a:ext cx="1065225" cy="428349"/>
            </a:xfrm>
            <a:prstGeom prst="rect">
              <a:avLst/>
            </a:prstGeom>
            <a:noFill/>
          </p:spPr>
          <p:txBody>
            <a:bodyPr wrap="square" rtlCol="0">
              <a:spAutoFit/>
            </a:bodyPr>
            <a:lstStyle/>
            <a:p>
              <a:pPr algn="ctr" defTabSz="699696"/>
              <a:r>
                <a:rPr lang="it-IT" sz="1530" dirty="0">
                  <a:solidFill>
                    <a:srgbClr val="000000"/>
                  </a:solidFill>
                  <a:latin typeface="UniCredit"/>
                </a:rPr>
                <a:t>Cost</a:t>
              </a:r>
            </a:p>
          </p:txBody>
        </p:sp>
        <p:sp>
          <p:nvSpPr>
            <p:cNvPr id="36" name="Freccia destra con strisce 35">
              <a:extLst>
                <a:ext uri="{FF2B5EF4-FFF2-40B4-BE49-F238E27FC236}">
                  <a16:creationId xmlns:a16="http://schemas.microsoft.com/office/drawing/2014/main" id="{FD9E4178-0178-4BD0-B8EE-FCC60518289E}"/>
                </a:ext>
              </a:extLst>
            </p:cNvPr>
            <p:cNvSpPr/>
            <p:nvPr/>
          </p:nvSpPr>
          <p:spPr>
            <a:xfrm rot="16200000">
              <a:off x="6784011" y="3499999"/>
              <a:ext cx="3789647" cy="343426"/>
            </a:xfrm>
            <a:prstGeom prst="stripedRightArrow">
              <a:avLst>
                <a:gd name="adj1" fmla="val 50000"/>
                <a:gd name="adj2" fmla="val 104899"/>
              </a:avLst>
            </a:prstGeom>
            <a:gradFill flip="none" rotWithShape="1">
              <a:gsLst>
                <a:gs pos="0">
                  <a:schemeClr val="accent2">
                    <a:lumMod val="50000"/>
                  </a:schemeClr>
                </a:gs>
                <a:gs pos="54000">
                  <a:schemeClr val="accent1"/>
                </a:gs>
                <a:gs pos="100000">
                  <a:schemeClr val="accent1">
                    <a:tint val="23500"/>
                    <a:satMod val="160000"/>
                  </a:schemeClr>
                </a:gs>
              </a:gsLst>
              <a:path path="circle">
                <a:fillToRect l="100000" t="100000"/>
              </a:path>
              <a:tileRect r="-100000" b="-100000"/>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696"/>
              <a:endParaRPr lang="it-IT" sz="1377" dirty="0" err="1">
                <a:solidFill>
                  <a:srgbClr val="000000"/>
                </a:solidFill>
                <a:latin typeface="UniCredit"/>
              </a:endParaRPr>
            </a:p>
          </p:txBody>
        </p:sp>
        <p:sp>
          <p:nvSpPr>
            <p:cNvPr id="31" name="Freccia destra con strisce 30">
              <a:extLst>
                <a:ext uri="{FF2B5EF4-FFF2-40B4-BE49-F238E27FC236}">
                  <a16:creationId xmlns:a16="http://schemas.microsoft.com/office/drawing/2014/main" id="{4D3BCDE9-8196-49B5-963C-89A2008ED21D}"/>
                </a:ext>
              </a:extLst>
            </p:cNvPr>
            <p:cNvSpPr/>
            <p:nvPr/>
          </p:nvSpPr>
          <p:spPr>
            <a:xfrm rot="5400000" flipV="1">
              <a:off x="7612423" y="3499999"/>
              <a:ext cx="3789647" cy="343426"/>
            </a:xfrm>
            <a:prstGeom prst="stripedRightArrow">
              <a:avLst>
                <a:gd name="adj1" fmla="val 50000"/>
                <a:gd name="adj2" fmla="val 104899"/>
              </a:avLst>
            </a:prstGeom>
            <a:gradFill flip="none" rotWithShape="1">
              <a:gsLst>
                <a:gs pos="0">
                  <a:schemeClr val="accent2">
                    <a:lumMod val="50000"/>
                  </a:schemeClr>
                </a:gs>
                <a:gs pos="56000">
                  <a:schemeClr val="accent1"/>
                </a:gs>
                <a:gs pos="100000">
                  <a:schemeClr val="accent1">
                    <a:tint val="23500"/>
                    <a:satMod val="160000"/>
                  </a:schemeClr>
                </a:gs>
              </a:gsLst>
              <a:path path="circle">
                <a:fillToRect l="100000" t="100000"/>
              </a:path>
              <a:tileRect r="-100000" b="-100000"/>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696"/>
              <a:endParaRPr lang="it-IT" sz="1377" dirty="0" err="1">
                <a:solidFill>
                  <a:srgbClr val="000000"/>
                </a:solidFill>
                <a:latin typeface="UniCredit"/>
              </a:endParaRPr>
            </a:p>
          </p:txBody>
        </p:sp>
        <p:sp>
          <p:nvSpPr>
            <p:cNvPr id="23" name="Freccia destra con strisce 22">
              <a:extLst>
                <a:ext uri="{FF2B5EF4-FFF2-40B4-BE49-F238E27FC236}">
                  <a16:creationId xmlns:a16="http://schemas.microsoft.com/office/drawing/2014/main" id="{0EAD68F3-B5BC-4484-B446-35AF41AB01F7}"/>
                </a:ext>
              </a:extLst>
            </p:cNvPr>
            <p:cNvSpPr/>
            <p:nvPr/>
          </p:nvSpPr>
          <p:spPr>
            <a:xfrm rot="16200000">
              <a:off x="8440835" y="3499999"/>
              <a:ext cx="3789647" cy="343426"/>
            </a:xfrm>
            <a:prstGeom prst="stripedRightArrow">
              <a:avLst>
                <a:gd name="adj1" fmla="val 50000"/>
                <a:gd name="adj2" fmla="val 104899"/>
              </a:avLst>
            </a:prstGeom>
            <a:gradFill flip="none" rotWithShape="1">
              <a:gsLst>
                <a:gs pos="0">
                  <a:schemeClr val="accent2">
                    <a:lumMod val="50000"/>
                  </a:schemeClr>
                </a:gs>
                <a:gs pos="54000">
                  <a:schemeClr val="accent1"/>
                </a:gs>
                <a:gs pos="100000">
                  <a:schemeClr val="accent1">
                    <a:tint val="23500"/>
                    <a:satMod val="160000"/>
                  </a:schemeClr>
                </a:gs>
              </a:gsLst>
              <a:path path="circle">
                <a:fillToRect l="100000" t="100000"/>
              </a:path>
              <a:tileRect r="-100000" b="-100000"/>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696"/>
              <a:endParaRPr lang="it-IT" sz="1377" dirty="0" err="1">
                <a:solidFill>
                  <a:srgbClr val="000000"/>
                </a:solidFill>
                <a:latin typeface="UniCredit"/>
              </a:endParaRPr>
            </a:p>
          </p:txBody>
        </p:sp>
      </p:grpSp>
    </p:spTree>
    <p:extLst>
      <p:ext uri="{BB962C8B-B14F-4D97-AF65-F5344CB8AC3E}">
        <p14:creationId xmlns:p14="http://schemas.microsoft.com/office/powerpoint/2010/main" val="253068978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9" name="Object 48" hidden="1"/>
          <p:cNvGraphicFramePr>
            <a:graphicFrameLocks noChangeAspect="1"/>
          </p:cNvGraphicFramePr>
          <p:nvPr>
            <p:custDataLst>
              <p:tags r:id="rId2"/>
            </p:custDataLst>
            <p:extLst>
              <p:ext uri="{D42A27DB-BD31-4B8C-83A1-F6EECF244321}">
                <p14:modId xmlns:p14="http://schemas.microsoft.com/office/powerpoint/2010/main" val="36638046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53" name="think-cell Slide" r:id="rId7" imgW="395" imgH="394" progId="TCLayout.ActiveDocument.1">
                  <p:embed/>
                </p:oleObj>
              </mc:Choice>
              <mc:Fallback>
                <p:oleObj name="think-cell Slide" r:id="rId7" imgW="395" imgH="39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8" name="Rectangle 47"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GB" sz="2400" b="1" dirty="0">
              <a:latin typeface="UniCredit" panose="02000506040000020004" pitchFamily="2" charset="0"/>
              <a:ea typeface="+mj-ea"/>
              <a:cs typeface="Arial" panose="020B0604020202020204" pitchFamily="34" charset="0"/>
              <a:sym typeface="UniCredit" panose="02000506040000020004" pitchFamily="2" charset="0"/>
            </a:endParaRPr>
          </a:p>
        </p:txBody>
      </p:sp>
      <p:pic>
        <p:nvPicPr>
          <p:cNvPr id="44" name="Picture 43">
            <a:extLst>
              <a:ext uri="{FF2B5EF4-FFF2-40B4-BE49-F238E27FC236}">
                <a16:creationId xmlns:a16="http://schemas.microsoft.com/office/drawing/2014/main" id="{CD6634EC-2CB1-40A9-97AD-01ECD0720EC5}"/>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b="22330"/>
          <a:stretch/>
        </p:blipFill>
        <p:spPr>
          <a:xfrm>
            <a:off x="5131845" y="1093592"/>
            <a:ext cx="3230795" cy="3270883"/>
          </a:xfrm>
          <a:prstGeom prst="rect">
            <a:avLst/>
          </a:prstGeom>
        </p:spPr>
      </p:pic>
      <p:sp>
        <p:nvSpPr>
          <p:cNvPr id="46" name="Rectangle 45"/>
          <p:cNvSpPr/>
          <p:nvPr/>
        </p:nvSpPr>
        <p:spPr>
          <a:xfrm>
            <a:off x="5137735" y="1093592"/>
            <a:ext cx="3224905" cy="3270883"/>
          </a:xfrm>
          <a:prstGeom prst="rect">
            <a:avLst/>
          </a:prstGeom>
          <a:solidFill>
            <a:schemeClr val="bg1">
              <a:alpha val="9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a:extLst>
              <a:ext uri="{FF2B5EF4-FFF2-40B4-BE49-F238E27FC236}">
                <a16:creationId xmlns:a16="http://schemas.microsoft.com/office/drawing/2014/main" id="{7F54DFC0-EC4E-4066-8EDF-C6F409BD7FEB}"/>
              </a:ext>
            </a:extLst>
          </p:cNvPr>
          <p:cNvSpPr>
            <a:spLocks noGrp="1"/>
          </p:cNvSpPr>
          <p:nvPr>
            <p:ph type="sldNum" sz="quarter" idx="11"/>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fld id="{1D1043DC-2681-49D5-9D69-158B3FA3398E}" type="slidenum">
              <a:rPr kumimoji="0" lang="en-GB" sz="900" b="0" i="0" u="none" strike="noStrike" kern="1200" cap="none" spc="0" normalizeH="0" baseline="0" noProof="1" smtClean="0">
                <a:ln>
                  <a:noFill/>
                </a:ln>
                <a:solidFill>
                  <a:srgbClr val="00AFD0"/>
                </a:solidFill>
                <a:effectLst/>
                <a:uLnTx/>
                <a:uFillTx/>
                <a:latin typeface="UniCredit"/>
                <a:ea typeface="+mn-ea"/>
                <a:cs typeface="Arial" panose="020B0604020202020204" pitchFamily="34" charset="0"/>
              </a:rPr>
              <a:pPr marL="0" marR="0" lvl="0" indent="0" algn="l" defTabSz="685800" rtl="0" eaLnBrk="1" fontAlgn="auto" latinLnBrk="0" hangingPunct="1">
                <a:lnSpc>
                  <a:spcPct val="100000"/>
                </a:lnSpc>
                <a:spcBef>
                  <a:spcPts val="0"/>
                </a:spcBef>
                <a:spcAft>
                  <a:spcPts val="0"/>
                </a:spcAft>
                <a:buClrTx/>
                <a:buSzTx/>
                <a:buFontTx/>
                <a:buNone/>
                <a:tabLst/>
                <a:defRPr/>
              </a:pPr>
              <a:t>22</a:t>
            </a:fld>
            <a:endParaRPr kumimoji="0" lang="en-GB" sz="900" b="0" i="0" u="none" strike="noStrike" kern="1200" cap="none" spc="0" normalizeH="0" baseline="0" noProof="1">
              <a:ln>
                <a:noFill/>
              </a:ln>
              <a:solidFill>
                <a:srgbClr val="00AFD0"/>
              </a:solidFill>
              <a:effectLst/>
              <a:uLnTx/>
              <a:uFillTx/>
              <a:latin typeface="UniCredit"/>
              <a:ea typeface="+mn-ea"/>
              <a:cs typeface="Arial" panose="020B0604020202020204" pitchFamily="34" charset="0"/>
            </a:endParaRPr>
          </a:p>
        </p:txBody>
      </p:sp>
      <p:sp>
        <p:nvSpPr>
          <p:cNvPr id="6" name="Title 5">
            <a:extLst>
              <a:ext uri="{FF2B5EF4-FFF2-40B4-BE49-F238E27FC236}">
                <a16:creationId xmlns:a16="http://schemas.microsoft.com/office/drawing/2014/main" id="{19F9D3C5-B4D5-4D98-91E7-139E5A7A9AFD}"/>
              </a:ext>
            </a:extLst>
          </p:cNvPr>
          <p:cNvSpPr>
            <a:spLocks noGrp="1"/>
          </p:cNvSpPr>
          <p:nvPr>
            <p:ph type="title"/>
          </p:nvPr>
        </p:nvSpPr>
        <p:spPr/>
        <p:txBody>
          <a:bodyPr/>
          <a:lstStyle/>
          <a:p>
            <a:r>
              <a:rPr lang="en-GB" dirty="0"/>
              <a:t>Unit testing</a:t>
            </a:r>
          </a:p>
        </p:txBody>
      </p:sp>
      <p:sp>
        <p:nvSpPr>
          <p:cNvPr id="17" name="Rectangle 16"/>
          <p:cNvSpPr/>
          <p:nvPr/>
        </p:nvSpPr>
        <p:spPr>
          <a:xfrm>
            <a:off x="1123943" y="980766"/>
            <a:ext cx="2217125" cy="400110"/>
          </a:xfrm>
          <a:prstGeom prst="rect">
            <a:avLst/>
          </a:prstGeom>
        </p:spPr>
        <p:txBody>
          <a:bodyPr wrap="square" anchor="ctr">
            <a:spAutoFit/>
          </a:bodyPr>
          <a:lstStyle/>
          <a:p>
            <a:pPr algn="ctr"/>
            <a:r>
              <a:rPr lang="en-US" sz="2000" b="1" dirty="0">
                <a:latin typeface="UniCredit" panose="02000506040000020004" pitchFamily="2" charset="0"/>
              </a:rPr>
              <a:t>Unit Testing</a:t>
            </a:r>
          </a:p>
        </p:txBody>
      </p:sp>
      <p:sp>
        <p:nvSpPr>
          <p:cNvPr id="18" name="Rectangle 17"/>
          <p:cNvSpPr/>
          <p:nvPr/>
        </p:nvSpPr>
        <p:spPr>
          <a:xfrm>
            <a:off x="364140" y="1761157"/>
            <a:ext cx="3736731" cy="2105063"/>
          </a:xfrm>
          <a:prstGeom prst="rect">
            <a:avLst/>
          </a:prstGeom>
        </p:spPr>
        <p:txBody>
          <a:bodyPr wrap="square" anchor="ctr">
            <a:noAutofit/>
          </a:bodyPr>
          <a:lstStyle/>
          <a:p>
            <a:pPr marL="171450" indent="-171450">
              <a:lnSpc>
                <a:spcPct val="120000"/>
              </a:lnSpc>
              <a:buClr>
                <a:schemeClr val="accent1"/>
              </a:buClr>
              <a:buFont typeface="Wingdings" panose="05000000000000000000" pitchFamily="2" charset="2"/>
              <a:buChar char="§"/>
            </a:pPr>
            <a:r>
              <a:rPr lang="en-US" sz="1400" dirty="0"/>
              <a:t>Type of </a:t>
            </a:r>
            <a:r>
              <a:rPr lang="en-US" sz="1400" b="1" dirty="0"/>
              <a:t>software testing</a:t>
            </a:r>
            <a:r>
              <a:rPr lang="en-US" sz="1400" dirty="0"/>
              <a:t> where individual units or components of a software are tested</a:t>
            </a:r>
          </a:p>
          <a:p>
            <a:pPr marL="171450" indent="-171450">
              <a:lnSpc>
                <a:spcPct val="120000"/>
              </a:lnSpc>
              <a:buClr>
                <a:schemeClr val="accent1"/>
              </a:buClr>
              <a:buFont typeface="Wingdings" panose="05000000000000000000" pitchFamily="2" charset="2"/>
              <a:buChar char="§"/>
            </a:pPr>
            <a:r>
              <a:rPr lang="en-US" sz="1400" dirty="0"/>
              <a:t>The purpose is to validate that each unit of the </a:t>
            </a:r>
            <a:r>
              <a:rPr lang="en-US" sz="1400" b="1" dirty="0"/>
              <a:t>software code </a:t>
            </a:r>
            <a:r>
              <a:rPr lang="en-US" sz="1400" dirty="0"/>
              <a:t>performs as expected </a:t>
            </a:r>
          </a:p>
          <a:p>
            <a:pPr marL="171450" indent="-171450">
              <a:lnSpc>
                <a:spcPct val="120000"/>
              </a:lnSpc>
              <a:buClr>
                <a:schemeClr val="accent1"/>
              </a:buClr>
              <a:buFont typeface="Wingdings" panose="05000000000000000000" pitchFamily="2" charset="2"/>
              <a:buChar char="§"/>
            </a:pPr>
            <a:r>
              <a:rPr lang="en-US" sz="1400" dirty="0"/>
              <a:t>Unit Testing is done during the </a:t>
            </a:r>
            <a:r>
              <a:rPr lang="en-US" sz="1400" b="1" dirty="0"/>
              <a:t>development </a:t>
            </a:r>
            <a:r>
              <a:rPr lang="en-US" sz="1400" dirty="0"/>
              <a:t>(coding phase) of an application by the </a:t>
            </a:r>
            <a:r>
              <a:rPr lang="en-US" sz="1400" b="1" dirty="0"/>
              <a:t>developers</a:t>
            </a:r>
          </a:p>
        </p:txBody>
      </p:sp>
      <p:sp>
        <p:nvSpPr>
          <p:cNvPr id="23" name="Rectangle 22"/>
          <p:cNvSpPr/>
          <p:nvPr/>
        </p:nvSpPr>
        <p:spPr>
          <a:xfrm>
            <a:off x="364140" y="3948699"/>
            <a:ext cx="3851906" cy="234672"/>
          </a:xfrm>
          <a:prstGeom prst="rect">
            <a:avLst/>
          </a:prstGeom>
          <a:gradFill flip="none" rotWithShape="1">
            <a:gsLst>
              <a:gs pos="0">
                <a:schemeClr val="accent2"/>
              </a:gs>
              <a:gs pos="100000">
                <a:schemeClr val="accent1"/>
              </a:gs>
            </a:gsLst>
            <a:lin ang="0" scaled="1"/>
            <a:tileRect/>
          </a:gradFill>
          <a:ln w="25400" cap="flat" cmpd="sng" algn="ctr">
            <a:noFill/>
            <a:prstDash val="solid"/>
          </a:ln>
          <a:effectLst/>
        </p:spPr>
        <p:txBody>
          <a:bodyPr anchor="ctr"/>
          <a:lstStyle/>
          <a:p>
            <a:pPr algn="ctr">
              <a:defRPr/>
            </a:pPr>
            <a:endParaRPr kumimoji="0" lang="en-US" sz="600" i="0" u="none" strike="noStrike" kern="0" cap="none" spc="0" normalizeH="0" baseline="0" dirty="0">
              <a:ln>
                <a:noFill/>
              </a:ln>
              <a:effectLst/>
              <a:uLnTx/>
              <a:uFillTx/>
              <a:latin typeface="UniCredit" panose="02000506040000020004" pitchFamily="2" charset="0"/>
            </a:endParaRPr>
          </a:p>
        </p:txBody>
      </p:sp>
      <p:sp>
        <p:nvSpPr>
          <p:cNvPr id="24" name="Rectangle 23"/>
          <p:cNvSpPr/>
          <p:nvPr/>
        </p:nvSpPr>
        <p:spPr bwMode="gray">
          <a:xfrm>
            <a:off x="4639341" y="986829"/>
            <a:ext cx="4192462" cy="49885"/>
          </a:xfrm>
          <a:prstGeom prst="rect">
            <a:avLst/>
          </a:prstGeom>
          <a:solidFill>
            <a:srgbClr val="00AFD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050" b="1" dirty="0">
              <a:solidFill>
                <a:schemeClr val="bg1"/>
              </a:solidFill>
              <a:latin typeface="UniCredit" panose="02000506040000020004" pitchFamily="2" charset="0"/>
            </a:endParaRPr>
          </a:p>
        </p:txBody>
      </p:sp>
      <p:sp>
        <p:nvSpPr>
          <p:cNvPr id="25" name="Rectangle 24"/>
          <p:cNvSpPr/>
          <p:nvPr/>
        </p:nvSpPr>
        <p:spPr>
          <a:xfrm>
            <a:off x="4403574" y="855107"/>
            <a:ext cx="1063308" cy="313328"/>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1600" b="1" dirty="0">
                <a:solidFill>
                  <a:schemeClr val="accent1"/>
                </a:solidFill>
                <a:latin typeface="UniCredit" panose="02000506040000020004" pitchFamily="2" charset="0"/>
              </a:rPr>
              <a:t>Tools</a:t>
            </a:r>
            <a:endParaRPr lang="en-US" sz="1600" dirty="0">
              <a:solidFill>
                <a:schemeClr val="accent1"/>
              </a:solidFill>
              <a:latin typeface="UniCredit" panose="02000506040000020004" pitchFamily="2" charset="0"/>
            </a:endParaRPr>
          </a:p>
        </p:txBody>
      </p:sp>
      <p:cxnSp>
        <p:nvCxnSpPr>
          <p:cNvPr id="26" name="Straight Connector 25"/>
          <p:cNvCxnSpPr/>
          <p:nvPr/>
        </p:nvCxnSpPr>
        <p:spPr>
          <a:xfrm flipH="1">
            <a:off x="4221936" y="832622"/>
            <a:ext cx="0" cy="334800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27" name="Rectangle 26"/>
          <p:cNvSpPr/>
          <p:nvPr/>
        </p:nvSpPr>
        <p:spPr bwMode="gray">
          <a:xfrm>
            <a:off x="1043858" y="1508257"/>
            <a:ext cx="2377294" cy="27349"/>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050" b="1" dirty="0">
              <a:solidFill>
                <a:schemeClr val="bg1"/>
              </a:solidFill>
              <a:latin typeface="UniCredit" panose="02000506040000020004" pitchFamily="2" charset="0"/>
            </a:endParaRPr>
          </a:p>
        </p:txBody>
      </p:sp>
      <p:sp>
        <p:nvSpPr>
          <p:cNvPr id="28" name="Rectangle 27"/>
          <p:cNvSpPr/>
          <p:nvPr/>
        </p:nvSpPr>
        <p:spPr bwMode="gray">
          <a:xfrm>
            <a:off x="1250153" y="1621125"/>
            <a:ext cx="1964705" cy="27349"/>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050" b="1" dirty="0">
              <a:solidFill>
                <a:schemeClr val="bg1"/>
              </a:solidFill>
              <a:latin typeface="UniCredit" panose="02000506040000020004" pitchFamily="2" charset="0"/>
            </a:endParaRPr>
          </a:p>
        </p:txBody>
      </p:sp>
      <p:pic>
        <p:nvPicPr>
          <p:cNvPr id="41" name="Immagine 120" descr="48a biaco-01.png"/>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262393" y="894408"/>
            <a:ext cx="641960" cy="641960"/>
          </a:xfrm>
          <a:prstGeom prst="ellipse">
            <a:avLst/>
          </a:prstGeom>
          <a:solidFill>
            <a:srgbClr val="00AFD0"/>
          </a:solidFill>
          <a:ln w="19050">
            <a:solidFill>
              <a:srgbClr val="C0E4ED"/>
            </a:solidFill>
          </a:ln>
        </p:spPr>
      </p:pic>
      <p:sp>
        <p:nvSpPr>
          <p:cNvPr id="9" name="Rectangle 8" hidden="1"/>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GB" sz="2400" b="1" dirty="0">
              <a:latin typeface="UniCredit" panose="02000506040000020004" pitchFamily="2" charset="0"/>
              <a:ea typeface="+mj-ea"/>
              <a:cs typeface="Arial" panose="020B0604020202020204" pitchFamily="34" charset="0"/>
              <a:sym typeface="UniCredit" panose="02000506040000020004" pitchFamily="2" charset="0"/>
            </a:endParaRPr>
          </a:p>
        </p:txBody>
      </p:sp>
      <p:grpSp>
        <p:nvGrpSpPr>
          <p:cNvPr id="53" name="Group 52"/>
          <p:cNvGrpSpPr/>
          <p:nvPr/>
        </p:nvGrpSpPr>
        <p:grpSpPr>
          <a:xfrm>
            <a:off x="4391645" y="1823440"/>
            <a:ext cx="2158201" cy="1366365"/>
            <a:chOff x="3683440" y="1887841"/>
            <a:chExt cx="2158201" cy="1366365"/>
          </a:xfrm>
        </p:grpSpPr>
        <p:sp>
          <p:nvSpPr>
            <p:cNvPr id="34" name="Rectangle 33">
              <a:extLst>
                <a:ext uri="{FF2B5EF4-FFF2-40B4-BE49-F238E27FC236}">
                  <a16:creationId xmlns:a16="http://schemas.microsoft.com/office/drawing/2014/main" id="{C9F16D26-812A-4B24-A96F-04EF5037AE69}"/>
                </a:ext>
              </a:extLst>
            </p:cNvPr>
            <p:cNvSpPr/>
            <p:nvPr/>
          </p:nvSpPr>
          <p:spPr>
            <a:xfrm>
              <a:off x="3683440" y="2409000"/>
              <a:ext cx="2158201" cy="845206"/>
            </a:xfrm>
            <a:prstGeom prst="rect">
              <a:avLst/>
            </a:prstGeom>
          </p:spPr>
          <p:txBody>
            <a:bodyPr wrap="square">
              <a:noAutofit/>
            </a:bodyPr>
            <a:lstStyle/>
            <a:p>
              <a:pPr algn="ctr">
                <a:lnSpc>
                  <a:spcPct val="150000"/>
                </a:lnSpc>
                <a:buClr>
                  <a:srgbClr val="00AFD0"/>
                </a:buClr>
              </a:pPr>
              <a:r>
                <a:rPr lang="en-US" sz="1800" b="1" dirty="0">
                  <a:latin typeface="UniCredit" panose="02000506040000020004" pitchFamily="2" charset="0"/>
                </a:rPr>
                <a:t>Back End</a:t>
              </a:r>
              <a:r>
                <a:rPr lang="en-US" sz="1800" dirty="0">
                  <a:latin typeface="UniCredit" panose="02000506040000020004" pitchFamily="2" charset="0"/>
                </a:rPr>
                <a:t> </a:t>
              </a:r>
            </a:p>
            <a:p>
              <a:pPr algn="ctr">
                <a:buClr>
                  <a:srgbClr val="00AFD0"/>
                </a:buClr>
              </a:pPr>
              <a:r>
                <a:rPr lang="en-US" sz="1400" dirty="0"/>
                <a:t>JUnit5,</a:t>
              </a:r>
            </a:p>
            <a:p>
              <a:pPr algn="ctr">
                <a:buClr>
                  <a:srgbClr val="00AFD0"/>
                </a:buClr>
              </a:pPr>
              <a:r>
                <a:rPr lang="en-US" sz="1400" dirty="0" err="1"/>
                <a:t>Powermock</a:t>
              </a:r>
              <a:r>
                <a:rPr lang="en-US" sz="1400" dirty="0"/>
                <a:t>, </a:t>
              </a:r>
            </a:p>
            <a:p>
              <a:pPr algn="ctr">
                <a:buClr>
                  <a:srgbClr val="00AFD0"/>
                </a:buClr>
              </a:pPr>
              <a:r>
                <a:rPr lang="en-US" sz="1400" dirty="0"/>
                <a:t>Mockito</a:t>
              </a:r>
            </a:p>
            <a:p>
              <a:pPr algn="ctr"/>
              <a:endParaRPr lang="en-US" sz="1400" dirty="0">
                <a:latin typeface="UniCredit" panose="02000506040000020004" pitchFamily="2" charset="0"/>
              </a:endParaRPr>
            </a:p>
          </p:txBody>
        </p:sp>
        <p:pic>
          <p:nvPicPr>
            <p:cNvPr id="50" name="Immagine 114" descr="46a biaco-01.png"/>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4557855" y="1887841"/>
              <a:ext cx="464400" cy="464400"/>
            </a:xfrm>
            <a:prstGeom prst="ellipse">
              <a:avLst/>
            </a:prstGeom>
            <a:solidFill>
              <a:srgbClr val="00AFD0"/>
            </a:solidFill>
            <a:ln w="19050">
              <a:solidFill>
                <a:srgbClr val="C0E4ED"/>
              </a:solidFill>
            </a:ln>
          </p:spPr>
        </p:pic>
      </p:grpSp>
      <p:grpSp>
        <p:nvGrpSpPr>
          <p:cNvPr id="52" name="Group 51"/>
          <p:cNvGrpSpPr/>
          <p:nvPr/>
        </p:nvGrpSpPr>
        <p:grpSpPr>
          <a:xfrm>
            <a:off x="6711088" y="1823440"/>
            <a:ext cx="2158201" cy="1366365"/>
            <a:chOff x="6503304" y="1887841"/>
            <a:chExt cx="2158201" cy="1366365"/>
          </a:xfrm>
        </p:grpSpPr>
        <p:sp>
          <p:nvSpPr>
            <p:cNvPr id="42" name="Rectangle 41">
              <a:extLst>
                <a:ext uri="{FF2B5EF4-FFF2-40B4-BE49-F238E27FC236}">
                  <a16:creationId xmlns:a16="http://schemas.microsoft.com/office/drawing/2014/main" id="{C9F16D26-812A-4B24-A96F-04EF5037AE69}"/>
                </a:ext>
              </a:extLst>
            </p:cNvPr>
            <p:cNvSpPr/>
            <p:nvPr/>
          </p:nvSpPr>
          <p:spPr>
            <a:xfrm>
              <a:off x="6503304" y="2409000"/>
              <a:ext cx="2158201" cy="845206"/>
            </a:xfrm>
            <a:prstGeom prst="rect">
              <a:avLst/>
            </a:prstGeom>
          </p:spPr>
          <p:txBody>
            <a:bodyPr wrap="square">
              <a:noAutofit/>
            </a:bodyPr>
            <a:lstStyle/>
            <a:p>
              <a:pPr algn="ctr">
                <a:lnSpc>
                  <a:spcPct val="150000"/>
                </a:lnSpc>
                <a:buClr>
                  <a:srgbClr val="00AFD0"/>
                </a:buClr>
              </a:pPr>
              <a:r>
                <a:rPr lang="en-US" sz="1800" b="1" dirty="0">
                  <a:latin typeface="UniCredit" panose="02000506040000020004" pitchFamily="2" charset="0"/>
                </a:rPr>
                <a:t>Front End </a:t>
              </a:r>
            </a:p>
            <a:p>
              <a:pPr algn="ctr">
                <a:buClr>
                  <a:srgbClr val="00AFD0"/>
                </a:buClr>
              </a:pPr>
              <a:r>
                <a:rPr lang="en-US" sz="1400" dirty="0"/>
                <a:t>Karma</a:t>
              </a:r>
            </a:p>
            <a:p>
              <a:pPr algn="ctr"/>
              <a:endParaRPr lang="en-US" sz="1400" dirty="0">
                <a:latin typeface="UniCredit" panose="02000506040000020004" pitchFamily="2" charset="0"/>
              </a:endParaRPr>
            </a:p>
          </p:txBody>
        </p:sp>
        <p:pic>
          <p:nvPicPr>
            <p:cNvPr id="51" name="Immagine 12" descr="Internet banking circle-01.png"/>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7317131" y="1887841"/>
              <a:ext cx="464400" cy="464400"/>
            </a:xfrm>
            <a:prstGeom prst="ellipse">
              <a:avLst/>
            </a:prstGeom>
            <a:solidFill>
              <a:srgbClr val="00AFD0"/>
            </a:solidFill>
            <a:ln w="19050">
              <a:solidFill>
                <a:srgbClr val="C0E4ED"/>
              </a:solidFill>
            </a:ln>
          </p:spPr>
        </p:pic>
      </p:grpSp>
    </p:spTree>
    <p:extLst>
      <p:ext uri="{BB962C8B-B14F-4D97-AF65-F5344CB8AC3E}">
        <p14:creationId xmlns:p14="http://schemas.microsoft.com/office/powerpoint/2010/main" val="170656962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Object 34" hidden="1">
            <a:extLst>
              <a:ext uri="{FF2B5EF4-FFF2-40B4-BE49-F238E27FC236}">
                <a16:creationId xmlns:a16="http://schemas.microsoft.com/office/drawing/2014/main" id="{4C781002-2313-4803-A01A-071A6AB2FB9B}"/>
              </a:ext>
            </a:extLst>
          </p:cNvPr>
          <p:cNvGraphicFramePr>
            <a:graphicFrameLocks noChangeAspect="1"/>
          </p:cNvGraphicFramePr>
          <p:nvPr>
            <p:custDataLst>
              <p:tags r:id="rId2"/>
            </p:custDataLst>
            <p:extLst>
              <p:ext uri="{D42A27DB-BD31-4B8C-83A1-F6EECF244321}">
                <p14:modId xmlns:p14="http://schemas.microsoft.com/office/powerpoint/2010/main" val="8644756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79" name="think-cell Slide" r:id="rId5" imgW="360" imgH="360" progId="TCLayout.ActiveDocument.1">
                  <p:embed/>
                </p:oleObj>
              </mc:Choice>
              <mc:Fallback>
                <p:oleObj name="think-cell Slide" r:id="rId5" imgW="360" imgH="360" progId="TCLayout.ActiveDocument.1">
                  <p:embed/>
                  <p:pic>
                    <p:nvPicPr>
                      <p:cNvPr id="35" name="Object 34" hidden="1">
                        <a:extLst>
                          <a:ext uri="{FF2B5EF4-FFF2-40B4-BE49-F238E27FC236}">
                            <a16:creationId xmlns:a16="http://schemas.microsoft.com/office/drawing/2014/main" id="{4C781002-2313-4803-A01A-071A6AB2FB9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6" name="Rectangle 35" hidden="1">
            <a:extLst>
              <a:ext uri="{FF2B5EF4-FFF2-40B4-BE49-F238E27FC236}">
                <a16:creationId xmlns:a16="http://schemas.microsoft.com/office/drawing/2014/main" id="{1F08D6A1-39DF-43FB-878F-188581D16D3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UniCredit" panose="02000506040000020004" pitchFamily="2" charset="0"/>
              <a:ea typeface="+mj-ea"/>
              <a:cs typeface="Arial" panose="020B0604020202020204" pitchFamily="34" charset="0"/>
              <a:sym typeface="UniCredit" panose="02000506040000020004" pitchFamily="2" charset="0"/>
            </a:endParaRPr>
          </a:p>
        </p:txBody>
      </p:sp>
      <p:sp>
        <p:nvSpPr>
          <p:cNvPr id="2" name="Text Placeholder 1">
            <a:extLst>
              <a:ext uri="{FF2B5EF4-FFF2-40B4-BE49-F238E27FC236}">
                <a16:creationId xmlns:a16="http://schemas.microsoft.com/office/drawing/2014/main" id="{37C31D72-88E7-4CA4-97CC-DF95C6596AE8}"/>
              </a:ext>
            </a:extLst>
          </p:cNvPr>
          <p:cNvSpPr>
            <a:spLocks noGrp="1"/>
          </p:cNvSpPr>
          <p:nvPr>
            <p:ph type="body" sz="quarter" idx="12"/>
          </p:nvPr>
        </p:nvSpPr>
        <p:spPr/>
        <p:txBody>
          <a:bodyPr/>
          <a:lstStyle/>
          <a:p>
            <a:endParaRPr lang="en-US"/>
          </a:p>
        </p:txBody>
      </p:sp>
      <p:sp>
        <p:nvSpPr>
          <p:cNvPr id="3" name="Text Placeholder 2">
            <a:extLst>
              <a:ext uri="{FF2B5EF4-FFF2-40B4-BE49-F238E27FC236}">
                <a16:creationId xmlns:a16="http://schemas.microsoft.com/office/drawing/2014/main" id="{EBBD6DAB-6B2B-42CC-9A99-3EDE6EF054BF}"/>
              </a:ext>
            </a:extLst>
          </p:cNvPr>
          <p:cNvSpPr>
            <a:spLocks noGrp="1"/>
          </p:cNvSpPr>
          <p:nvPr>
            <p:ph type="body" sz="quarter" idx="16"/>
          </p:nvPr>
        </p:nvSpPr>
        <p:spPr/>
        <p:txBody>
          <a:bodyPr/>
          <a:lstStyle/>
          <a:p>
            <a:endParaRPr lang="en-US"/>
          </a:p>
        </p:txBody>
      </p:sp>
      <p:sp>
        <p:nvSpPr>
          <p:cNvPr id="4" name="Slide Number Placeholder 3">
            <a:extLst>
              <a:ext uri="{FF2B5EF4-FFF2-40B4-BE49-F238E27FC236}">
                <a16:creationId xmlns:a16="http://schemas.microsoft.com/office/drawing/2014/main" id="{82835AA4-731A-42C0-9605-CE5C097D862B}"/>
              </a:ext>
            </a:extLst>
          </p:cNvPr>
          <p:cNvSpPr>
            <a:spLocks noGrp="1"/>
          </p:cNvSpPr>
          <p:nvPr>
            <p:ph type="sldNum" sz="quarter" idx="11"/>
          </p:nvPr>
        </p:nvSpPr>
        <p:spPr/>
        <p:txBody>
          <a:bodyPr/>
          <a:lstStyle/>
          <a:p>
            <a:fld id="{9E8169F0-646E-455B-AF5A-6D6C02EAEAF6}" type="slidenum">
              <a:rPr lang="en-GB" noProof="1" smtClean="0"/>
              <a:t>23</a:t>
            </a:fld>
            <a:endParaRPr lang="en-GB" noProof="1"/>
          </a:p>
        </p:txBody>
      </p:sp>
      <p:graphicFrame>
        <p:nvGraphicFramePr>
          <p:cNvPr id="7" name="Content Placeholder 6">
            <a:extLst>
              <a:ext uri="{FF2B5EF4-FFF2-40B4-BE49-F238E27FC236}">
                <a16:creationId xmlns:a16="http://schemas.microsoft.com/office/drawing/2014/main" id="{B213A504-AF0B-4DEB-B8A6-057B0B9F9935}"/>
              </a:ext>
            </a:extLst>
          </p:cNvPr>
          <p:cNvGraphicFramePr>
            <a:graphicFrameLocks noGrp="1"/>
          </p:cNvGraphicFramePr>
          <p:nvPr>
            <p:ph sz="quarter" idx="15"/>
            <p:extLst>
              <p:ext uri="{D42A27DB-BD31-4B8C-83A1-F6EECF244321}">
                <p14:modId xmlns:p14="http://schemas.microsoft.com/office/powerpoint/2010/main" val="2422641970"/>
              </p:ext>
            </p:extLst>
          </p:nvPr>
        </p:nvGraphicFramePr>
        <p:xfrm>
          <a:off x="232568" y="1662658"/>
          <a:ext cx="8678863" cy="793939"/>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6" name="Title 5">
            <a:extLst>
              <a:ext uri="{FF2B5EF4-FFF2-40B4-BE49-F238E27FC236}">
                <a16:creationId xmlns:a16="http://schemas.microsoft.com/office/drawing/2014/main" id="{4CEBBF5F-7584-4FE7-8A89-E5F2743DBDC0}"/>
              </a:ext>
            </a:extLst>
          </p:cNvPr>
          <p:cNvSpPr>
            <a:spLocks noGrp="1"/>
          </p:cNvSpPr>
          <p:nvPr>
            <p:ph type="title"/>
          </p:nvPr>
        </p:nvSpPr>
        <p:spPr/>
        <p:txBody>
          <a:bodyPr/>
          <a:lstStyle/>
          <a:p>
            <a:r>
              <a:rPr lang="en-US" dirty="0"/>
              <a:t>Sonar Quality Gate for code coverage and vulnerabilities scan</a:t>
            </a:r>
          </a:p>
        </p:txBody>
      </p:sp>
      <p:graphicFrame>
        <p:nvGraphicFramePr>
          <p:cNvPr id="8" name="Content Placeholder 6">
            <a:extLst>
              <a:ext uri="{FF2B5EF4-FFF2-40B4-BE49-F238E27FC236}">
                <a16:creationId xmlns:a16="http://schemas.microsoft.com/office/drawing/2014/main" id="{4012480D-4ACF-46ED-A5BC-A161DB9452BD}"/>
              </a:ext>
            </a:extLst>
          </p:cNvPr>
          <p:cNvGraphicFramePr>
            <a:graphicFrameLocks/>
          </p:cNvGraphicFramePr>
          <p:nvPr/>
        </p:nvGraphicFramePr>
        <p:xfrm>
          <a:off x="1958454" y="1330658"/>
          <a:ext cx="6121021" cy="416256"/>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grpSp>
        <p:nvGrpSpPr>
          <p:cNvPr id="12" name="Gruppo 57">
            <a:extLst>
              <a:ext uri="{FF2B5EF4-FFF2-40B4-BE49-F238E27FC236}">
                <a16:creationId xmlns:a16="http://schemas.microsoft.com/office/drawing/2014/main" id="{96E0BE94-53DC-4071-8828-0459313D9456}"/>
              </a:ext>
            </a:extLst>
          </p:cNvPr>
          <p:cNvGrpSpPr/>
          <p:nvPr/>
        </p:nvGrpSpPr>
        <p:grpSpPr>
          <a:xfrm>
            <a:off x="5508245" y="2405035"/>
            <a:ext cx="529106" cy="366887"/>
            <a:chOff x="6946025" y="2094577"/>
            <a:chExt cx="723806" cy="478077"/>
          </a:xfrm>
        </p:grpSpPr>
        <p:pic>
          <p:nvPicPr>
            <p:cNvPr id="25" name="Grafik 143">
              <a:extLst>
                <a:ext uri="{FF2B5EF4-FFF2-40B4-BE49-F238E27FC236}">
                  <a16:creationId xmlns:a16="http://schemas.microsoft.com/office/drawing/2014/main" id="{DEFF508D-9999-4AA0-A2B0-59E721894D31}"/>
                </a:ext>
              </a:extLst>
            </p:cNvPr>
            <p:cNvPicPr>
              <a:picLocks noChangeAspect="1"/>
            </p:cNvPicPr>
            <p:nvPr/>
          </p:nvPicPr>
          <p:blipFill>
            <a:blip r:embed="rId17"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6946025" y="2122512"/>
              <a:ext cx="723806" cy="450142"/>
            </a:xfrm>
            <a:prstGeom prst="rect">
              <a:avLst/>
            </a:prstGeom>
          </p:spPr>
        </p:pic>
        <p:sp>
          <p:nvSpPr>
            <p:cNvPr id="26" name="CasellaDiTesto 59">
              <a:extLst>
                <a:ext uri="{FF2B5EF4-FFF2-40B4-BE49-F238E27FC236}">
                  <a16:creationId xmlns:a16="http://schemas.microsoft.com/office/drawing/2014/main" id="{EF7AC9F6-CBEE-498A-B32B-FECA87197DA1}"/>
                </a:ext>
              </a:extLst>
            </p:cNvPr>
            <p:cNvSpPr txBox="1"/>
            <p:nvPr/>
          </p:nvSpPr>
          <p:spPr>
            <a:xfrm>
              <a:off x="7225224" y="2094577"/>
              <a:ext cx="434106" cy="158833"/>
            </a:xfrm>
            <a:prstGeom prst="rect">
              <a:avLst/>
            </a:prstGeom>
            <a:solidFill>
              <a:sysClr val="window" lastClr="FFFFFF"/>
            </a:solid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1" i="1" u="none" strike="noStrike" kern="0" cap="none" spc="0" normalizeH="0" baseline="0" noProof="0" dirty="0">
                  <a:ln>
                    <a:noFill/>
                  </a:ln>
                  <a:solidFill>
                    <a:srgbClr val="999999"/>
                  </a:solidFill>
                  <a:effectLst/>
                  <a:uLnTx/>
                  <a:uFillTx/>
                  <a:latin typeface="UniCredit"/>
                  <a:cs typeface="Arial" charset="0"/>
                </a:rPr>
                <a:t>DEPLOY</a:t>
              </a:r>
              <a:endParaRPr kumimoji="0" lang="en-US" sz="1400" b="1" i="1" u="none" strike="noStrike" kern="0" cap="none" spc="0" normalizeH="0" baseline="0" noProof="0" dirty="0">
                <a:ln>
                  <a:noFill/>
                </a:ln>
                <a:solidFill>
                  <a:srgbClr val="999999"/>
                </a:solidFill>
                <a:effectLst/>
                <a:uLnTx/>
                <a:uFillTx/>
                <a:latin typeface="UniCredit"/>
                <a:cs typeface="Arial" charset="0"/>
              </a:endParaRPr>
            </a:p>
          </p:txBody>
        </p:sp>
      </p:grpSp>
      <p:pic>
        <p:nvPicPr>
          <p:cNvPr id="13" name="Immagine 68">
            <a:extLst>
              <a:ext uri="{FF2B5EF4-FFF2-40B4-BE49-F238E27FC236}">
                <a16:creationId xmlns:a16="http://schemas.microsoft.com/office/drawing/2014/main" id="{0141B9BC-946F-47F8-B222-7B5FB3E42FAB}"/>
              </a:ext>
            </a:extLst>
          </p:cNvPr>
          <p:cNvPicPr>
            <a:picLocks noChangeAspect="1"/>
          </p:cNvPicPr>
          <p:nvPr/>
        </p:nvPicPr>
        <p:blipFill>
          <a:blip r:embed="rId18"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4988808" y="937660"/>
            <a:ext cx="527698" cy="316419"/>
          </a:xfrm>
          <a:prstGeom prst="rect">
            <a:avLst/>
          </a:prstGeom>
        </p:spPr>
      </p:pic>
      <p:pic>
        <p:nvPicPr>
          <p:cNvPr id="14" name="Immagine 90">
            <a:extLst>
              <a:ext uri="{FF2B5EF4-FFF2-40B4-BE49-F238E27FC236}">
                <a16:creationId xmlns:a16="http://schemas.microsoft.com/office/drawing/2014/main" id="{1F6956C0-6AD7-42B3-8A6D-229457FA84E4}"/>
              </a:ext>
            </a:extLst>
          </p:cNvPr>
          <p:cNvPicPr>
            <a:picLocks noChangeAspect="1"/>
          </p:cNvPicPr>
          <p:nvPr/>
        </p:nvPicPr>
        <p:blipFill>
          <a:blip r:embed="rId19"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6322667" y="2477700"/>
            <a:ext cx="622008" cy="197186"/>
          </a:xfrm>
          <a:prstGeom prst="rect">
            <a:avLst/>
          </a:prstGeom>
        </p:spPr>
      </p:pic>
      <p:pic>
        <p:nvPicPr>
          <p:cNvPr id="15" name="Immagine 92">
            <a:extLst>
              <a:ext uri="{FF2B5EF4-FFF2-40B4-BE49-F238E27FC236}">
                <a16:creationId xmlns:a16="http://schemas.microsoft.com/office/drawing/2014/main" id="{5A757FDC-EB77-47F4-9B34-CA7FB43E3E65}"/>
              </a:ext>
            </a:extLst>
          </p:cNvPr>
          <p:cNvPicPr>
            <a:picLocks noChangeAspect="1"/>
          </p:cNvPicPr>
          <p:nvPr/>
        </p:nvPicPr>
        <p:blipFill>
          <a:blip r:embed="rId20"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7222315" y="2370242"/>
            <a:ext cx="576113" cy="376123"/>
          </a:xfrm>
          <a:prstGeom prst="rect">
            <a:avLst/>
          </a:prstGeom>
        </p:spPr>
      </p:pic>
      <p:pic>
        <p:nvPicPr>
          <p:cNvPr id="17" name="Immagine 124">
            <a:extLst>
              <a:ext uri="{FF2B5EF4-FFF2-40B4-BE49-F238E27FC236}">
                <a16:creationId xmlns:a16="http://schemas.microsoft.com/office/drawing/2014/main" id="{0D3D192C-F36A-401A-BDC0-CD9B1DF67085}"/>
              </a:ext>
            </a:extLst>
          </p:cNvPr>
          <p:cNvPicPr>
            <a:picLocks noChangeAspect="1"/>
          </p:cNvPicPr>
          <p:nvPr/>
        </p:nvPicPr>
        <p:blipFill>
          <a:blip r:embed="rId21" cstate="email">
            <a:extLst>
              <a:ext uri="{28A0092B-C50C-407E-A947-70E740481C1C}">
                <a14:useLocalDpi xmlns:a14="http://schemas.microsoft.com/office/drawing/2010/main"/>
              </a:ext>
            </a:extLst>
          </a:blip>
          <a:stretch>
            <a:fillRect/>
          </a:stretch>
        </p:blipFill>
        <p:spPr>
          <a:xfrm>
            <a:off x="3576062" y="2400916"/>
            <a:ext cx="1045724" cy="402234"/>
          </a:xfrm>
          <a:prstGeom prst="rect">
            <a:avLst/>
          </a:prstGeom>
        </p:spPr>
      </p:pic>
      <p:pic>
        <p:nvPicPr>
          <p:cNvPr id="18" name="Picture 4" descr="JUnit – About">
            <a:extLst>
              <a:ext uri="{FF2B5EF4-FFF2-40B4-BE49-F238E27FC236}">
                <a16:creationId xmlns:a16="http://schemas.microsoft.com/office/drawing/2014/main" id="{43D69F85-738D-4488-A255-E84FECD44BE3}"/>
              </a:ext>
            </a:extLst>
          </p:cNvPr>
          <p:cNvPicPr>
            <a:picLocks noChangeAspect="1" noChangeArrowheads="1"/>
          </p:cNvPicPr>
          <p:nvPr/>
        </p:nvPicPr>
        <p:blipFill>
          <a:blip r:embed="rId22" cstate="email">
            <a:duotone>
              <a:schemeClr val="bg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3006688" y="2496035"/>
            <a:ext cx="493019" cy="155210"/>
          </a:xfrm>
          <a:prstGeom prst="rect">
            <a:avLst/>
          </a:prstGeom>
          <a:noFill/>
          <a:extLst>
            <a:ext uri="{909E8E84-426E-40DD-AFC4-6F175D3DCCD1}">
              <a14:hiddenFill xmlns:a14="http://schemas.microsoft.com/office/drawing/2010/main">
                <a:solidFill>
                  <a:srgbClr val="FFFFFF"/>
                </a:solidFill>
              </a14:hiddenFill>
            </a:ext>
          </a:extLst>
        </p:spPr>
      </p:pic>
      <p:grpSp>
        <p:nvGrpSpPr>
          <p:cNvPr id="19" name="Gruppo 12">
            <a:extLst>
              <a:ext uri="{FF2B5EF4-FFF2-40B4-BE49-F238E27FC236}">
                <a16:creationId xmlns:a16="http://schemas.microsoft.com/office/drawing/2014/main" id="{F3DC3895-2715-40DE-8A2B-A4D3871C6BC2}"/>
              </a:ext>
            </a:extLst>
          </p:cNvPr>
          <p:cNvGrpSpPr/>
          <p:nvPr/>
        </p:nvGrpSpPr>
        <p:grpSpPr>
          <a:xfrm>
            <a:off x="4708823" y="2238895"/>
            <a:ext cx="547002" cy="457094"/>
            <a:chOff x="8284888" y="2480464"/>
            <a:chExt cx="569212" cy="461665"/>
          </a:xfrm>
        </p:grpSpPr>
        <p:pic>
          <p:nvPicPr>
            <p:cNvPr id="23" name="Immagine 40">
              <a:extLst>
                <a:ext uri="{FF2B5EF4-FFF2-40B4-BE49-F238E27FC236}">
                  <a16:creationId xmlns:a16="http://schemas.microsoft.com/office/drawing/2014/main" id="{8C31A6CE-D9F6-4E08-9C3F-2EAD7378E351}"/>
                </a:ext>
              </a:extLst>
            </p:cNvPr>
            <p:cNvPicPr>
              <a:picLocks noChangeAspect="1"/>
            </p:cNvPicPr>
            <p:nvPr/>
          </p:nvPicPr>
          <p:blipFill>
            <a:blip r:embed="rId23"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8284888" y="2711297"/>
              <a:ext cx="490862" cy="197995"/>
            </a:xfrm>
            <a:prstGeom prst="rect">
              <a:avLst/>
            </a:prstGeom>
            <a:solidFill>
              <a:sysClr val="window" lastClr="FFFFFF"/>
            </a:solidFill>
          </p:spPr>
        </p:pic>
        <p:sp>
          <p:nvSpPr>
            <p:cNvPr id="24" name="CasellaDiTesto 81">
              <a:extLst>
                <a:ext uri="{FF2B5EF4-FFF2-40B4-BE49-F238E27FC236}">
                  <a16:creationId xmlns:a16="http://schemas.microsoft.com/office/drawing/2014/main" id="{6B613A88-89B7-47B0-8A52-A599BD41CADB}"/>
                </a:ext>
              </a:extLst>
            </p:cNvPr>
            <p:cNvSpPr txBox="1"/>
            <p:nvPr/>
          </p:nvSpPr>
          <p:spPr>
            <a:xfrm>
              <a:off x="8669369" y="2480464"/>
              <a:ext cx="184731" cy="461665"/>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dirty="0">
                <a:ln>
                  <a:noFill/>
                </a:ln>
                <a:solidFill>
                  <a:srgbClr val="999999"/>
                </a:solidFill>
                <a:effectLst/>
                <a:uLnTx/>
                <a:uFillTx/>
                <a:latin typeface="UniCredit"/>
                <a:cs typeface="Arial" charset="0"/>
              </a:endParaRPr>
            </a:p>
          </p:txBody>
        </p:sp>
      </p:grpSp>
      <p:pic>
        <p:nvPicPr>
          <p:cNvPr id="20" name="Graphic 19">
            <a:extLst>
              <a:ext uri="{FF2B5EF4-FFF2-40B4-BE49-F238E27FC236}">
                <a16:creationId xmlns:a16="http://schemas.microsoft.com/office/drawing/2014/main" id="{F78FA946-A515-477A-9B6D-1F2533606B92}"/>
              </a:ext>
            </a:extLst>
          </p:cNvPr>
          <p:cNvPicPr>
            <a:picLocks noChangeAspect="1"/>
          </p:cNvPicPr>
          <p:nvPr/>
        </p:nvPicPr>
        <p:blipFill>
          <a:blip r:embed="rId24" cstate="email">
            <a:duotone>
              <a:schemeClr val="bg2">
                <a:shade val="45000"/>
                <a:satMod val="135000"/>
              </a:schemeClr>
              <a:prstClr val="white"/>
            </a:duotone>
            <a:extLst>
              <a:ext uri="{28A0092B-C50C-407E-A947-70E740481C1C}">
                <a14:useLocalDpi xmlns:a14="http://schemas.microsoft.com/office/drawing/2010/main"/>
              </a:ext>
              <a:ext uri="{96DAC541-7B7A-43D3-8B79-37D633B846F1}">
                <asvg:svgBlip xmlns:asvg="http://schemas.microsoft.com/office/drawing/2016/SVG/main" r:embed="rId25"/>
              </a:ext>
            </a:extLst>
          </a:blip>
          <a:stretch>
            <a:fillRect/>
          </a:stretch>
        </p:blipFill>
        <p:spPr>
          <a:xfrm>
            <a:off x="502979" y="2794878"/>
            <a:ext cx="527698" cy="281008"/>
          </a:xfrm>
          <a:prstGeom prst="rect">
            <a:avLst/>
          </a:prstGeom>
        </p:spPr>
      </p:pic>
      <p:pic>
        <p:nvPicPr>
          <p:cNvPr id="21" name="Picture 6" descr="Jira - Logo">
            <a:extLst>
              <a:ext uri="{FF2B5EF4-FFF2-40B4-BE49-F238E27FC236}">
                <a16:creationId xmlns:a16="http://schemas.microsoft.com/office/drawing/2014/main" id="{46421F2C-80A9-4993-A330-F72A33680620}"/>
              </a:ext>
            </a:extLst>
          </p:cNvPr>
          <p:cNvPicPr>
            <a:picLocks noChangeAspect="1" noChangeArrowheads="1"/>
          </p:cNvPicPr>
          <p:nvPr/>
        </p:nvPicPr>
        <p:blipFill>
          <a:blip r:embed="rId26" cstate="email">
            <a:duotone>
              <a:schemeClr val="bg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473623" y="2466704"/>
            <a:ext cx="475044" cy="212178"/>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6">
            <a:extLst>
              <a:ext uri="{FF2B5EF4-FFF2-40B4-BE49-F238E27FC236}">
                <a16:creationId xmlns:a16="http://schemas.microsoft.com/office/drawing/2014/main" id="{8E43D0E3-532C-4C39-99C9-20721793742D}"/>
              </a:ext>
            </a:extLst>
          </p:cNvPr>
          <p:cNvPicPr>
            <a:picLocks noChangeAspect="1"/>
          </p:cNvPicPr>
          <p:nvPr/>
        </p:nvPicPr>
        <p:blipFill>
          <a:blip r:embed="rId27"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3117583" y="3230769"/>
            <a:ext cx="271228" cy="291643"/>
          </a:xfrm>
          <a:prstGeom prst="rect">
            <a:avLst/>
          </a:prstGeom>
        </p:spPr>
      </p:pic>
      <p:grpSp>
        <p:nvGrpSpPr>
          <p:cNvPr id="30" name="Gruppo 57">
            <a:extLst>
              <a:ext uri="{FF2B5EF4-FFF2-40B4-BE49-F238E27FC236}">
                <a16:creationId xmlns:a16="http://schemas.microsoft.com/office/drawing/2014/main" id="{DE5DFB16-D2CA-496C-BD55-F2D48342B748}"/>
              </a:ext>
            </a:extLst>
          </p:cNvPr>
          <p:cNvGrpSpPr/>
          <p:nvPr/>
        </p:nvGrpSpPr>
        <p:grpSpPr>
          <a:xfrm>
            <a:off x="8076068" y="2412332"/>
            <a:ext cx="529106" cy="366887"/>
            <a:chOff x="6946025" y="2094577"/>
            <a:chExt cx="723806" cy="478077"/>
          </a:xfrm>
        </p:grpSpPr>
        <p:pic>
          <p:nvPicPr>
            <p:cNvPr id="31" name="Grafik 143">
              <a:extLst>
                <a:ext uri="{FF2B5EF4-FFF2-40B4-BE49-F238E27FC236}">
                  <a16:creationId xmlns:a16="http://schemas.microsoft.com/office/drawing/2014/main" id="{C74DA0A2-E42C-419D-A1E6-613AA6E5A8E6}"/>
                </a:ext>
              </a:extLst>
            </p:cNvPr>
            <p:cNvPicPr>
              <a:picLocks noChangeAspect="1"/>
            </p:cNvPicPr>
            <p:nvPr/>
          </p:nvPicPr>
          <p:blipFill>
            <a:blip r:embed="rId17"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6946025" y="2122512"/>
              <a:ext cx="723806" cy="450142"/>
            </a:xfrm>
            <a:prstGeom prst="rect">
              <a:avLst/>
            </a:prstGeom>
          </p:spPr>
        </p:pic>
        <p:sp>
          <p:nvSpPr>
            <p:cNvPr id="32" name="CasellaDiTesto 59">
              <a:extLst>
                <a:ext uri="{FF2B5EF4-FFF2-40B4-BE49-F238E27FC236}">
                  <a16:creationId xmlns:a16="http://schemas.microsoft.com/office/drawing/2014/main" id="{C6BE75B0-EEDD-42DA-8834-701850B9CB36}"/>
                </a:ext>
              </a:extLst>
            </p:cNvPr>
            <p:cNvSpPr txBox="1"/>
            <p:nvPr/>
          </p:nvSpPr>
          <p:spPr>
            <a:xfrm>
              <a:off x="7225224" y="2094577"/>
              <a:ext cx="434106" cy="158833"/>
            </a:xfrm>
            <a:prstGeom prst="rect">
              <a:avLst/>
            </a:prstGeom>
            <a:solidFill>
              <a:sysClr val="window" lastClr="FFFFFF"/>
            </a:solid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1" i="1" u="none" strike="noStrike" kern="0" cap="none" spc="0" normalizeH="0" baseline="0" noProof="0" dirty="0">
                  <a:ln>
                    <a:noFill/>
                  </a:ln>
                  <a:solidFill>
                    <a:srgbClr val="999999"/>
                  </a:solidFill>
                  <a:effectLst/>
                  <a:uLnTx/>
                  <a:uFillTx/>
                  <a:latin typeface="UniCredit"/>
                  <a:cs typeface="Arial" charset="0"/>
                </a:rPr>
                <a:t>DEPLOY</a:t>
              </a:r>
              <a:endParaRPr kumimoji="0" lang="en-US" sz="1400" b="1" i="1" u="none" strike="noStrike" kern="0" cap="none" spc="0" normalizeH="0" baseline="0" noProof="0" dirty="0">
                <a:ln>
                  <a:noFill/>
                </a:ln>
                <a:solidFill>
                  <a:srgbClr val="999999"/>
                </a:solidFill>
                <a:effectLst/>
                <a:uLnTx/>
                <a:uFillTx/>
                <a:latin typeface="UniCredit"/>
                <a:cs typeface="Arial" charset="0"/>
              </a:endParaRPr>
            </a:p>
          </p:txBody>
        </p:sp>
      </p:grpSp>
      <p:pic>
        <p:nvPicPr>
          <p:cNvPr id="33" name="Picture 28" descr="WireMock for Java Developers | Udemy">
            <a:extLst>
              <a:ext uri="{FF2B5EF4-FFF2-40B4-BE49-F238E27FC236}">
                <a16:creationId xmlns:a16="http://schemas.microsoft.com/office/drawing/2014/main" id="{24A9A257-90C9-4533-934C-7A70205C7E26}"/>
              </a:ext>
            </a:extLst>
          </p:cNvPr>
          <p:cNvPicPr>
            <a:picLocks noChangeAspect="1" noChangeArrowheads="1"/>
          </p:cNvPicPr>
          <p:nvPr/>
        </p:nvPicPr>
        <p:blipFill>
          <a:blip r:embed="rId28" cstate="print">
            <a:duotone>
              <a:schemeClr val="bg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6806341" y="2862878"/>
            <a:ext cx="518476" cy="291643"/>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20" descr="Liquibase | Database CI/CD &amp; Automation | Database DevOps">
            <a:extLst>
              <a:ext uri="{FF2B5EF4-FFF2-40B4-BE49-F238E27FC236}">
                <a16:creationId xmlns:a16="http://schemas.microsoft.com/office/drawing/2014/main" id="{98ABEE39-4DFB-4526-B645-77E5F85F754A}"/>
              </a:ext>
            </a:extLst>
          </p:cNvPr>
          <p:cNvPicPr>
            <a:picLocks noChangeAspect="1" noChangeArrowheads="1"/>
          </p:cNvPicPr>
          <p:nvPr/>
        </p:nvPicPr>
        <p:blipFill>
          <a:blip r:embed="rId29"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871008" y="2901167"/>
            <a:ext cx="545935" cy="360000"/>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10" descr="Flyway (software) - Wikipedia">
            <a:extLst>
              <a:ext uri="{FF2B5EF4-FFF2-40B4-BE49-F238E27FC236}">
                <a16:creationId xmlns:a16="http://schemas.microsoft.com/office/drawing/2014/main" id="{C8C05ECE-D2ED-4084-89F3-5DB603C030C3}"/>
              </a:ext>
            </a:extLst>
          </p:cNvPr>
          <p:cNvPicPr>
            <a:picLocks noChangeAspect="1" noChangeArrowheads="1"/>
          </p:cNvPicPr>
          <p:nvPr/>
        </p:nvPicPr>
        <p:blipFill>
          <a:blip r:embed="rId30"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359763" y="2871407"/>
            <a:ext cx="511245" cy="406440"/>
          </a:xfrm>
          <a:prstGeom prst="rect">
            <a:avLst/>
          </a:prstGeom>
          <a:noFill/>
          <a:extLst>
            <a:ext uri="{909E8E84-426E-40DD-AFC4-6F175D3DCCD1}">
              <a14:hiddenFill xmlns:a14="http://schemas.microsoft.com/office/drawing/2010/main">
                <a:solidFill>
                  <a:srgbClr val="FFFFFF"/>
                </a:solidFill>
              </a14:hiddenFill>
            </a:ext>
          </a:extLst>
        </p:spPr>
      </p:pic>
      <p:pic>
        <p:nvPicPr>
          <p:cNvPr id="37894" name="Picture 6" descr="Branding Guidelines (Draft WIP) | OWASP">
            <a:extLst>
              <a:ext uri="{FF2B5EF4-FFF2-40B4-BE49-F238E27FC236}">
                <a16:creationId xmlns:a16="http://schemas.microsoft.com/office/drawing/2014/main" id="{ECA8E031-C4DE-49C3-98F8-336E375E2F06}"/>
              </a:ext>
            </a:extLst>
          </p:cNvPr>
          <p:cNvPicPr>
            <a:picLocks noChangeAspect="1" noChangeArrowheads="1"/>
          </p:cNvPicPr>
          <p:nvPr/>
        </p:nvPicPr>
        <p:blipFill>
          <a:blip r:embed="rId31" cstate="print">
            <a:extLst>
              <a:ext uri="{28A0092B-C50C-407E-A947-70E740481C1C}">
                <a14:useLocalDpi xmlns:a14="http://schemas.microsoft.com/office/drawing/2010/main" val="0"/>
              </a:ext>
            </a:extLst>
          </a:blip>
          <a:srcRect/>
          <a:stretch>
            <a:fillRect/>
          </a:stretch>
        </p:blipFill>
        <p:spPr bwMode="auto">
          <a:xfrm>
            <a:off x="3710231" y="2855669"/>
            <a:ext cx="725763" cy="252505"/>
          </a:xfrm>
          <a:prstGeom prst="rect">
            <a:avLst/>
          </a:prstGeom>
          <a:noFill/>
          <a:extLst>
            <a:ext uri="{909E8E84-426E-40DD-AFC4-6F175D3DCCD1}">
              <a14:hiddenFill xmlns:a14="http://schemas.microsoft.com/office/drawing/2010/main">
                <a:solidFill>
                  <a:srgbClr val="FFFFFF"/>
                </a:solidFill>
              </a14:hiddenFill>
            </a:ext>
          </a:extLst>
        </p:spPr>
      </p:pic>
      <p:pic>
        <p:nvPicPr>
          <p:cNvPr id="37896" name="Picture 8">
            <a:extLst>
              <a:ext uri="{FF2B5EF4-FFF2-40B4-BE49-F238E27FC236}">
                <a16:creationId xmlns:a16="http://schemas.microsoft.com/office/drawing/2014/main" id="{B7DD6AF4-1615-4535-807F-237487883906}"/>
              </a:ext>
            </a:extLst>
          </p:cNvPr>
          <p:cNvPicPr>
            <a:picLocks noChangeAspect="1" noChangeArrowheads="1"/>
          </p:cNvPicPr>
          <p:nvPr/>
        </p:nvPicPr>
        <p:blipFill>
          <a:blip r:embed="rId32"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133631" y="2494295"/>
            <a:ext cx="661499" cy="167442"/>
          </a:xfrm>
          <a:prstGeom prst="rect">
            <a:avLst/>
          </a:prstGeom>
          <a:noFill/>
          <a:extLst>
            <a:ext uri="{909E8E84-426E-40DD-AFC4-6F175D3DCCD1}">
              <a14:hiddenFill xmlns:a14="http://schemas.microsoft.com/office/drawing/2010/main">
                <a:solidFill>
                  <a:srgbClr val="FFFFFF"/>
                </a:solidFill>
              </a14:hiddenFill>
            </a:ext>
          </a:extLst>
        </p:spPr>
      </p:pic>
      <p:pic>
        <p:nvPicPr>
          <p:cNvPr id="37898" name="Picture 10" descr="Press Kit | Atlassian">
            <a:extLst>
              <a:ext uri="{FF2B5EF4-FFF2-40B4-BE49-F238E27FC236}">
                <a16:creationId xmlns:a16="http://schemas.microsoft.com/office/drawing/2014/main" id="{9ECAA01F-D03E-4060-B5BB-87503731390E}"/>
              </a:ext>
            </a:extLst>
          </p:cNvPr>
          <p:cNvPicPr>
            <a:picLocks noChangeAspect="1" noChangeArrowheads="1"/>
          </p:cNvPicPr>
          <p:nvPr/>
        </p:nvPicPr>
        <p:blipFill>
          <a:blip r:embed="rId33"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148118" y="2517890"/>
            <a:ext cx="810336" cy="116805"/>
          </a:xfrm>
          <a:prstGeom prst="rect">
            <a:avLst/>
          </a:prstGeom>
          <a:noFill/>
          <a:extLst>
            <a:ext uri="{909E8E84-426E-40DD-AFC4-6F175D3DCCD1}">
              <a14:hiddenFill xmlns:a14="http://schemas.microsoft.com/office/drawing/2010/main">
                <a:solidFill>
                  <a:srgbClr val="FFFFFF"/>
                </a:solidFill>
              </a14:hiddenFill>
            </a:ext>
          </a:extLst>
        </p:spPr>
      </p:pic>
      <p:pic>
        <p:nvPicPr>
          <p:cNvPr id="37903" name="Picture 15" descr="How to install Node.js 7 and NPM 4 on CentOS 6/7, Debian 8 and Ubuntu 16">
            <a:extLst>
              <a:ext uri="{FF2B5EF4-FFF2-40B4-BE49-F238E27FC236}">
                <a16:creationId xmlns:a16="http://schemas.microsoft.com/office/drawing/2014/main" id="{7873FB91-1337-4A7F-8995-6F82AEF761CD}"/>
              </a:ext>
            </a:extLst>
          </p:cNvPr>
          <p:cNvPicPr>
            <a:picLocks noChangeAspect="1" noChangeArrowheads="1"/>
          </p:cNvPicPr>
          <p:nvPr/>
        </p:nvPicPr>
        <p:blipFill>
          <a:blip r:embed="rId34"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992296" y="2803150"/>
            <a:ext cx="926045" cy="360000"/>
          </a:xfrm>
          <a:prstGeom prst="rect">
            <a:avLst/>
          </a:prstGeom>
          <a:noFill/>
          <a:extLst>
            <a:ext uri="{909E8E84-426E-40DD-AFC4-6F175D3DCCD1}">
              <a14:hiddenFill xmlns:a14="http://schemas.microsoft.com/office/drawing/2010/main">
                <a:solidFill>
                  <a:srgbClr val="FFFFFF"/>
                </a:solidFill>
              </a14:hiddenFill>
            </a:ext>
          </a:extLst>
        </p:spPr>
      </p:pic>
      <p:pic>
        <p:nvPicPr>
          <p:cNvPr id="37905" name="Picture 17" descr="PowerMock (Android). Often, in order to write unit tests… | by Gioacchino  Lonardo | Medium">
            <a:extLst>
              <a:ext uri="{FF2B5EF4-FFF2-40B4-BE49-F238E27FC236}">
                <a16:creationId xmlns:a16="http://schemas.microsoft.com/office/drawing/2014/main" id="{D068A2D2-A3E1-43A2-9A0A-99C002C43726}"/>
              </a:ext>
            </a:extLst>
          </p:cNvPr>
          <p:cNvPicPr>
            <a:picLocks noChangeAspect="1" noChangeArrowheads="1"/>
          </p:cNvPicPr>
          <p:nvPr/>
        </p:nvPicPr>
        <p:blipFill>
          <a:blip r:embed="rId35"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024516" y="2835505"/>
            <a:ext cx="493019" cy="2473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8088000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7487885-83DC-41F0-82B4-C0D67D41C927}"/>
              </a:ext>
            </a:extLst>
          </p:cNvPr>
          <p:cNvGraphicFramePr>
            <a:graphicFrameLocks noChangeAspect="1"/>
          </p:cNvGraphicFramePr>
          <p:nvPr>
            <p:custDataLst>
              <p:tags r:id="rId2"/>
            </p:custDataLst>
            <p:extLst>
              <p:ext uri="{D42A27DB-BD31-4B8C-83A1-F6EECF244321}">
                <p14:modId xmlns:p14="http://schemas.microsoft.com/office/powerpoint/2010/main" val="25938625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979" name="think-cell Slide" r:id="rId5" imgW="360" imgH="360" progId="TCLayout.ActiveDocument.1">
                  <p:embed/>
                </p:oleObj>
              </mc:Choice>
              <mc:Fallback>
                <p:oleObj name="think-cell Slide" r:id="rId5" imgW="360" imgH="360" progId="TCLayout.ActiveDocument.1">
                  <p:embed/>
                  <p:pic>
                    <p:nvPicPr>
                      <p:cNvPr id="10" name="Object 9" hidden="1">
                        <a:extLst>
                          <a:ext uri="{FF2B5EF4-FFF2-40B4-BE49-F238E27FC236}">
                            <a16:creationId xmlns:a16="http://schemas.microsoft.com/office/drawing/2014/main" id="{07487885-83DC-41F0-82B4-C0D67D41C92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F217D592-DC26-4654-842B-EB990F58B64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it-IT" sz="2400" b="1" dirty="0">
              <a:latin typeface="UniCredit" panose="02000506040000020004" pitchFamily="2" charset="0"/>
              <a:ea typeface="+mj-ea"/>
              <a:cs typeface="Arial" panose="020B0604020202020204" pitchFamily="34" charset="0"/>
              <a:sym typeface="UniCredit" panose="02000506040000020004" pitchFamily="2" charset="0"/>
            </a:endParaRPr>
          </a:p>
        </p:txBody>
      </p:sp>
      <p:sp>
        <p:nvSpPr>
          <p:cNvPr id="23" name="Rectangle 22"/>
          <p:cNvSpPr/>
          <p:nvPr/>
        </p:nvSpPr>
        <p:spPr>
          <a:xfrm>
            <a:off x="1" y="942036"/>
            <a:ext cx="9144000" cy="3551849"/>
          </a:xfrm>
          <a:prstGeom prst="rect">
            <a:avLst/>
          </a:prstGeom>
          <a:gradFill flip="none" rotWithShape="1">
            <a:gsLst>
              <a:gs pos="100000">
                <a:srgbClr val="FFFFFF"/>
              </a:gs>
              <a:gs pos="0">
                <a:schemeClr val="bg1"/>
              </a:gs>
              <a:gs pos="50000">
                <a:srgbClr val="EBF6F9"/>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360000" tIns="0" bIns="0" rtlCol="0" anchor="ctr"/>
          <a:lstStyle/>
          <a:p>
            <a:pPr>
              <a:buClr>
                <a:srgbClr val="C00000"/>
              </a:buClr>
            </a:pPr>
            <a:endParaRPr lang="en-US" sz="1800" dirty="0">
              <a:solidFill>
                <a:schemeClr val="tx1"/>
              </a:solidFill>
            </a:endParaRPr>
          </a:p>
        </p:txBody>
      </p:sp>
      <p:sp>
        <p:nvSpPr>
          <p:cNvPr id="3" name="Text Placeholder 2"/>
          <p:cNvSpPr>
            <a:spLocks noGrp="1"/>
          </p:cNvSpPr>
          <p:nvPr>
            <p:ph type="body" sz="quarter" idx="16"/>
          </p:nvPr>
        </p:nvSpPr>
        <p:spPr/>
        <p:txBody>
          <a:bodyPr/>
          <a:lstStyle/>
          <a:p>
            <a:r>
              <a:rPr lang="de-DE" dirty="0">
                <a:hlinkClick r:id="rId7"/>
              </a:rPr>
              <a:t>https://owasp.org/www-project-top-ten/</a:t>
            </a:r>
            <a:endParaRPr lang="de-DE" dirty="0"/>
          </a:p>
          <a:p>
            <a:endParaRPr lang="de-DE" dirty="0"/>
          </a:p>
          <a:p>
            <a:endParaRPr lang="de-DE" dirty="0"/>
          </a:p>
          <a:p>
            <a:endParaRPr lang="de-DE" dirty="0"/>
          </a:p>
        </p:txBody>
      </p:sp>
      <p:sp>
        <p:nvSpPr>
          <p:cNvPr id="4" name="Slide Number Placeholder 3"/>
          <p:cNvSpPr>
            <a:spLocks noGrp="1"/>
          </p:cNvSpPr>
          <p:nvPr>
            <p:ph type="sldNum" sz="quarter" idx="11"/>
          </p:nvPr>
        </p:nvSpPr>
        <p:spPr/>
        <p:txBody>
          <a:bodyPr/>
          <a:lstStyle/>
          <a:p>
            <a:pPr>
              <a:defRPr/>
            </a:pPr>
            <a:fld id="{1D1043DC-2681-49D5-9D69-158B3FA3398E}" type="slidenum">
              <a:rPr lang="en-GB" noProof="1" smtClean="0"/>
              <a:pPr>
                <a:defRPr/>
              </a:pPr>
              <a:t>24</a:t>
            </a:fld>
            <a:endParaRPr lang="en-GB" noProof="1"/>
          </a:p>
        </p:txBody>
      </p:sp>
      <p:sp>
        <p:nvSpPr>
          <p:cNvPr id="6" name="Title 5"/>
          <p:cNvSpPr>
            <a:spLocks noGrp="1"/>
          </p:cNvSpPr>
          <p:nvPr>
            <p:ph type="title"/>
          </p:nvPr>
        </p:nvSpPr>
        <p:spPr/>
        <p:txBody>
          <a:bodyPr/>
          <a:lstStyle/>
          <a:p>
            <a:r>
              <a:rPr lang="it-IT" dirty="0"/>
              <a:t>Libraries </a:t>
            </a:r>
            <a:r>
              <a:rPr lang="it-IT" dirty="0" err="1"/>
              <a:t>vulnerability</a:t>
            </a:r>
            <a:r>
              <a:rPr lang="it-IT" dirty="0"/>
              <a:t> </a:t>
            </a:r>
            <a:r>
              <a:rPr lang="it-IT" dirty="0" err="1"/>
              <a:t>assessment</a:t>
            </a:r>
            <a:r>
              <a:rPr lang="it-IT" dirty="0"/>
              <a:t> with OWASP </a:t>
            </a:r>
            <a:endParaRPr lang="de-DE" dirty="0"/>
          </a:p>
        </p:txBody>
      </p:sp>
      <p:pic>
        <p:nvPicPr>
          <p:cNvPr id="7" name="Picture 6"/>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622986" y="156132"/>
            <a:ext cx="1251014" cy="435353"/>
          </a:xfrm>
          <a:prstGeom prst="rect">
            <a:avLst/>
          </a:prstGeom>
        </p:spPr>
      </p:pic>
      <p:sp>
        <p:nvSpPr>
          <p:cNvPr id="14" name="Round Diagonal Corner Rectangle 13"/>
          <p:cNvSpPr/>
          <p:nvPr/>
        </p:nvSpPr>
        <p:spPr>
          <a:xfrm>
            <a:off x="307388" y="942036"/>
            <a:ext cx="8529225" cy="656211"/>
          </a:xfrm>
          <a:prstGeom prst="round2DiagRect">
            <a:avLst/>
          </a:prstGeom>
          <a:solidFill>
            <a:srgbClr val="D0EBF2">
              <a:alpha val="46000"/>
            </a:srgbClr>
          </a:solidFill>
          <a:ln>
            <a:solidFill>
              <a:schemeClr val="accent1"/>
            </a:solidFill>
          </a:ln>
        </p:spPr>
        <p:txBody>
          <a:bodyPr wrap="square" lIns="684000" tIns="0" rIns="0" bIns="0" anchor="ctr">
            <a:noAutofit/>
          </a:bodyPr>
          <a:lstStyle/>
          <a:p>
            <a:r>
              <a:rPr lang="en-US" sz="1200" dirty="0"/>
              <a:t>The </a:t>
            </a:r>
            <a:r>
              <a:rPr lang="en-US" sz="1200" b="1" dirty="0"/>
              <a:t>Open Web Application Security Project </a:t>
            </a:r>
            <a:r>
              <a:rPr lang="en-US" sz="1200" dirty="0"/>
              <a:t>is an online community that produces freely-available </a:t>
            </a:r>
            <a:r>
              <a:rPr lang="en-US" sz="1200" b="1" dirty="0"/>
              <a:t>articles</a:t>
            </a:r>
            <a:r>
              <a:rPr lang="en-US" sz="1200" dirty="0"/>
              <a:t>, </a:t>
            </a:r>
            <a:r>
              <a:rPr lang="en-US" sz="1200" b="1" dirty="0"/>
              <a:t>methodologies</a:t>
            </a:r>
            <a:r>
              <a:rPr lang="en-US" sz="1200" dirty="0"/>
              <a:t>, </a:t>
            </a:r>
            <a:r>
              <a:rPr lang="en-US" sz="1200" b="1" dirty="0"/>
              <a:t>documentation</a:t>
            </a:r>
            <a:r>
              <a:rPr lang="en-US" sz="1200" dirty="0"/>
              <a:t>, </a:t>
            </a:r>
            <a:r>
              <a:rPr lang="en-US" sz="1200" b="1" dirty="0"/>
              <a:t>tools</a:t>
            </a:r>
            <a:r>
              <a:rPr lang="en-US" sz="1200" dirty="0"/>
              <a:t>, and </a:t>
            </a:r>
            <a:r>
              <a:rPr lang="en-US" sz="1200" b="1" dirty="0"/>
              <a:t>technologies </a:t>
            </a:r>
            <a:r>
              <a:rPr lang="en-US" sz="1200" dirty="0"/>
              <a:t>in the field of web application security</a:t>
            </a:r>
          </a:p>
        </p:txBody>
      </p:sp>
      <p:sp>
        <p:nvSpPr>
          <p:cNvPr id="15" name="Rounded Rectangle 14"/>
          <p:cNvSpPr/>
          <p:nvPr/>
        </p:nvSpPr>
        <p:spPr>
          <a:xfrm>
            <a:off x="307388" y="1930400"/>
            <a:ext cx="4002145" cy="2235200"/>
          </a:xfrm>
          <a:prstGeom prst="roundRect">
            <a:avLst/>
          </a:prstGeom>
          <a:solidFill>
            <a:schemeClr val="bg1">
              <a:lumMod val="95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r>
              <a:rPr lang="en-US" sz="1100" b="1" dirty="0">
                <a:solidFill>
                  <a:schemeClr val="tx1"/>
                </a:solidFill>
              </a:rPr>
              <a:t>Using Components with Known Vulnerabilities. </a:t>
            </a:r>
          </a:p>
          <a:p>
            <a:pPr>
              <a:lnSpc>
                <a:spcPct val="150000"/>
              </a:lnSpc>
            </a:pPr>
            <a:r>
              <a:rPr lang="en-US" sz="1100" dirty="0">
                <a:solidFill>
                  <a:schemeClr val="tx1"/>
                </a:solidFill>
              </a:rPr>
              <a:t>Components, such as libraries, frameworks, and other software modules, run with the same privileges as the application. If a vulnerable component is exploited, such an attack can facilitate serious data loss or server takeover. Applications and APIs using components with known vulnerabilities may undermine application defenses and enable various attacks and impacts.</a:t>
            </a:r>
          </a:p>
          <a:p>
            <a:pPr algn="r">
              <a:lnSpc>
                <a:spcPct val="150000"/>
              </a:lnSpc>
            </a:pPr>
            <a:r>
              <a:rPr lang="it-IT" sz="1100" dirty="0">
                <a:solidFill>
                  <a:schemeClr val="tx1"/>
                </a:solidFill>
              </a:rPr>
              <a:t>From OWASP Top 10 - 2017</a:t>
            </a:r>
            <a:endParaRPr lang="en-US" sz="1100" dirty="0">
              <a:solidFill>
                <a:schemeClr val="tx1"/>
              </a:solidFill>
            </a:endParaRPr>
          </a:p>
        </p:txBody>
      </p:sp>
      <p:sp>
        <p:nvSpPr>
          <p:cNvPr id="19" name="Round Diagonal Corner Rectangle 18"/>
          <p:cNvSpPr/>
          <p:nvPr/>
        </p:nvSpPr>
        <p:spPr>
          <a:xfrm>
            <a:off x="4910066" y="2196977"/>
            <a:ext cx="3926547" cy="1702044"/>
          </a:xfrm>
          <a:prstGeom prst="round2DiagRect">
            <a:avLst/>
          </a:prstGeom>
          <a:noFill/>
          <a:ln>
            <a:noFill/>
          </a:ln>
        </p:spPr>
        <p:txBody>
          <a:bodyPr wrap="square" lIns="144000" tIns="0" rIns="0" bIns="0" anchor="ctr">
            <a:noAutofit/>
          </a:bodyPr>
          <a:lstStyle/>
          <a:p>
            <a:pPr>
              <a:lnSpc>
                <a:spcPct val="150000"/>
              </a:lnSpc>
            </a:pPr>
            <a:r>
              <a:rPr lang="en-US" sz="1400" b="1" dirty="0">
                <a:solidFill>
                  <a:schemeClr val="accent1"/>
                </a:solidFill>
              </a:rPr>
              <a:t>OWASP Maven Plugin</a:t>
            </a:r>
            <a:r>
              <a:rPr lang="en-US" sz="1400" dirty="0"/>
              <a:t>:</a:t>
            </a:r>
          </a:p>
          <a:p>
            <a:pPr marL="171450" indent="-171450">
              <a:lnSpc>
                <a:spcPct val="150000"/>
              </a:lnSpc>
              <a:buClr>
                <a:schemeClr val="accent1"/>
              </a:buClr>
              <a:buFont typeface="Wingdings" panose="05000000000000000000" pitchFamily="2" charset="2"/>
              <a:buChar char="§"/>
            </a:pPr>
            <a:r>
              <a:rPr lang="en-US" sz="1200" dirty="0"/>
              <a:t>Checks </a:t>
            </a:r>
            <a:r>
              <a:rPr lang="en-US" sz="1200" b="1" dirty="0"/>
              <a:t>libraries </a:t>
            </a:r>
            <a:r>
              <a:rPr lang="en-US" sz="1200" dirty="0"/>
              <a:t>in </a:t>
            </a:r>
            <a:r>
              <a:rPr lang="en-US" sz="1200" b="1" dirty="0"/>
              <a:t>dependency tree</a:t>
            </a:r>
            <a:r>
              <a:rPr lang="en-US" sz="1200" dirty="0"/>
              <a:t> against known </a:t>
            </a:r>
            <a:r>
              <a:rPr lang="en-US" sz="1200" b="1" dirty="0"/>
              <a:t>vulnerabilities repositories</a:t>
            </a:r>
            <a:r>
              <a:rPr lang="en-US" sz="1200" dirty="0"/>
              <a:t> and generate a report with the security level or the </a:t>
            </a:r>
            <a:r>
              <a:rPr lang="en-US" sz="1200" b="1" dirty="0"/>
              <a:t>package</a:t>
            </a:r>
          </a:p>
          <a:p>
            <a:pPr marL="171450" indent="-171450">
              <a:lnSpc>
                <a:spcPct val="150000"/>
              </a:lnSpc>
              <a:buClr>
                <a:schemeClr val="accent1"/>
              </a:buClr>
              <a:buFont typeface="Wingdings" panose="05000000000000000000" pitchFamily="2" charset="2"/>
              <a:buChar char="§"/>
            </a:pPr>
            <a:r>
              <a:rPr lang="en-US" sz="1200" b="1" dirty="0"/>
              <a:t>Already integrated</a:t>
            </a:r>
            <a:r>
              <a:rPr lang="en-US" sz="1200" dirty="0"/>
              <a:t> in UniCredit DevOps pipeline</a:t>
            </a:r>
          </a:p>
          <a:p>
            <a:pPr marL="171450" indent="-171450">
              <a:lnSpc>
                <a:spcPct val="150000"/>
              </a:lnSpc>
              <a:buClr>
                <a:schemeClr val="accent1"/>
              </a:buClr>
              <a:buFont typeface="Wingdings" panose="05000000000000000000" pitchFamily="2" charset="2"/>
              <a:buChar char="§"/>
            </a:pPr>
            <a:r>
              <a:rPr lang="en-US" sz="1200" dirty="0"/>
              <a:t>Can be also </a:t>
            </a:r>
            <a:r>
              <a:rPr lang="en-US" sz="1200" b="1" dirty="0"/>
              <a:t>launched manually </a:t>
            </a:r>
            <a:r>
              <a:rPr lang="en-US" sz="1200" dirty="0"/>
              <a:t>by the developer to check/fix before the commit</a:t>
            </a:r>
          </a:p>
        </p:txBody>
      </p:sp>
      <p:grpSp>
        <p:nvGrpSpPr>
          <p:cNvPr id="20" name="Group 19"/>
          <p:cNvGrpSpPr/>
          <p:nvPr/>
        </p:nvGrpSpPr>
        <p:grpSpPr>
          <a:xfrm>
            <a:off x="4485034" y="2414529"/>
            <a:ext cx="249530" cy="1266943"/>
            <a:chOff x="7469808" y="3031663"/>
            <a:chExt cx="249530" cy="1151766"/>
          </a:xfrm>
        </p:grpSpPr>
        <p:sp>
          <p:nvSpPr>
            <p:cNvPr id="21" name="Chevron 20"/>
            <p:cNvSpPr/>
            <p:nvPr/>
          </p:nvSpPr>
          <p:spPr bwMode="gray">
            <a:xfrm>
              <a:off x="7469808" y="3031663"/>
              <a:ext cx="177261" cy="1151766"/>
            </a:xfrm>
            <a:prstGeom prst="chevron">
              <a:avLst/>
            </a:prstGeom>
            <a:solidFill>
              <a:srgbClr val="BFBFBF"/>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100" b="1" dirty="0">
                <a:solidFill>
                  <a:schemeClr val="bg1"/>
                </a:solidFill>
              </a:endParaRPr>
            </a:p>
          </p:txBody>
        </p:sp>
        <p:sp>
          <p:nvSpPr>
            <p:cNvPr id="22" name="Chevron 21"/>
            <p:cNvSpPr/>
            <p:nvPr/>
          </p:nvSpPr>
          <p:spPr bwMode="gray">
            <a:xfrm>
              <a:off x="7589125" y="3140259"/>
              <a:ext cx="130213" cy="934570"/>
            </a:xfrm>
            <a:prstGeom prst="chevron">
              <a:avLst/>
            </a:prstGeom>
            <a:solidFill>
              <a:srgbClr val="00AFD0"/>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100" b="1" dirty="0">
                <a:solidFill>
                  <a:schemeClr val="bg1"/>
                </a:solidFill>
              </a:endParaRPr>
            </a:p>
          </p:txBody>
        </p:sp>
      </p:grpSp>
      <p:sp>
        <p:nvSpPr>
          <p:cNvPr id="24" name="Freeform 49"/>
          <p:cNvSpPr>
            <a:spLocks noEditPoints="1"/>
          </p:cNvSpPr>
          <p:nvPr/>
        </p:nvSpPr>
        <p:spPr bwMode="auto">
          <a:xfrm>
            <a:off x="391780" y="1046971"/>
            <a:ext cx="509919" cy="446341"/>
          </a:xfrm>
          <a:custGeom>
            <a:avLst/>
            <a:gdLst>
              <a:gd name="T0" fmla="*/ 1488 w 3968"/>
              <a:gd name="T1" fmla="*/ 2729 h 3473"/>
              <a:gd name="T2" fmla="*/ 1240 w 3968"/>
              <a:gd name="T3" fmla="*/ 3225 h 3473"/>
              <a:gd name="T4" fmla="*/ 2728 w 3968"/>
              <a:gd name="T5" fmla="*/ 3225 h 3473"/>
              <a:gd name="T6" fmla="*/ 2480 w 3968"/>
              <a:gd name="T7" fmla="*/ 2729 h 3473"/>
              <a:gd name="T8" fmla="*/ 1488 w 3968"/>
              <a:gd name="T9" fmla="*/ 2729 h 3473"/>
              <a:gd name="T10" fmla="*/ 399 w 3968"/>
              <a:gd name="T11" fmla="*/ 2232 h 3473"/>
              <a:gd name="T12" fmla="*/ 3564 w 3968"/>
              <a:gd name="T13" fmla="*/ 2232 h 3473"/>
              <a:gd name="T14" fmla="*/ 3932 w 3968"/>
              <a:gd name="T15" fmla="*/ 3128 h 3473"/>
              <a:gd name="T16" fmla="*/ 3949 w 3968"/>
              <a:gd name="T17" fmla="*/ 3171 h 3473"/>
              <a:gd name="T18" fmla="*/ 3960 w 3968"/>
              <a:gd name="T19" fmla="*/ 3212 h 3473"/>
              <a:gd name="T20" fmla="*/ 3967 w 3968"/>
              <a:gd name="T21" fmla="*/ 3252 h 3473"/>
              <a:gd name="T22" fmla="*/ 3968 w 3968"/>
              <a:gd name="T23" fmla="*/ 3290 h 3473"/>
              <a:gd name="T24" fmla="*/ 3965 w 3968"/>
              <a:gd name="T25" fmla="*/ 3324 h 3473"/>
              <a:gd name="T26" fmla="*/ 3958 w 3968"/>
              <a:gd name="T27" fmla="*/ 3357 h 3473"/>
              <a:gd name="T28" fmla="*/ 3945 w 3968"/>
              <a:gd name="T29" fmla="*/ 3386 h 3473"/>
              <a:gd name="T30" fmla="*/ 3930 w 3968"/>
              <a:gd name="T31" fmla="*/ 3410 h 3473"/>
              <a:gd name="T32" fmla="*/ 3909 w 3968"/>
              <a:gd name="T33" fmla="*/ 3432 h 3473"/>
              <a:gd name="T34" fmla="*/ 3885 w 3968"/>
              <a:gd name="T35" fmla="*/ 3449 h 3473"/>
              <a:gd name="T36" fmla="*/ 3857 w 3968"/>
              <a:gd name="T37" fmla="*/ 3462 h 3473"/>
              <a:gd name="T38" fmla="*/ 3824 w 3968"/>
              <a:gd name="T39" fmla="*/ 3469 h 3473"/>
              <a:gd name="T40" fmla="*/ 3789 w 3968"/>
              <a:gd name="T41" fmla="*/ 3473 h 3473"/>
              <a:gd name="T42" fmla="*/ 179 w 3968"/>
              <a:gd name="T43" fmla="*/ 3473 h 3473"/>
              <a:gd name="T44" fmla="*/ 144 w 3968"/>
              <a:gd name="T45" fmla="*/ 3469 h 3473"/>
              <a:gd name="T46" fmla="*/ 112 w 3968"/>
              <a:gd name="T47" fmla="*/ 3462 h 3473"/>
              <a:gd name="T48" fmla="*/ 84 w 3968"/>
              <a:gd name="T49" fmla="*/ 3449 h 3473"/>
              <a:gd name="T50" fmla="*/ 59 w 3968"/>
              <a:gd name="T51" fmla="*/ 3432 h 3473"/>
              <a:gd name="T52" fmla="*/ 39 w 3968"/>
              <a:gd name="T53" fmla="*/ 3410 h 3473"/>
              <a:gd name="T54" fmla="*/ 23 w 3968"/>
              <a:gd name="T55" fmla="*/ 3386 h 3473"/>
              <a:gd name="T56" fmla="*/ 11 w 3968"/>
              <a:gd name="T57" fmla="*/ 3357 h 3473"/>
              <a:gd name="T58" fmla="*/ 4 w 3968"/>
              <a:gd name="T59" fmla="*/ 3324 h 3473"/>
              <a:gd name="T60" fmla="*/ 0 w 3968"/>
              <a:gd name="T61" fmla="*/ 3290 h 3473"/>
              <a:gd name="T62" fmla="*/ 1 w 3968"/>
              <a:gd name="T63" fmla="*/ 3252 h 3473"/>
              <a:gd name="T64" fmla="*/ 8 w 3968"/>
              <a:gd name="T65" fmla="*/ 3212 h 3473"/>
              <a:gd name="T66" fmla="*/ 19 w 3968"/>
              <a:gd name="T67" fmla="*/ 3171 h 3473"/>
              <a:gd name="T68" fmla="*/ 36 w 3968"/>
              <a:gd name="T69" fmla="*/ 3128 h 3473"/>
              <a:gd name="T70" fmla="*/ 399 w 3968"/>
              <a:gd name="T71" fmla="*/ 2232 h 3473"/>
              <a:gd name="T72" fmla="*/ 372 w 3968"/>
              <a:gd name="T73" fmla="*/ 0 h 3473"/>
              <a:gd name="T74" fmla="*/ 3596 w 3968"/>
              <a:gd name="T75" fmla="*/ 0 h 3473"/>
              <a:gd name="T76" fmla="*/ 3596 w 3968"/>
              <a:gd name="T77" fmla="*/ 1736 h 3473"/>
              <a:gd name="T78" fmla="*/ 3594 w 3968"/>
              <a:gd name="T79" fmla="*/ 1800 h 3473"/>
              <a:gd name="T80" fmla="*/ 3585 w 3968"/>
              <a:gd name="T81" fmla="*/ 1863 h 3473"/>
              <a:gd name="T82" fmla="*/ 3571 w 3968"/>
              <a:gd name="T83" fmla="*/ 1925 h 3473"/>
              <a:gd name="T84" fmla="*/ 3553 w 3968"/>
              <a:gd name="T85" fmla="*/ 1985 h 3473"/>
              <a:gd name="T86" fmla="*/ 416 w 3968"/>
              <a:gd name="T87" fmla="*/ 1985 h 3473"/>
              <a:gd name="T88" fmla="*/ 398 w 3968"/>
              <a:gd name="T89" fmla="*/ 1925 h 3473"/>
              <a:gd name="T90" fmla="*/ 383 w 3968"/>
              <a:gd name="T91" fmla="*/ 1863 h 3473"/>
              <a:gd name="T92" fmla="*/ 375 w 3968"/>
              <a:gd name="T93" fmla="*/ 1800 h 3473"/>
              <a:gd name="T94" fmla="*/ 372 w 3968"/>
              <a:gd name="T95" fmla="*/ 1736 h 3473"/>
              <a:gd name="T96" fmla="*/ 372 w 3968"/>
              <a:gd name="T97" fmla="*/ 0 h 3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968" h="3473">
                <a:moveTo>
                  <a:pt x="1488" y="2729"/>
                </a:moveTo>
                <a:lnTo>
                  <a:pt x="1240" y="3225"/>
                </a:lnTo>
                <a:lnTo>
                  <a:pt x="2728" y="3225"/>
                </a:lnTo>
                <a:lnTo>
                  <a:pt x="2480" y="2729"/>
                </a:lnTo>
                <a:lnTo>
                  <a:pt x="1488" y="2729"/>
                </a:lnTo>
                <a:close/>
                <a:moveTo>
                  <a:pt x="399" y="2232"/>
                </a:moveTo>
                <a:lnTo>
                  <a:pt x="3564" y="2232"/>
                </a:lnTo>
                <a:lnTo>
                  <a:pt x="3932" y="3128"/>
                </a:lnTo>
                <a:lnTo>
                  <a:pt x="3949" y="3171"/>
                </a:lnTo>
                <a:lnTo>
                  <a:pt x="3960" y="3212"/>
                </a:lnTo>
                <a:lnTo>
                  <a:pt x="3967" y="3252"/>
                </a:lnTo>
                <a:lnTo>
                  <a:pt x="3968" y="3290"/>
                </a:lnTo>
                <a:lnTo>
                  <a:pt x="3965" y="3324"/>
                </a:lnTo>
                <a:lnTo>
                  <a:pt x="3958" y="3357"/>
                </a:lnTo>
                <a:lnTo>
                  <a:pt x="3945" y="3386"/>
                </a:lnTo>
                <a:lnTo>
                  <a:pt x="3930" y="3410"/>
                </a:lnTo>
                <a:lnTo>
                  <a:pt x="3909" y="3432"/>
                </a:lnTo>
                <a:lnTo>
                  <a:pt x="3885" y="3449"/>
                </a:lnTo>
                <a:lnTo>
                  <a:pt x="3857" y="3462"/>
                </a:lnTo>
                <a:lnTo>
                  <a:pt x="3824" y="3469"/>
                </a:lnTo>
                <a:lnTo>
                  <a:pt x="3789" y="3473"/>
                </a:lnTo>
                <a:lnTo>
                  <a:pt x="179" y="3473"/>
                </a:lnTo>
                <a:lnTo>
                  <a:pt x="144" y="3469"/>
                </a:lnTo>
                <a:lnTo>
                  <a:pt x="112" y="3462"/>
                </a:lnTo>
                <a:lnTo>
                  <a:pt x="84" y="3449"/>
                </a:lnTo>
                <a:lnTo>
                  <a:pt x="59" y="3432"/>
                </a:lnTo>
                <a:lnTo>
                  <a:pt x="39" y="3410"/>
                </a:lnTo>
                <a:lnTo>
                  <a:pt x="23" y="3386"/>
                </a:lnTo>
                <a:lnTo>
                  <a:pt x="11" y="3357"/>
                </a:lnTo>
                <a:lnTo>
                  <a:pt x="4" y="3324"/>
                </a:lnTo>
                <a:lnTo>
                  <a:pt x="0" y="3290"/>
                </a:lnTo>
                <a:lnTo>
                  <a:pt x="1" y="3252"/>
                </a:lnTo>
                <a:lnTo>
                  <a:pt x="8" y="3212"/>
                </a:lnTo>
                <a:lnTo>
                  <a:pt x="19" y="3171"/>
                </a:lnTo>
                <a:lnTo>
                  <a:pt x="36" y="3128"/>
                </a:lnTo>
                <a:lnTo>
                  <a:pt x="399" y="2232"/>
                </a:lnTo>
                <a:close/>
                <a:moveTo>
                  <a:pt x="372" y="0"/>
                </a:moveTo>
                <a:lnTo>
                  <a:pt x="3596" y="0"/>
                </a:lnTo>
                <a:lnTo>
                  <a:pt x="3596" y="1736"/>
                </a:lnTo>
                <a:lnTo>
                  <a:pt x="3594" y="1800"/>
                </a:lnTo>
                <a:lnTo>
                  <a:pt x="3585" y="1863"/>
                </a:lnTo>
                <a:lnTo>
                  <a:pt x="3571" y="1925"/>
                </a:lnTo>
                <a:lnTo>
                  <a:pt x="3553" y="1985"/>
                </a:lnTo>
                <a:lnTo>
                  <a:pt x="416" y="1985"/>
                </a:lnTo>
                <a:lnTo>
                  <a:pt x="398" y="1925"/>
                </a:lnTo>
                <a:lnTo>
                  <a:pt x="383" y="1863"/>
                </a:lnTo>
                <a:lnTo>
                  <a:pt x="375" y="1800"/>
                </a:lnTo>
                <a:lnTo>
                  <a:pt x="372" y="1736"/>
                </a:lnTo>
                <a:lnTo>
                  <a:pt x="372"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p>
        </p:txBody>
      </p:sp>
    </p:spTree>
    <p:extLst>
      <p:ext uri="{BB962C8B-B14F-4D97-AF65-F5344CB8AC3E}">
        <p14:creationId xmlns:p14="http://schemas.microsoft.com/office/powerpoint/2010/main" val="272955900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EE31DF7-5A48-416B-ACD1-3C5455543EAA}"/>
              </a:ext>
            </a:extLst>
          </p:cNvPr>
          <p:cNvGraphicFramePr>
            <a:graphicFrameLocks noChangeAspect="1"/>
          </p:cNvGraphicFramePr>
          <p:nvPr>
            <p:custDataLst>
              <p:tags r:id="rId2"/>
            </p:custDataLst>
            <p:extLst>
              <p:ext uri="{D42A27DB-BD31-4B8C-83A1-F6EECF244321}">
                <p14:modId xmlns:p14="http://schemas.microsoft.com/office/powerpoint/2010/main" val="38949952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4003" name="think-cell Slide" r:id="rId5" imgW="360" imgH="360" progId="TCLayout.ActiveDocument.1">
                  <p:embed/>
                </p:oleObj>
              </mc:Choice>
              <mc:Fallback>
                <p:oleObj name="think-cell Slide" r:id="rId5" imgW="360" imgH="360" progId="TCLayout.ActiveDocument.1">
                  <p:embed/>
                  <p:pic>
                    <p:nvPicPr>
                      <p:cNvPr id="9" name="Object 8" hidden="1">
                        <a:extLst>
                          <a:ext uri="{FF2B5EF4-FFF2-40B4-BE49-F238E27FC236}">
                            <a16:creationId xmlns:a16="http://schemas.microsoft.com/office/drawing/2014/main" id="{1EE31DF7-5A48-416B-ACD1-3C5455543EA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EC4E09FE-F3AF-4E4E-96A4-6DD4E6664DC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UniCredit" panose="02000506040000020004" pitchFamily="2" charset="0"/>
              <a:ea typeface="+mj-ea"/>
              <a:cs typeface="Arial" panose="020B0604020202020204" pitchFamily="34" charset="0"/>
              <a:sym typeface="UniCredit" panose="02000506040000020004" pitchFamily="2" charset="0"/>
            </a:endParaRPr>
          </a:p>
        </p:txBody>
      </p:sp>
      <p:sp>
        <p:nvSpPr>
          <p:cNvPr id="21" name="Freeform 57"/>
          <p:cNvSpPr>
            <a:spLocks noEditPoints="1"/>
          </p:cNvSpPr>
          <p:nvPr/>
        </p:nvSpPr>
        <p:spPr bwMode="auto">
          <a:xfrm>
            <a:off x="5157921" y="1785490"/>
            <a:ext cx="2935463" cy="1737621"/>
          </a:xfrm>
          <a:custGeom>
            <a:avLst/>
            <a:gdLst>
              <a:gd name="T0" fmla="*/ 2771 w 3968"/>
              <a:gd name="T1" fmla="*/ 988 h 2349"/>
              <a:gd name="T2" fmla="*/ 2571 w 3968"/>
              <a:gd name="T3" fmla="*/ 1217 h 2349"/>
              <a:gd name="T4" fmla="*/ 2558 w 3968"/>
              <a:gd name="T5" fmla="*/ 1528 h 2349"/>
              <a:gd name="T6" fmla="*/ 2735 w 3968"/>
              <a:gd name="T7" fmla="*/ 1772 h 2349"/>
              <a:gd name="T8" fmla="*/ 3038 w 3968"/>
              <a:gd name="T9" fmla="*/ 1856 h 2349"/>
              <a:gd name="T10" fmla="*/ 3314 w 3968"/>
              <a:gd name="T11" fmla="*/ 1736 h 2349"/>
              <a:gd name="T12" fmla="*/ 3462 w 3968"/>
              <a:gd name="T13" fmla="*/ 1462 h 2349"/>
              <a:gd name="T14" fmla="*/ 3406 w 3968"/>
              <a:gd name="T15" fmla="*/ 1161 h 2349"/>
              <a:gd name="T16" fmla="*/ 3176 w 3968"/>
              <a:gd name="T17" fmla="*/ 961 h 2349"/>
              <a:gd name="T18" fmla="*/ 519 w 3968"/>
              <a:gd name="T19" fmla="*/ 888 h 2349"/>
              <a:gd name="T20" fmla="*/ 336 w 3968"/>
              <a:gd name="T21" fmla="*/ 1025 h 2349"/>
              <a:gd name="T22" fmla="*/ 320 w 3968"/>
              <a:gd name="T23" fmla="*/ 1261 h 2349"/>
              <a:gd name="T24" fmla="*/ 482 w 3968"/>
              <a:gd name="T25" fmla="*/ 1422 h 2349"/>
              <a:gd name="T26" fmla="*/ 715 w 3968"/>
              <a:gd name="T27" fmla="*/ 1405 h 2349"/>
              <a:gd name="T28" fmla="*/ 853 w 3968"/>
              <a:gd name="T29" fmla="*/ 1219 h 2349"/>
              <a:gd name="T30" fmla="*/ 804 w 3968"/>
              <a:gd name="T31" fmla="*/ 993 h 2349"/>
              <a:gd name="T32" fmla="*/ 598 w 3968"/>
              <a:gd name="T33" fmla="*/ 882 h 2349"/>
              <a:gd name="T34" fmla="*/ 798 w 3968"/>
              <a:gd name="T35" fmla="*/ 757 h 2349"/>
              <a:gd name="T36" fmla="*/ 1085 w 3968"/>
              <a:gd name="T37" fmla="*/ 870 h 2349"/>
              <a:gd name="T38" fmla="*/ 1006 w 3968"/>
              <a:gd name="T39" fmla="*/ 1316 h 2349"/>
              <a:gd name="T40" fmla="*/ 745 w 3968"/>
              <a:gd name="T41" fmla="*/ 1582 h 2349"/>
              <a:gd name="T42" fmla="*/ 410 w 3968"/>
              <a:gd name="T43" fmla="*/ 1582 h 2349"/>
              <a:gd name="T44" fmla="*/ 227 w 3968"/>
              <a:gd name="T45" fmla="*/ 1627 h 2349"/>
              <a:gd name="T46" fmla="*/ 7 w 3968"/>
              <a:gd name="T47" fmla="*/ 1045 h 2349"/>
              <a:gd name="T48" fmla="*/ 402 w 3968"/>
              <a:gd name="T49" fmla="*/ 737 h 2349"/>
              <a:gd name="T50" fmla="*/ 480 w 3968"/>
              <a:gd name="T51" fmla="*/ 711 h 2349"/>
              <a:gd name="T52" fmla="*/ 3352 w 3968"/>
              <a:gd name="T53" fmla="*/ 714 h 2349"/>
              <a:gd name="T54" fmla="*/ 3445 w 3968"/>
              <a:gd name="T55" fmla="*/ 770 h 2349"/>
              <a:gd name="T56" fmla="*/ 3733 w 3968"/>
              <a:gd name="T57" fmla="*/ 1193 h 2349"/>
              <a:gd name="T58" fmla="*/ 3640 w 3968"/>
              <a:gd name="T59" fmla="*/ 1793 h 2349"/>
              <a:gd name="T60" fmla="*/ 3085 w 3968"/>
              <a:gd name="T61" fmla="*/ 2349 h 2349"/>
              <a:gd name="T62" fmla="*/ 2653 w 3968"/>
              <a:gd name="T63" fmla="*/ 2064 h 2349"/>
              <a:gd name="T64" fmla="*/ 2368 w 3968"/>
              <a:gd name="T65" fmla="*/ 2132 h 2349"/>
              <a:gd name="T66" fmla="*/ 2030 w 3968"/>
              <a:gd name="T67" fmla="*/ 1452 h 2349"/>
              <a:gd name="T68" fmla="*/ 2305 w 3968"/>
              <a:gd name="T69" fmla="*/ 709 h 2349"/>
              <a:gd name="T70" fmla="*/ 2822 w 3968"/>
              <a:gd name="T71" fmla="*/ 648 h 2349"/>
              <a:gd name="T72" fmla="*/ 2996 w 3968"/>
              <a:gd name="T73" fmla="*/ 413 h 2349"/>
              <a:gd name="T74" fmla="*/ 1490 w 3968"/>
              <a:gd name="T75" fmla="*/ 364 h 2349"/>
              <a:gd name="T76" fmla="*/ 1379 w 3968"/>
              <a:gd name="T77" fmla="*/ 570 h 2349"/>
              <a:gd name="T78" fmla="*/ 1459 w 3968"/>
              <a:gd name="T79" fmla="*/ 784 h 2349"/>
              <a:gd name="T80" fmla="*/ 1680 w 3968"/>
              <a:gd name="T81" fmla="*/ 865 h 2349"/>
              <a:gd name="T82" fmla="*/ 1880 w 3968"/>
              <a:gd name="T83" fmla="*/ 755 h 2349"/>
              <a:gd name="T84" fmla="*/ 1930 w 3968"/>
              <a:gd name="T85" fmla="*/ 525 h 2349"/>
              <a:gd name="T86" fmla="*/ 1793 w 3968"/>
              <a:gd name="T87" fmla="*/ 343 h 2349"/>
              <a:gd name="T88" fmla="*/ 1835 w 3968"/>
              <a:gd name="T89" fmla="*/ 165 h 2349"/>
              <a:gd name="T90" fmla="*/ 1905 w 3968"/>
              <a:gd name="T91" fmla="*/ 201 h 2349"/>
              <a:gd name="T92" fmla="*/ 2097 w 3968"/>
              <a:gd name="T93" fmla="*/ 469 h 2349"/>
              <a:gd name="T94" fmla="*/ 2120 w 3968"/>
              <a:gd name="T95" fmla="*/ 939 h 2349"/>
              <a:gd name="T96" fmla="*/ 1556 w 3968"/>
              <a:gd name="T97" fmla="*/ 1155 h 2349"/>
              <a:gd name="T98" fmla="*/ 1450 w 3968"/>
              <a:gd name="T99" fmla="*/ 994 h 2349"/>
              <a:gd name="T100" fmla="*/ 1232 w 3968"/>
              <a:gd name="T101" fmla="*/ 749 h 2349"/>
              <a:gd name="T102" fmla="*/ 1270 w 3968"/>
              <a:gd name="T103" fmla="*/ 341 h 2349"/>
              <a:gd name="T104" fmla="*/ 1522 w 3968"/>
              <a:gd name="T105" fmla="*/ 149 h 2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968" h="2349">
                <a:moveTo>
                  <a:pt x="3018" y="927"/>
                </a:moveTo>
                <a:lnTo>
                  <a:pt x="2966" y="928"/>
                </a:lnTo>
                <a:lnTo>
                  <a:pt x="2915" y="934"/>
                </a:lnTo>
                <a:lnTo>
                  <a:pt x="2865" y="948"/>
                </a:lnTo>
                <a:lnTo>
                  <a:pt x="2817" y="965"/>
                </a:lnTo>
                <a:lnTo>
                  <a:pt x="2771" y="988"/>
                </a:lnTo>
                <a:lnTo>
                  <a:pt x="2728" y="1016"/>
                </a:lnTo>
                <a:lnTo>
                  <a:pt x="2688" y="1047"/>
                </a:lnTo>
                <a:lnTo>
                  <a:pt x="2653" y="1085"/>
                </a:lnTo>
                <a:lnTo>
                  <a:pt x="2621" y="1125"/>
                </a:lnTo>
                <a:lnTo>
                  <a:pt x="2594" y="1170"/>
                </a:lnTo>
                <a:lnTo>
                  <a:pt x="2571" y="1217"/>
                </a:lnTo>
                <a:lnTo>
                  <a:pt x="2554" y="1269"/>
                </a:lnTo>
                <a:lnTo>
                  <a:pt x="2542" y="1322"/>
                </a:lnTo>
                <a:lnTo>
                  <a:pt x="2537" y="1374"/>
                </a:lnTo>
                <a:lnTo>
                  <a:pt x="2538" y="1428"/>
                </a:lnTo>
                <a:lnTo>
                  <a:pt x="2545" y="1479"/>
                </a:lnTo>
                <a:lnTo>
                  <a:pt x="2558" y="1528"/>
                </a:lnTo>
                <a:lnTo>
                  <a:pt x="2575" y="1577"/>
                </a:lnTo>
                <a:lnTo>
                  <a:pt x="2598" y="1622"/>
                </a:lnTo>
                <a:lnTo>
                  <a:pt x="2625" y="1665"/>
                </a:lnTo>
                <a:lnTo>
                  <a:pt x="2658" y="1704"/>
                </a:lnTo>
                <a:lnTo>
                  <a:pt x="2695" y="1741"/>
                </a:lnTo>
                <a:lnTo>
                  <a:pt x="2735" y="1772"/>
                </a:lnTo>
                <a:lnTo>
                  <a:pt x="2779" y="1800"/>
                </a:lnTo>
                <a:lnTo>
                  <a:pt x="2828" y="1823"/>
                </a:lnTo>
                <a:lnTo>
                  <a:pt x="2879" y="1840"/>
                </a:lnTo>
                <a:lnTo>
                  <a:pt x="2932" y="1851"/>
                </a:lnTo>
                <a:lnTo>
                  <a:pt x="2985" y="1857"/>
                </a:lnTo>
                <a:lnTo>
                  <a:pt x="3038" y="1856"/>
                </a:lnTo>
                <a:lnTo>
                  <a:pt x="3088" y="1848"/>
                </a:lnTo>
                <a:lnTo>
                  <a:pt x="3138" y="1836"/>
                </a:lnTo>
                <a:lnTo>
                  <a:pt x="3187" y="1818"/>
                </a:lnTo>
                <a:lnTo>
                  <a:pt x="3232" y="1795"/>
                </a:lnTo>
                <a:lnTo>
                  <a:pt x="3275" y="1768"/>
                </a:lnTo>
                <a:lnTo>
                  <a:pt x="3314" y="1736"/>
                </a:lnTo>
                <a:lnTo>
                  <a:pt x="3350" y="1699"/>
                </a:lnTo>
                <a:lnTo>
                  <a:pt x="3383" y="1658"/>
                </a:lnTo>
                <a:lnTo>
                  <a:pt x="3410" y="1614"/>
                </a:lnTo>
                <a:lnTo>
                  <a:pt x="3433" y="1566"/>
                </a:lnTo>
                <a:lnTo>
                  <a:pt x="3450" y="1514"/>
                </a:lnTo>
                <a:lnTo>
                  <a:pt x="3462" y="1462"/>
                </a:lnTo>
                <a:lnTo>
                  <a:pt x="3467" y="1408"/>
                </a:lnTo>
                <a:lnTo>
                  <a:pt x="3465" y="1356"/>
                </a:lnTo>
                <a:lnTo>
                  <a:pt x="3458" y="1305"/>
                </a:lnTo>
                <a:lnTo>
                  <a:pt x="3446" y="1254"/>
                </a:lnTo>
                <a:lnTo>
                  <a:pt x="3428" y="1207"/>
                </a:lnTo>
                <a:lnTo>
                  <a:pt x="3406" y="1161"/>
                </a:lnTo>
                <a:lnTo>
                  <a:pt x="3378" y="1119"/>
                </a:lnTo>
                <a:lnTo>
                  <a:pt x="3345" y="1079"/>
                </a:lnTo>
                <a:lnTo>
                  <a:pt x="3309" y="1042"/>
                </a:lnTo>
                <a:lnTo>
                  <a:pt x="3268" y="1011"/>
                </a:lnTo>
                <a:lnTo>
                  <a:pt x="3224" y="983"/>
                </a:lnTo>
                <a:lnTo>
                  <a:pt x="3176" y="961"/>
                </a:lnTo>
                <a:lnTo>
                  <a:pt x="3125" y="943"/>
                </a:lnTo>
                <a:lnTo>
                  <a:pt x="3072" y="932"/>
                </a:lnTo>
                <a:lnTo>
                  <a:pt x="3018" y="927"/>
                </a:lnTo>
                <a:close/>
                <a:moveTo>
                  <a:pt x="598" y="882"/>
                </a:moveTo>
                <a:lnTo>
                  <a:pt x="558" y="882"/>
                </a:lnTo>
                <a:lnTo>
                  <a:pt x="519" y="888"/>
                </a:lnTo>
                <a:lnTo>
                  <a:pt x="481" y="899"/>
                </a:lnTo>
                <a:lnTo>
                  <a:pt x="446" y="916"/>
                </a:lnTo>
                <a:lnTo>
                  <a:pt x="413" y="937"/>
                </a:lnTo>
                <a:lnTo>
                  <a:pt x="383" y="962"/>
                </a:lnTo>
                <a:lnTo>
                  <a:pt x="358" y="993"/>
                </a:lnTo>
                <a:lnTo>
                  <a:pt x="336" y="1025"/>
                </a:lnTo>
                <a:lnTo>
                  <a:pt x="319" y="1062"/>
                </a:lnTo>
                <a:lnTo>
                  <a:pt x="308" y="1102"/>
                </a:lnTo>
                <a:lnTo>
                  <a:pt x="302" y="1143"/>
                </a:lnTo>
                <a:lnTo>
                  <a:pt x="302" y="1183"/>
                </a:lnTo>
                <a:lnTo>
                  <a:pt x="308" y="1223"/>
                </a:lnTo>
                <a:lnTo>
                  <a:pt x="320" y="1261"/>
                </a:lnTo>
                <a:lnTo>
                  <a:pt x="336" y="1296"/>
                </a:lnTo>
                <a:lnTo>
                  <a:pt x="358" y="1328"/>
                </a:lnTo>
                <a:lnTo>
                  <a:pt x="383" y="1357"/>
                </a:lnTo>
                <a:lnTo>
                  <a:pt x="412" y="1383"/>
                </a:lnTo>
                <a:lnTo>
                  <a:pt x="446" y="1405"/>
                </a:lnTo>
                <a:lnTo>
                  <a:pt x="482" y="1422"/>
                </a:lnTo>
                <a:lnTo>
                  <a:pt x="522" y="1434"/>
                </a:lnTo>
                <a:lnTo>
                  <a:pt x="564" y="1439"/>
                </a:lnTo>
                <a:lnTo>
                  <a:pt x="604" y="1439"/>
                </a:lnTo>
                <a:lnTo>
                  <a:pt x="642" y="1433"/>
                </a:lnTo>
                <a:lnTo>
                  <a:pt x="680" y="1422"/>
                </a:lnTo>
                <a:lnTo>
                  <a:pt x="715" y="1405"/>
                </a:lnTo>
                <a:lnTo>
                  <a:pt x="748" y="1384"/>
                </a:lnTo>
                <a:lnTo>
                  <a:pt x="778" y="1359"/>
                </a:lnTo>
                <a:lnTo>
                  <a:pt x="804" y="1328"/>
                </a:lnTo>
                <a:lnTo>
                  <a:pt x="825" y="1296"/>
                </a:lnTo>
                <a:lnTo>
                  <a:pt x="842" y="1258"/>
                </a:lnTo>
                <a:lnTo>
                  <a:pt x="853" y="1219"/>
                </a:lnTo>
                <a:lnTo>
                  <a:pt x="859" y="1178"/>
                </a:lnTo>
                <a:lnTo>
                  <a:pt x="859" y="1138"/>
                </a:lnTo>
                <a:lnTo>
                  <a:pt x="853" y="1098"/>
                </a:lnTo>
                <a:lnTo>
                  <a:pt x="841" y="1061"/>
                </a:lnTo>
                <a:lnTo>
                  <a:pt x="825" y="1025"/>
                </a:lnTo>
                <a:lnTo>
                  <a:pt x="804" y="993"/>
                </a:lnTo>
                <a:lnTo>
                  <a:pt x="778" y="964"/>
                </a:lnTo>
                <a:lnTo>
                  <a:pt x="749" y="937"/>
                </a:lnTo>
                <a:lnTo>
                  <a:pt x="715" y="916"/>
                </a:lnTo>
                <a:lnTo>
                  <a:pt x="679" y="899"/>
                </a:lnTo>
                <a:lnTo>
                  <a:pt x="639" y="887"/>
                </a:lnTo>
                <a:lnTo>
                  <a:pt x="598" y="882"/>
                </a:lnTo>
                <a:close/>
                <a:moveTo>
                  <a:pt x="544" y="573"/>
                </a:moveTo>
                <a:lnTo>
                  <a:pt x="727" y="593"/>
                </a:lnTo>
                <a:lnTo>
                  <a:pt x="758" y="738"/>
                </a:lnTo>
                <a:lnTo>
                  <a:pt x="771" y="744"/>
                </a:lnTo>
                <a:lnTo>
                  <a:pt x="784" y="750"/>
                </a:lnTo>
                <a:lnTo>
                  <a:pt x="798" y="757"/>
                </a:lnTo>
                <a:lnTo>
                  <a:pt x="811" y="765"/>
                </a:lnTo>
                <a:lnTo>
                  <a:pt x="822" y="771"/>
                </a:lnTo>
                <a:lnTo>
                  <a:pt x="828" y="774"/>
                </a:lnTo>
                <a:lnTo>
                  <a:pt x="832" y="777"/>
                </a:lnTo>
                <a:lnTo>
                  <a:pt x="972" y="725"/>
                </a:lnTo>
                <a:lnTo>
                  <a:pt x="1085" y="870"/>
                </a:lnTo>
                <a:lnTo>
                  <a:pt x="1004" y="991"/>
                </a:lnTo>
                <a:lnTo>
                  <a:pt x="1012" y="1017"/>
                </a:lnTo>
                <a:lnTo>
                  <a:pt x="1021" y="1041"/>
                </a:lnTo>
                <a:lnTo>
                  <a:pt x="1159" y="1094"/>
                </a:lnTo>
                <a:lnTo>
                  <a:pt x="1148" y="1279"/>
                </a:lnTo>
                <a:lnTo>
                  <a:pt x="1006" y="1316"/>
                </a:lnTo>
                <a:lnTo>
                  <a:pt x="993" y="1349"/>
                </a:lnTo>
                <a:lnTo>
                  <a:pt x="977" y="1379"/>
                </a:lnTo>
                <a:lnTo>
                  <a:pt x="1042" y="1513"/>
                </a:lnTo>
                <a:lnTo>
                  <a:pt x="908" y="1639"/>
                </a:lnTo>
                <a:lnTo>
                  <a:pt x="779" y="1566"/>
                </a:lnTo>
                <a:lnTo>
                  <a:pt x="745" y="1582"/>
                </a:lnTo>
                <a:lnTo>
                  <a:pt x="710" y="1594"/>
                </a:lnTo>
                <a:lnTo>
                  <a:pt x="663" y="1731"/>
                </a:lnTo>
                <a:lnTo>
                  <a:pt x="479" y="1728"/>
                </a:lnTo>
                <a:lnTo>
                  <a:pt x="438" y="1591"/>
                </a:lnTo>
                <a:lnTo>
                  <a:pt x="424" y="1587"/>
                </a:lnTo>
                <a:lnTo>
                  <a:pt x="410" y="1582"/>
                </a:lnTo>
                <a:lnTo>
                  <a:pt x="395" y="1576"/>
                </a:lnTo>
                <a:lnTo>
                  <a:pt x="383" y="1571"/>
                </a:lnTo>
                <a:lnTo>
                  <a:pt x="372" y="1567"/>
                </a:lnTo>
                <a:lnTo>
                  <a:pt x="365" y="1564"/>
                </a:lnTo>
                <a:lnTo>
                  <a:pt x="362" y="1562"/>
                </a:lnTo>
                <a:lnTo>
                  <a:pt x="227" y="1627"/>
                </a:lnTo>
                <a:lnTo>
                  <a:pt x="101" y="1491"/>
                </a:lnTo>
                <a:lnTo>
                  <a:pt x="172" y="1364"/>
                </a:lnTo>
                <a:lnTo>
                  <a:pt x="154" y="1322"/>
                </a:lnTo>
                <a:lnTo>
                  <a:pt x="141" y="1280"/>
                </a:lnTo>
                <a:lnTo>
                  <a:pt x="0" y="1229"/>
                </a:lnTo>
                <a:lnTo>
                  <a:pt x="7" y="1045"/>
                </a:lnTo>
                <a:lnTo>
                  <a:pt x="149" y="1005"/>
                </a:lnTo>
                <a:lnTo>
                  <a:pt x="168" y="957"/>
                </a:lnTo>
                <a:lnTo>
                  <a:pt x="194" y="914"/>
                </a:lnTo>
                <a:lnTo>
                  <a:pt x="141" y="774"/>
                </a:lnTo>
                <a:lnTo>
                  <a:pt x="284" y="659"/>
                </a:lnTo>
                <a:lnTo>
                  <a:pt x="402" y="737"/>
                </a:lnTo>
                <a:lnTo>
                  <a:pt x="416" y="732"/>
                </a:lnTo>
                <a:lnTo>
                  <a:pt x="430" y="726"/>
                </a:lnTo>
                <a:lnTo>
                  <a:pt x="446" y="721"/>
                </a:lnTo>
                <a:lnTo>
                  <a:pt x="461" y="717"/>
                </a:lnTo>
                <a:lnTo>
                  <a:pt x="472" y="714"/>
                </a:lnTo>
                <a:lnTo>
                  <a:pt x="480" y="711"/>
                </a:lnTo>
                <a:lnTo>
                  <a:pt x="484" y="710"/>
                </a:lnTo>
                <a:lnTo>
                  <a:pt x="544" y="573"/>
                </a:lnTo>
                <a:close/>
                <a:moveTo>
                  <a:pt x="2996" y="413"/>
                </a:moveTo>
                <a:lnTo>
                  <a:pt x="3299" y="462"/>
                </a:lnTo>
                <a:lnTo>
                  <a:pt x="3337" y="705"/>
                </a:lnTo>
                <a:lnTo>
                  <a:pt x="3352" y="714"/>
                </a:lnTo>
                <a:lnTo>
                  <a:pt x="3368" y="724"/>
                </a:lnTo>
                <a:lnTo>
                  <a:pt x="3387" y="733"/>
                </a:lnTo>
                <a:lnTo>
                  <a:pt x="3404" y="744"/>
                </a:lnTo>
                <a:lnTo>
                  <a:pt x="3419" y="754"/>
                </a:lnTo>
                <a:lnTo>
                  <a:pt x="3433" y="764"/>
                </a:lnTo>
                <a:lnTo>
                  <a:pt x="3445" y="770"/>
                </a:lnTo>
                <a:lnTo>
                  <a:pt x="3452" y="774"/>
                </a:lnTo>
                <a:lnTo>
                  <a:pt x="3455" y="777"/>
                </a:lnTo>
                <a:lnTo>
                  <a:pt x="3693" y="704"/>
                </a:lnTo>
                <a:lnTo>
                  <a:pt x="3868" y="956"/>
                </a:lnTo>
                <a:lnTo>
                  <a:pt x="3720" y="1150"/>
                </a:lnTo>
                <a:lnTo>
                  <a:pt x="3733" y="1193"/>
                </a:lnTo>
                <a:lnTo>
                  <a:pt x="3743" y="1235"/>
                </a:lnTo>
                <a:lnTo>
                  <a:pt x="3968" y="1337"/>
                </a:lnTo>
                <a:lnTo>
                  <a:pt x="3935" y="1641"/>
                </a:lnTo>
                <a:lnTo>
                  <a:pt x="3696" y="1691"/>
                </a:lnTo>
                <a:lnTo>
                  <a:pt x="3669" y="1743"/>
                </a:lnTo>
                <a:lnTo>
                  <a:pt x="3640" y="1793"/>
                </a:lnTo>
                <a:lnTo>
                  <a:pt x="3737" y="2022"/>
                </a:lnTo>
                <a:lnTo>
                  <a:pt x="3502" y="2217"/>
                </a:lnTo>
                <a:lnTo>
                  <a:pt x="3293" y="2085"/>
                </a:lnTo>
                <a:lnTo>
                  <a:pt x="3236" y="2108"/>
                </a:lnTo>
                <a:lnTo>
                  <a:pt x="3177" y="2125"/>
                </a:lnTo>
                <a:lnTo>
                  <a:pt x="3085" y="2349"/>
                </a:lnTo>
                <a:lnTo>
                  <a:pt x="2779" y="2325"/>
                </a:lnTo>
                <a:lnTo>
                  <a:pt x="2724" y="2094"/>
                </a:lnTo>
                <a:lnTo>
                  <a:pt x="2707" y="2087"/>
                </a:lnTo>
                <a:lnTo>
                  <a:pt x="2688" y="2080"/>
                </a:lnTo>
                <a:lnTo>
                  <a:pt x="2670" y="2071"/>
                </a:lnTo>
                <a:lnTo>
                  <a:pt x="2653" y="2064"/>
                </a:lnTo>
                <a:lnTo>
                  <a:pt x="2636" y="2057"/>
                </a:lnTo>
                <a:lnTo>
                  <a:pt x="2622" y="2050"/>
                </a:lnTo>
                <a:lnTo>
                  <a:pt x="2611" y="2045"/>
                </a:lnTo>
                <a:lnTo>
                  <a:pt x="2604" y="2041"/>
                </a:lnTo>
                <a:lnTo>
                  <a:pt x="2601" y="2040"/>
                </a:lnTo>
                <a:lnTo>
                  <a:pt x="2368" y="2132"/>
                </a:lnTo>
                <a:lnTo>
                  <a:pt x="2173" y="1897"/>
                </a:lnTo>
                <a:lnTo>
                  <a:pt x="2304" y="1690"/>
                </a:lnTo>
                <a:lnTo>
                  <a:pt x="2286" y="1645"/>
                </a:lnTo>
                <a:lnTo>
                  <a:pt x="2270" y="1597"/>
                </a:lnTo>
                <a:lnTo>
                  <a:pt x="2258" y="1550"/>
                </a:lnTo>
                <a:lnTo>
                  <a:pt x="2030" y="1452"/>
                </a:lnTo>
                <a:lnTo>
                  <a:pt x="2058" y="1147"/>
                </a:lnTo>
                <a:lnTo>
                  <a:pt x="2299" y="1092"/>
                </a:lnTo>
                <a:lnTo>
                  <a:pt x="2324" y="1041"/>
                </a:lnTo>
                <a:lnTo>
                  <a:pt x="2352" y="993"/>
                </a:lnTo>
                <a:lnTo>
                  <a:pt x="2382" y="945"/>
                </a:lnTo>
                <a:lnTo>
                  <a:pt x="2305" y="709"/>
                </a:lnTo>
                <a:lnTo>
                  <a:pt x="2555" y="530"/>
                </a:lnTo>
                <a:lnTo>
                  <a:pt x="2745" y="670"/>
                </a:lnTo>
                <a:lnTo>
                  <a:pt x="2762" y="665"/>
                </a:lnTo>
                <a:lnTo>
                  <a:pt x="2782" y="659"/>
                </a:lnTo>
                <a:lnTo>
                  <a:pt x="2802" y="654"/>
                </a:lnTo>
                <a:lnTo>
                  <a:pt x="2822" y="648"/>
                </a:lnTo>
                <a:lnTo>
                  <a:pt x="2841" y="645"/>
                </a:lnTo>
                <a:lnTo>
                  <a:pt x="2857" y="641"/>
                </a:lnTo>
                <a:lnTo>
                  <a:pt x="2870" y="637"/>
                </a:lnTo>
                <a:lnTo>
                  <a:pt x="2879" y="636"/>
                </a:lnTo>
                <a:lnTo>
                  <a:pt x="2882" y="635"/>
                </a:lnTo>
                <a:lnTo>
                  <a:pt x="2996" y="413"/>
                </a:lnTo>
                <a:close/>
                <a:moveTo>
                  <a:pt x="1675" y="309"/>
                </a:moveTo>
                <a:lnTo>
                  <a:pt x="1635" y="309"/>
                </a:lnTo>
                <a:lnTo>
                  <a:pt x="1595" y="315"/>
                </a:lnTo>
                <a:lnTo>
                  <a:pt x="1558" y="326"/>
                </a:lnTo>
                <a:lnTo>
                  <a:pt x="1522" y="343"/>
                </a:lnTo>
                <a:lnTo>
                  <a:pt x="1490" y="364"/>
                </a:lnTo>
                <a:lnTo>
                  <a:pt x="1461" y="389"/>
                </a:lnTo>
                <a:lnTo>
                  <a:pt x="1434" y="419"/>
                </a:lnTo>
                <a:lnTo>
                  <a:pt x="1413" y="452"/>
                </a:lnTo>
                <a:lnTo>
                  <a:pt x="1396" y="490"/>
                </a:lnTo>
                <a:lnTo>
                  <a:pt x="1384" y="528"/>
                </a:lnTo>
                <a:lnTo>
                  <a:pt x="1379" y="570"/>
                </a:lnTo>
                <a:lnTo>
                  <a:pt x="1379" y="610"/>
                </a:lnTo>
                <a:lnTo>
                  <a:pt x="1385" y="650"/>
                </a:lnTo>
                <a:lnTo>
                  <a:pt x="1396" y="687"/>
                </a:lnTo>
                <a:lnTo>
                  <a:pt x="1413" y="722"/>
                </a:lnTo>
                <a:lnTo>
                  <a:pt x="1434" y="755"/>
                </a:lnTo>
                <a:lnTo>
                  <a:pt x="1459" y="784"/>
                </a:lnTo>
                <a:lnTo>
                  <a:pt x="1490" y="810"/>
                </a:lnTo>
                <a:lnTo>
                  <a:pt x="1522" y="831"/>
                </a:lnTo>
                <a:lnTo>
                  <a:pt x="1559" y="848"/>
                </a:lnTo>
                <a:lnTo>
                  <a:pt x="1599" y="861"/>
                </a:lnTo>
                <a:lnTo>
                  <a:pt x="1640" y="865"/>
                </a:lnTo>
                <a:lnTo>
                  <a:pt x="1680" y="865"/>
                </a:lnTo>
                <a:lnTo>
                  <a:pt x="1720" y="859"/>
                </a:lnTo>
                <a:lnTo>
                  <a:pt x="1758" y="848"/>
                </a:lnTo>
                <a:lnTo>
                  <a:pt x="1793" y="831"/>
                </a:lnTo>
                <a:lnTo>
                  <a:pt x="1825" y="811"/>
                </a:lnTo>
                <a:lnTo>
                  <a:pt x="1855" y="785"/>
                </a:lnTo>
                <a:lnTo>
                  <a:pt x="1880" y="755"/>
                </a:lnTo>
                <a:lnTo>
                  <a:pt x="1902" y="722"/>
                </a:lnTo>
                <a:lnTo>
                  <a:pt x="1919" y="685"/>
                </a:lnTo>
                <a:lnTo>
                  <a:pt x="1931" y="646"/>
                </a:lnTo>
                <a:lnTo>
                  <a:pt x="1936" y="605"/>
                </a:lnTo>
                <a:lnTo>
                  <a:pt x="1936" y="565"/>
                </a:lnTo>
                <a:lnTo>
                  <a:pt x="1930" y="525"/>
                </a:lnTo>
                <a:lnTo>
                  <a:pt x="1919" y="487"/>
                </a:lnTo>
                <a:lnTo>
                  <a:pt x="1902" y="452"/>
                </a:lnTo>
                <a:lnTo>
                  <a:pt x="1881" y="419"/>
                </a:lnTo>
                <a:lnTo>
                  <a:pt x="1856" y="390"/>
                </a:lnTo>
                <a:lnTo>
                  <a:pt x="1825" y="365"/>
                </a:lnTo>
                <a:lnTo>
                  <a:pt x="1793" y="343"/>
                </a:lnTo>
                <a:lnTo>
                  <a:pt x="1755" y="326"/>
                </a:lnTo>
                <a:lnTo>
                  <a:pt x="1716" y="314"/>
                </a:lnTo>
                <a:lnTo>
                  <a:pt x="1675" y="309"/>
                </a:lnTo>
                <a:close/>
                <a:moveTo>
                  <a:pt x="1622" y="0"/>
                </a:moveTo>
                <a:lnTo>
                  <a:pt x="1805" y="19"/>
                </a:lnTo>
                <a:lnTo>
                  <a:pt x="1835" y="165"/>
                </a:lnTo>
                <a:lnTo>
                  <a:pt x="1847" y="171"/>
                </a:lnTo>
                <a:lnTo>
                  <a:pt x="1861" y="177"/>
                </a:lnTo>
                <a:lnTo>
                  <a:pt x="1875" y="184"/>
                </a:lnTo>
                <a:lnTo>
                  <a:pt x="1887" y="191"/>
                </a:lnTo>
                <a:lnTo>
                  <a:pt x="1898" y="197"/>
                </a:lnTo>
                <a:lnTo>
                  <a:pt x="1905" y="201"/>
                </a:lnTo>
                <a:lnTo>
                  <a:pt x="1908" y="204"/>
                </a:lnTo>
                <a:lnTo>
                  <a:pt x="2050" y="151"/>
                </a:lnTo>
                <a:lnTo>
                  <a:pt x="2162" y="297"/>
                </a:lnTo>
                <a:lnTo>
                  <a:pt x="2080" y="418"/>
                </a:lnTo>
                <a:lnTo>
                  <a:pt x="2090" y="444"/>
                </a:lnTo>
                <a:lnTo>
                  <a:pt x="2097" y="469"/>
                </a:lnTo>
                <a:lnTo>
                  <a:pt x="2235" y="521"/>
                </a:lnTo>
                <a:lnTo>
                  <a:pt x="2225" y="705"/>
                </a:lnTo>
                <a:lnTo>
                  <a:pt x="2084" y="743"/>
                </a:lnTo>
                <a:lnTo>
                  <a:pt x="2070" y="776"/>
                </a:lnTo>
                <a:lnTo>
                  <a:pt x="2053" y="806"/>
                </a:lnTo>
                <a:lnTo>
                  <a:pt x="2120" y="939"/>
                </a:lnTo>
                <a:lnTo>
                  <a:pt x="1985" y="1065"/>
                </a:lnTo>
                <a:lnTo>
                  <a:pt x="1856" y="993"/>
                </a:lnTo>
                <a:lnTo>
                  <a:pt x="1822" y="1008"/>
                </a:lnTo>
                <a:lnTo>
                  <a:pt x="1787" y="1021"/>
                </a:lnTo>
                <a:lnTo>
                  <a:pt x="1739" y="1157"/>
                </a:lnTo>
                <a:lnTo>
                  <a:pt x="1556" y="1155"/>
                </a:lnTo>
                <a:lnTo>
                  <a:pt x="1514" y="1018"/>
                </a:lnTo>
                <a:lnTo>
                  <a:pt x="1501" y="1013"/>
                </a:lnTo>
                <a:lnTo>
                  <a:pt x="1487" y="1008"/>
                </a:lnTo>
                <a:lnTo>
                  <a:pt x="1473" y="1002"/>
                </a:lnTo>
                <a:lnTo>
                  <a:pt x="1459" y="997"/>
                </a:lnTo>
                <a:lnTo>
                  <a:pt x="1450" y="994"/>
                </a:lnTo>
                <a:lnTo>
                  <a:pt x="1442" y="990"/>
                </a:lnTo>
                <a:lnTo>
                  <a:pt x="1439" y="989"/>
                </a:lnTo>
                <a:lnTo>
                  <a:pt x="1303" y="1053"/>
                </a:lnTo>
                <a:lnTo>
                  <a:pt x="1178" y="917"/>
                </a:lnTo>
                <a:lnTo>
                  <a:pt x="1248" y="790"/>
                </a:lnTo>
                <a:lnTo>
                  <a:pt x="1232" y="749"/>
                </a:lnTo>
                <a:lnTo>
                  <a:pt x="1217" y="707"/>
                </a:lnTo>
                <a:lnTo>
                  <a:pt x="1078" y="656"/>
                </a:lnTo>
                <a:lnTo>
                  <a:pt x="1084" y="471"/>
                </a:lnTo>
                <a:lnTo>
                  <a:pt x="1227" y="431"/>
                </a:lnTo>
                <a:lnTo>
                  <a:pt x="1246" y="384"/>
                </a:lnTo>
                <a:lnTo>
                  <a:pt x="1270" y="341"/>
                </a:lnTo>
                <a:lnTo>
                  <a:pt x="1217" y="201"/>
                </a:lnTo>
                <a:lnTo>
                  <a:pt x="1360" y="86"/>
                </a:lnTo>
                <a:lnTo>
                  <a:pt x="1480" y="164"/>
                </a:lnTo>
                <a:lnTo>
                  <a:pt x="1493" y="159"/>
                </a:lnTo>
                <a:lnTo>
                  <a:pt x="1508" y="154"/>
                </a:lnTo>
                <a:lnTo>
                  <a:pt x="1522" y="149"/>
                </a:lnTo>
                <a:lnTo>
                  <a:pt x="1537" y="144"/>
                </a:lnTo>
                <a:lnTo>
                  <a:pt x="1549" y="141"/>
                </a:lnTo>
                <a:lnTo>
                  <a:pt x="1558" y="138"/>
                </a:lnTo>
                <a:lnTo>
                  <a:pt x="1560" y="138"/>
                </a:lnTo>
                <a:lnTo>
                  <a:pt x="1622" y="0"/>
                </a:lnTo>
                <a:close/>
              </a:path>
            </a:pathLst>
          </a:custGeom>
          <a:solidFill>
            <a:schemeClr val="accent2">
              <a:alpha val="23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p>
        </p:txBody>
      </p:sp>
      <p:sp>
        <p:nvSpPr>
          <p:cNvPr id="15" name="Rectangle 14"/>
          <p:cNvSpPr/>
          <p:nvPr/>
        </p:nvSpPr>
        <p:spPr>
          <a:xfrm>
            <a:off x="4354643" y="994140"/>
            <a:ext cx="4542019" cy="3320321"/>
          </a:xfrm>
          <a:prstGeom prst="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1"/>
          </p:nvPr>
        </p:nvSpPr>
        <p:spPr/>
        <p:txBody>
          <a:bodyPr/>
          <a:lstStyle/>
          <a:p>
            <a:pPr>
              <a:defRPr/>
            </a:pPr>
            <a:fld id="{1D1043DC-2681-49D5-9D69-158B3FA3398E}" type="slidenum">
              <a:rPr lang="en-US" noProof="1" smtClean="0"/>
              <a:pPr>
                <a:defRPr/>
              </a:pPr>
              <a:t>25</a:t>
            </a:fld>
            <a:endParaRPr lang="en-US" noProof="1"/>
          </a:p>
        </p:txBody>
      </p:sp>
      <p:sp>
        <p:nvSpPr>
          <p:cNvPr id="6" name="Title 5"/>
          <p:cNvSpPr>
            <a:spLocks noGrp="1"/>
          </p:cNvSpPr>
          <p:nvPr>
            <p:ph type="title"/>
          </p:nvPr>
        </p:nvSpPr>
        <p:spPr/>
        <p:txBody>
          <a:bodyPr/>
          <a:lstStyle/>
          <a:p>
            <a:r>
              <a:rPr lang="en-US" dirty="0"/>
              <a:t>Getting rid of OWASP vulnerabilities – </a:t>
            </a:r>
            <a:r>
              <a:rPr lang="en-US" dirty="0" err="1"/>
              <a:t>XFrame</a:t>
            </a:r>
            <a:r>
              <a:rPr lang="en-US" dirty="0"/>
              <a:t> example</a:t>
            </a:r>
          </a:p>
        </p:txBody>
      </p:sp>
      <p:sp>
        <p:nvSpPr>
          <p:cNvPr id="12" name="Pentagon 11"/>
          <p:cNvSpPr/>
          <p:nvPr/>
        </p:nvSpPr>
        <p:spPr bwMode="auto">
          <a:xfrm rot="10800000" flipH="1">
            <a:off x="-11155" y="889000"/>
            <a:ext cx="4651964" cy="3530600"/>
          </a:xfrm>
          <a:prstGeom prst="homePlate">
            <a:avLst>
              <a:gd name="adj" fmla="val 5811"/>
            </a:avLst>
          </a:prstGeom>
          <a:gradFill flip="none" rotWithShape="1">
            <a:gsLst>
              <a:gs pos="100000">
                <a:srgbClr val="FFFFFF"/>
              </a:gs>
              <a:gs pos="0">
                <a:schemeClr val="bg1"/>
              </a:gs>
              <a:gs pos="0">
                <a:schemeClr val="accent2"/>
              </a:gs>
            </a:gsLst>
            <a:lin ang="5400000" scaled="1"/>
            <a:tileRect/>
          </a:gra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0" tIns="0" bIns="0" rtlCol="0" anchor="ctr"/>
          <a:lstStyle/>
          <a:p>
            <a:pPr marL="214313" indent="-214313">
              <a:buFont typeface="Arial" panose="020B0604020202020204" pitchFamily="34" charset="0"/>
              <a:buChar char="•"/>
            </a:pPr>
            <a:endParaRPr lang="en-US" sz="1200" dirty="0">
              <a:solidFill>
                <a:schemeClr val="tx1"/>
              </a:solidFill>
            </a:endParaRPr>
          </a:p>
        </p:txBody>
      </p:sp>
      <p:sp>
        <p:nvSpPr>
          <p:cNvPr id="13" name="Rectangle 12"/>
          <p:cNvSpPr/>
          <p:nvPr/>
        </p:nvSpPr>
        <p:spPr>
          <a:xfrm>
            <a:off x="-228849" y="1590878"/>
            <a:ext cx="4953249" cy="2126845"/>
          </a:xfrm>
          <a:prstGeom prst="rect">
            <a:avLst/>
          </a:prstGeom>
          <a:noFill/>
          <a:ln w="12700">
            <a:noFill/>
          </a:ln>
          <a:effectLst/>
        </p:spPr>
        <p:style>
          <a:lnRef idx="1">
            <a:schemeClr val="accent1"/>
          </a:lnRef>
          <a:fillRef idx="3">
            <a:schemeClr val="accent1"/>
          </a:fillRef>
          <a:effectRef idx="2">
            <a:schemeClr val="accent1"/>
          </a:effectRef>
          <a:fontRef idx="minor">
            <a:schemeClr val="lt1"/>
          </a:fontRef>
        </p:style>
        <p:txBody>
          <a:bodyPr lIns="360000" tIns="36000" rIns="360000" bIns="36000" rtlCol="0" anchor="ctr"/>
          <a:lstStyle/>
          <a:p>
            <a:pPr lvl="1">
              <a:lnSpc>
                <a:spcPct val="150000"/>
              </a:lnSpc>
            </a:pPr>
            <a:r>
              <a:rPr lang="en-US" sz="1400" b="1" dirty="0">
                <a:solidFill>
                  <a:schemeClr val="accent1"/>
                </a:solidFill>
              </a:rPr>
              <a:t>Main approaches (from best to worst):</a:t>
            </a:r>
          </a:p>
          <a:p>
            <a:pPr marL="557213" lvl="1" indent="-214313">
              <a:lnSpc>
                <a:spcPct val="150000"/>
              </a:lnSpc>
              <a:buClr>
                <a:schemeClr val="accent1"/>
              </a:buClr>
              <a:buFont typeface="Wingdings" panose="05000000000000000000" pitchFamily="2" charset="2"/>
              <a:buChar char="§"/>
            </a:pPr>
            <a:r>
              <a:rPr lang="en-US" sz="1200" dirty="0">
                <a:solidFill>
                  <a:schemeClr val="tx1"/>
                </a:solidFill>
              </a:rPr>
              <a:t>If the library/module is not used at all (it happened), remove it by manually excluding in the pom.xml</a:t>
            </a:r>
          </a:p>
          <a:p>
            <a:pPr marL="557213" lvl="1" indent="-214313">
              <a:lnSpc>
                <a:spcPct val="150000"/>
              </a:lnSpc>
              <a:buClr>
                <a:schemeClr val="accent1"/>
              </a:buClr>
              <a:buFont typeface="Wingdings" panose="05000000000000000000" pitchFamily="2" charset="2"/>
              <a:buChar char="§"/>
            </a:pPr>
            <a:r>
              <a:rPr lang="en-US" sz="1200" dirty="0">
                <a:solidFill>
                  <a:schemeClr val="tx1"/>
                </a:solidFill>
              </a:rPr>
              <a:t>Search for a more recent/less bugged version of the library still compatible with your source code (or with a trivial migration path) and force it's use through pom.xml</a:t>
            </a:r>
          </a:p>
          <a:p>
            <a:pPr lvl="1">
              <a:lnSpc>
                <a:spcPct val="150000"/>
              </a:lnSpc>
            </a:pPr>
            <a:r>
              <a:rPr lang="en-US" sz="1400" b="1" dirty="0">
                <a:solidFill>
                  <a:schemeClr val="accent1"/>
                </a:solidFill>
              </a:rPr>
              <a:t>Fallback (not so good idea):</a:t>
            </a:r>
          </a:p>
          <a:p>
            <a:pPr marL="557213" lvl="1" indent="-214313">
              <a:lnSpc>
                <a:spcPct val="150000"/>
              </a:lnSpc>
              <a:buClr>
                <a:schemeClr val="accent1"/>
              </a:buClr>
              <a:buFont typeface="Wingdings" panose="05000000000000000000" pitchFamily="2" charset="2"/>
              <a:buChar char="§"/>
            </a:pPr>
            <a:r>
              <a:rPr lang="en-US" sz="1200" dirty="0">
                <a:solidFill>
                  <a:schemeClr val="tx1"/>
                </a:solidFill>
              </a:rPr>
              <a:t>"Take the risk": whitelist the library in a "depencency-check-suppressions.xml" file in your codebase; the libraries listed there will be ignored in dependency check </a:t>
            </a:r>
          </a:p>
        </p:txBody>
      </p:sp>
      <p:sp>
        <p:nvSpPr>
          <p:cNvPr id="14" name="Rectangle 13">
            <a:extLst>
              <a:ext uri="{FF2B5EF4-FFF2-40B4-BE49-F238E27FC236}">
                <a16:creationId xmlns:a16="http://schemas.microsoft.com/office/drawing/2014/main" id="{C9F16D26-812A-4B24-A96F-04EF5037AE69}"/>
              </a:ext>
            </a:extLst>
          </p:cNvPr>
          <p:cNvSpPr/>
          <p:nvPr/>
        </p:nvSpPr>
        <p:spPr>
          <a:xfrm>
            <a:off x="4806037" y="1003300"/>
            <a:ext cx="4014565" cy="3302000"/>
          </a:xfrm>
          <a:prstGeom prst="rect">
            <a:avLst/>
          </a:prstGeom>
        </p:spPr>
        <p:txBody>
          <a:bodyPr wrap="square" lIns="0" tIns="36000" rIns="0" bIns="36000" anchor="ctr">
            <a:noAutofit/>
          </a:bodyPr>
          <a:lstStyle/>
          <a:p>
            <a:pPr>
              <a:lnSpc>
                <a:spcPct val="120000"/>
              </a:lnSpc>
            </a:pPr>
            <a:r>
              <a:rPr lang="en-US" sz="1200" dirty="0"/>
              <a:t>The first iteration with </a:t>
            </a:r>
            <a:r>
              <a:rPr lang="en-US" sz="1200" b="1" dirty="0"/>
              <a:t>XFRAME 2.1.2 </a:t>
            </a:r>
            <a:r>
              <a:rPr lang="en-US" sz="1200" dirty="0"/>
              <a:t>revealed a lot of vulnerable libraries (including a 2013 version of spring-context)</a:t>
            </a:r>
          </a:p>
          <a:p>
            <a:pPr>
              <a:lnSpc>
                <a:spcPct val="120000"/>
              </a:lnSpc>
            </a:pPr>
            <a:r>
              <a:rPr lang="en-US" sz="1200" dirty="0"/>
              <a:t>The "</a:t>
            </a:r>
            <a:r>
              <a:rPr lang="en-US" sz="1200" b="1" dirty="0"/>
              <a:t>migration path</a:t>
            </a:r>
            <a:r>
              <a:rPr lang="en-US" sz="1200" dirty="0"/>
              <a:t>" was:</a:t>
            </a:r>
          </a:p>
          <a:p>
            <a:pPr marL="171450" indent="-171450">
              <a:lnSpc>
                <a:spcPct val="120000"/>
              </a:lnSpc>
              <a:buClr>
                <a:srgbClr val="00AFD0"/>
              </a:buClr>
              <a:buFont typeface="Wingdings" panose="05000000000000000000" pitchFamily="2" charset="2"/>
              <a:buChar char="§"/>
            </a:pPr>
            <a:r>
              <a:rPr lang="en-US" sz="1200" dirty="0"/>
              <a:t>Switch to XFRAME 2.1.4 (most update one at the moment of migration)</a:t>
            </a:r>
          </a:p>
          <a:p>
            <a:pPr marL="171450" indent="-171450">
              <a:lnSpc>
                <a:spcPct val="120000"/>
              </a:lnSpc>
              <a:buClr>
                <a:srgbClr val="00AFD0"/>
              </a:buClr>
              <a:buFont typeface="Wingdings" panose="05000000000000000000" pitchFamily="2" charset="2"/>
              <a:buChar char="§"/>
            </a:pPr>
            <a:r>
              <a:rPr lang="en-US" sz="1200" dirty="0"/>
              <a:t>Some libraries were still too insecure; in particular:</a:t>
            </a:r>
          </a:p>
          <a:p>
            <a:pPr marL="514350" lvl="1" indent="-171450">
              <a:lnSpc>
                <a:spcPct val="120000"/>
              </a:lnSpc>
              <a:buClr>
                <a:srgbClr val="00AFD0"/>
              </a:buClr>
              <a:buFont typeface="Arial" panose="020B0604020202020204" pitchFamily="34" charset="0"/>
              <a:buChar char="•"/>
            </a:pPr>
            <a:r>
              <a:rPr lang="en-US" sz="1200" dirty="0"/>
              <a:t>Spring -&gt; moved to 4.3.27.RELEASE </a:t>
            </a:r>
          </a:p>
          <a:p>
            <a:pPr marL="514350" lvl="1" indent="-171450">
              <a:lnSpc>
                <a:spcPct val="120000"/>
              </a:lnSpc>
              <a:buClr>
                <a:srgbClr val="00AFD0"/>
              </a:buClr>
              <a:buFont typeface="Arial" panose="020B0604020202020204" pitchFamily="34" charset="0"/>
              <a:buChar char="•"/>
            </a:pPr>
            <a:r>
              <a:rPr lang="en-US" sz="1200" dirty="0"/>
              <a:t>Jackson</a:t>
            </a:r>
          </a:p>
          <a:p>
            <a:pPr marL="857250" lvl="2" indent="-171450">
              <a:lnSpc>
                <a:spcPct val="120000"/>
              </a:lnSpc>
              <a:buClr>
                <a:schemeClr val="accent1"/>
              </a:buClr>
              <a:buFont typeface="Courier New" panose="02070309020205020404" pitchFamily="49" charset="0"/>
              <a:buChar char="o"/>
            </a:pPr>
            <a:r>
              <a:rPr lang="en-US" sz="1200" dirty="0"/>
              <a:t>forced version to 2.11.1 </a:t>
            </a:r>
          </a:p>
          <a:p>
            <a:pPr marL="857250" lvl="2" indent="-171450">
              <a:lnSpc>
                <a:spcPct val="120000"/>
              </a:lnSpc>
              <a:buClr>
                <a:schemeClr val="accent1"/>
              </a:buClr>
              <a:buFont typeface="Courier New" panose="02070309020205020404" pitchFamily="49" charset="0"/>
              <a:buChar char="o"/>
            </a:pPr>
            <a:r>
              <a:rPr lang="en-US" sz="1200" dirty="0"/>
              <a:t>excluded the original </a:t>
            </a:r>
            <a:r>
              <a:rPr lang="en-US" sz="1200" dirty="0" err="1"/>
              <a:t>XFrame</a:t>
            </a:r>
            <a:r>
              <a:rPr lang="en-US" sz="1200" dirty="0"/>
              <a:t> version in pom.xml</a:t>
            </a:r>
          </a:p>
          <a:p>
            <a:pPr marL="171450" indent="-171450">
              <a:lnSpc>
                <a:spcPct val="120000"/>
              </a:lnSpc>
              <a:buClr>
                <a:srgbClr val="00AFD0"/>
              </a:buClr>
              <a:buFont typeface="Wingdings" panose="05000000000000000000" pitchFamily="2" charset="2"/>
              <a:buChar char="§"/>
            </a:pPr>
            <a:r>
              <a:rPr lang="en-US" sz="1200" b="1" dirty="0"/>
              <a:t>Some libraries</a:t>
            </a:r>
            <a:r>
              <a:rPr lang="en-US" sz="1200" dirty="0"/>
              <a:t>: the whole apache-</a:t>
            </a:r>
            <a:r>
              <a:rPr lang="en-US" sz="1200" dirty="0" err="1"/>
              <a:t>cxf</a:t>
            </a:r>
            <a:r>
              <a:rPr lang="en-US" sz="1200" dirty="0"/>
              <a:t> tree inherited from </a:t>
            </a:r>
            <a:r>
              <a:rPr lang="en-US" sz="1200" dirty="0" err="1"/>
              <a:t>XFrame</a:t>
            </a:r>
            <a:r>
              <a:rPr lang="en-US" sz="1200" dirty="0"/>
              <a:t>, were "whitelisted" because it was not possible to jump to a </a:t>
            </a:r>
            <a:r>
              <a:rPr lang="en-US" sz="1200" b="1" dirty="0"/>
              <a:t>new release </a:t>
            </a:r>
            <a:r>
              <a:rPr lang="en-US" sz="1200" dirty="0"/>
              <a:t>without an effort too huge for our time constraints, including a JDK version jump</a:t>
            </a:r>
          </a:p>
        </p:txBody>
      </p:sp>
      <p:sp>
        <p:nvSpPr>
          <p:cNvPr id="19" name="Freeform 44"/>
          <p:cNvSpPr>
            <a:spLocks noEditPoints="1"/>
          </p:cNvSpPr>
          <p:nvPr/>
        </p:nvSpPr>
        <p:spPr bwMode="auto">
          <a:xfrm>
            <a:off x="83291" y="2894200"/>
            <a:ext cx="340936" cy="337501"/>
          </a:xfrm>
          <a:custGeom>
            <a:avLst/>
            <a:gdLst>
              <a:gd name="T0" fmla="*/ 1208 w 3968"/>
              <a:gd name="T1" fmla="*/ 1909 h 3931"/>
              <a:gd name="T2" fmla="*/ 979 w 3968"/>
              <a:gd name="T3" fmla="*/ 2021 h 3931"/>
              <a:gd name="T4" fmla="*/ 815 w 3968"/>
              <a:gd name="T5" fmla="*/ 2201 h 3931"/>
              <a:gd name="T6" fmla="*/ 726 w 3968"/>
              <a:gd name="T7" fmla="*/ 2426 h 3931"/>
              <a:gd name="T8" fmla="*/ 722 w 3968"/>
              <a:gd name="T9" fmla="*/ 2668 h 3931"/>
              <a:gd name="T10" fmla="*/ 811 w 3968"/>
              <a:gd name="T11" fmla="*/ 2906 h 3931"/>
              <a:gd name="T12" fmla="*/ 977 w 3968"/>
              <a:gd name="T13" fmla="*/ 3089 h 3931"/>
              <a:gd name="T14" fmla="*/ 1193 w 3968"/>
              <a:gd name="T15" fmla="*/ 3196 h 3931"/>
              <a:gd name="T16" fmla="*/ 1433 w 3968"/>
              <a:gd name="T17" fmla="*/ 3222 h 3931"/>
              <a:gd name="T18" fmla="*/ 1675 w 3968"/>
              <a:gd name="T19" fmla="*/ 3156 h 3931"/>
              <a:gd name="T20" fmla="*/ 1875 w 3968"/>
              <a:gd name="T21" fmla="*/ 3006 h 3931"/>
              <a:gd name="T22" fmla="*/ 2004 w 3968"/>
              <a:gd name="T23" fmla="*/ 2801 h 3931"/>
              <a:gd name="T24" fmla="*/ 2051 w 3968"/>
              <a:gd name="T25" fmla="*/ 2565 h 3931"/>
              <a:gd name="T26" fmla="*/ 2008 w 3968"/>
              <a:gd name="T27" fmla="*/ 2321 h 3931"/>
              <a:gd name="T28" fmla="*/ 1876 w 3968"/>
              <a:gd name="T29" fmla="*/ 2106 h 3931"/>
              <a:gd name="T30" fmla="*/ 1682 w 3968"/>
              <a:gd name="T31" fmla="*/ 1959 h 3931"/>
              <a:gd name="T32" fmla="*/ 1452 w 3968"/>
              <a:gd name="T33" fmla="*/ 1890 h 3931"/>
              <a:gd name="T34" fmla="*/ 1353 w 3968"/>
              <a:gd name="T35" fmla="*/ 1453 h 3931"/>
              <a:gd name="T36" fmla="*/ 1423 w 3968"/>
              <a:gd name="T37" fmla="*/ 1457 h 3931"/>
              <a:gd name="T38" fmla="*/ 1528 w 3968"/>
              <a:gd name="T39" fmla="*/ 1464 h 3931"/>
              <a:gd name="T40" fmla="*/ 2139 w 3968"/>
              <a:gd name="T41" fmla="*/ 1759 h 3931"/>
              <a:gd name="T42" fmla="*/ 2295 w 3968"/>
              <a:gd name="T43" fmla="*/ 1944 h 3931"/>
              <a:gd name="T44" fmla="*/ 2470 w 3968"/>
              <a:gd name="T45" fmla="*/ 2651 h 3931"/>
              <a:gd name="T46" fmla="*/ 2474 w 3968"/>
              <a:gd name="T47" fmla="*/ 3434 h 3931"/>
              <a:gd name="T48" fmla="*/ 2102 w 3968"/>
              <a:gd name="T49" fmla="*/ 3378 h 3931"/>
              <a:gd name="T50" fmla="*/ 2038 w 3968"/>
              <a:gd name="T51" fmla="*/ 3424 h 3931"/>
              <a:gd name="T52" fmla="*/ 1962 w 3968"/>
              <a:gd name="T53" fmla="*/ 3474 h 3931"/>
              <a:gd name="T54" fmla="*/ 1270 w 3968"/>
              <a:gd name="T55" fmla="*/ 3634 h 3931"/>
              <a:gd name="T56" fmla="*/ 509 w 3968"/>
              <a:gd name="T57" fmla="*/ 3641 h 3931"/>
              <a:gd name="T58" fmla="*/ 481 w 3968"/>
              <a:gd name="T59" fmla="*/ 3164 h 3931"/>
              <a:gd name="T60" fmla="*/ 295 w 3968"/>
              <a:gd name="T61" fmla="*/ 2469 h 3931"/>
              <a:gd name="T62" fmla="*/ 578 w 3968"/>
              <a:gd name="T63" fmla="*/ 1806 h 3931"/>
              <a:gd name="T64" fmla="*/ 608 w 3968"/>
              <a:gd name="T65" fmla="*/ 1778 h 3931"/>
              <a:gd name="T66" fmla="*/ 674 w 3968"/>
              <a:gd name="T67" fmla="*/ 1718 h 3931"/>
              <a:gd name="T68" fmla="*/ 713 w 3968"/>
              <a:gd name="T69" fmla="*/ 1321 h 3931"/>
              <a:gd name="T70" fmla="*/ 3052 w 3968"/>
              <a:gd name="T71" fmla="*/ 439 h 3931"/>
              <a:gd name="T72" fmla="*/ 2874 w 3968"/>
              <a:gd name="T73" fmla="*/ 525 h 3931"/>
              <a:gd name="T74" fmla="*/ 2762 w 3968"/>
              <a:gd name="T75" fmla="*/ 679 h 3931"/>
              <a:gd name="T76" fmla="*/ 2733 w 3968"/>
              <a:gd name="T77" fmla="*/ 866 h 3931"/>
              <a:gd name="T78" fmla="*/ 2798 w 3968"/>
              <a:gd name="T79" fmla="*/ 1052 h 3931"/>
              <a:gd name="T80" fmla="*/ 2938 w 3968"/>
              <a:gd name="T81" fmla="*/ 1183 h 3931"/>
              <a:gd name="T82" fmla="*/ 3120 w 3968"/>
              <a:gd name="T83" fmla="*/ 1233 h 3931"/>
              <a:gd name="T84" fmla="*/ 3310 w 3968"/>
              <a:gd name="T85" fmla="*/ 1193 h 3931"/>
              <a:gd name="T86" fmla="*/ 3459 w 3968"/>
              <a:gd name="T87" fmla="*/ 1068 h 3931"/>
              <a:gd name="T88" fmla="*/ 3531 w 3968"/>
              <a:gd name="T89" fmla="*/ 893 h 3931"/>
              <a:gd name="T90" fmla="*/ 3514 w 3968"/>
              <a:gd name="T91" fmla="*/ 702 h 3931"/>
              <a:gd name="T92" fmla="*/ 3407 w 3968"/>
              <a:gd name="T93" fmla="*/ 537 h 3931"/>
              <a:gd name="T94" fmla="*/ 3242 w 3968"/>
              <a:gd name="T95" fmla="*/ 445 h 3931"/>
              <a:gd name="T96" fmla="*/ 3114 w 3968"/>
              <a:gd name="T97" fmla="*/ 170 h 3931"/>
              <a:gd name="T98" fmla="*/ 3159 w 3968"/>
              <a:gd name="T99" fmla="*/ 172 h 3931"/>
              <a:gd name="T100" fmla="*/ 3235 w 3968"/>
              <a:gd name="T101" fmla="*/ 178 h 3931"/>
              <a:gd name="T102" fmla="*/ 3623 w 3968"/>
              <a:gd name="T103" fmla="*/ 388 h 3931"/>
              <a:gd name="T104" fmla="*/ 3968 w 3968"/>
              <a:gd name="T105" fmla="*/ 727 h 3931"/>
              <a:gd name="T106" fmla="*/ 3919 w 3968"/>
              <a:gd name="T107" fmla="*/ 1127 h 3931"/>
              <a:gd name="T108" fmla="*/ 3568 w 3968"/>
              <a:gd name="T109" fmla="*/ 1325 h 3931"/>
              <a:gd name="T110" fmla="*/ 3514 w 3968"/>
              <a:gd name="T111" fmla="*/ 1364 h 3931"/>
              <a:gd name="T112" fmla="*/ 3217 w 3968"/>
              <a:gd name="T113" fmla="*/ 1657 h 3931"/>
              <a:gd name="T114" fmla="*/ 2842 w 3968"/>
              <a:gd name="T115" fmla="*/ 1612 h 3931"/>
              <a:gd name="T116" fmla="*/ 2593 w 3968"/>
              <a:gd name="T117" fmla="*/ 1196 h 3931"/>
              <a:gd name="T118" fmla="*/ 2481 w 3968"/>
              <a:gd name="T119" fmla="*/ 779 h 3931"/>
              <a:gd name="T120" fmla="*/ 2651 w 3968"/>
              <a:gd name="T121" fmla="*/ 382 h 3931"/>
              <a:gd name="T122" fmla="*/ 2678 w 3968"/>
              <a:gd name="T123" fmla="*/ 358 h 3931"/>
              <a:gd name="T124" fmla="*/ 2728 w 3968"/>
              <a:gd name="T125" fmla="*/ 313 h 39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968" h="3931">
                <a:moveTo>
                  <a:pt x="1392" y="1886"/>
                </a:moveTo>
                <a:lnTo>
                  <a:pt x="1330" y="1889"/>
                </a:lnTo>
                <a:lnTo>
                  <a:pt x="1269" y="1896"/>
                </a:lnTo>
                <a:lnTo>
                  <a:pt x="1208" y="1909"/>
                </a:lnTo>
                <a:lnTo>
                  <a:pt x="1148" y="1929"/>
                </a:lnTo>
                <a:lnTo>
                  <a:pt x="1088" y="1954"/>
                </a:lnTo>
                <a:lnTo>
                  <a:pt x="1032" y="1986"/>
                </a:lnTo>
                <a:lnTo>
                  <a:pt x="979" y="2021"/>
                </a:lnTo>
                <a:lnTo>
                  <a:pt x="931" y="2061"/>
                </a:lnTo>
                <a:lnTo>
                  <a:pt x="887" y="2104"/>
                </a:lnTo>
                <a:lnTo>
                  <a:pt x="848" y="2152"/>
                </a:lnTo>
                <a:lnTo>
                  <a:pt x="815" y="2201"/>
                </a:lnTo>
                <a:lnTo>
                  <a:pt x="784" y="2255"/>
                </a:lnTo>
                <a:lnTo>
                  <a:pt x="760" y="2309"/>
                </a:lnTo>
                <a:lnTo>
                  <a:pt x="741" y="2366"/>
                </a:lnTo>
                <a:lnTo>
                  <a:pt x="726" y="2426"/>
                </a:lnTo>
                <a:lnTo>
                  <a:pt x="716" y="2485"/>
                </a:lnTo>
                <a:lnTo>
                  <a:pt x="713" y="2546"/>
                </a:lnTo>
                <a:lnTo>
                  <a:pt x="715" y="2607"/>
                </a:lnTo>
                <a:lnTo>
                  <a:pt x="722" y="2668"/>
                </a:lnTo>
                <a:lnTo>
                  <a:pt x="736" y="2729"/>
                </a:lnTo>
                <a:lnTo>
                  <a:pt x="755" y="2789"/>
                </a:lnTo>
                <a:lnTo>
                  <a:pt x="781" y="2849"/>
                </a:lnTo>
                <a:lnTo>
                  <a:pt x="811" y="2906"/>
                </a:lnTo>
                <a:lnTo>
                  <a:pt x="847" y="2958"/>
                </a:lnTo>
                <a:lnTo>
                  <a:pt x="887" y="3006"/>
                </a:lnTo>
                <a:lnTo>
                  <a:pt x="931" y="3050"/>
                </a:lnTo>
                <a:lnTo>
                  <a:pt x="977" y="3089"/>
                </a:lnTo>
                <a:lnTo>
                  <a:pt x="1028" y="3123"/>
                </a:lnTo>
                <a:lnTo>
                  <a:pt x="1080" y="3153"/>
                </a:lnTo>
                <a:lnTo>
                  <a:pt x="1136" y="3177"/>
                </a:lnTo>
                <a:lnTo>
                  <a:pt x="1193" y="3196"/>
                </a:lnTo>
                <a:lnTo>
                  <a:pt x="1251" y="3211"/>
                </a:lnTo>
                <a:lnTo>
                  <a:pt x="1312" y="3221"/>
                </a:lnTo>
                <a:lnTo>
                  <a:pt x="1372" y="3224"/>
                </a:lnTo>
                <a:lnTo>
                  <a:pt x="1433" y="3222"/>
                </a:lnTo>
                <a:lnTo>
                  <a:pt x="1495" y="3215"/>
                </a:lnTo>
                <a:lnTo>
                  <a:pt x="1555" y="3201"/>
                </a:lnTo>
                <a:lnTo>
                  <a:pt x="1616" y="3182"/>
                </a:lnTo>
                <a:lnTo>
                  <a:pt x="1675" y="3156"/>
                </a:lnTo>
                <a:lnTo>
                  <a:pt x="1731" y="3126"/>
                </a:lnTo>
                <a:lnTo>
                  <a:pt x="1784" y="3090"/>
                </a:lnTo>
                <a:lnTo>
                  <a:pt x="1832" y="3050"/>
                </a:lnTo>
                <a:lnTo>
                  <a:pt x="1875" y="3006"/>
                </a:lnTo>
                <a:lnTo>
                  <a:pt x="1915" y="2960"/>
                </a:lnTo>
                <a:lnTo>
                  <a:pt x="1949" y="2909"/>
                </a:lnTo>
                <a:lnTo>
                  <a:pt x="1978" y="2857"/>
                </a:lnTo>
                <a:lnTo>
                  <a:pt x="2004" y="2801"/>
                </a:lnTo>
                <a:lnTo>
                  <a:pt x="2023" y="2744"/>
                </a:lnTo>
                <a:lnTo>
                  <a:pt x="2038" y="2686"/>
                </a:lnTo>
                <a:lnTo>
                  <a:pt x="2047" y="2626"/>
                </a:lnTo>
                <a:lnTo>
                  <a:pt x="2051" y="2565"/>
                </a:lnTo>
                <a:lnTo>
                  <a:pt x="2048" y="2504"/>
                </a:lnTo>
                <a:lnTo>
                  <a:pt x="2041" y="2443"/>
                </a:lnTo>
                <a:lnTo>
                  <a:pt x="2028" y="2382"/>
                </a:lnTo>
                <a:lnTo>
                  <a:pt x="2008" y="2321"/>
                </a:lnTo>
                <a:lnTo>
                  <a:pt x="1983" y="2262"/>
                </a:lnTo>
                <a:lnTo>
                  <a:pt x="1952" y="2206"/>
                </a:lnTo>
                <a:lnTo>
                  <a:pt x="1916" y="2153"/>
                </a:lnTo>
                <a:lnTo>
                  <a:pt x="1876" y="2106"/>
                </a:lnTo>
                <a:lnTo>
                  <a:pt x="1833" y="2062"/>
                </a:lnTo>
                <a:lnTo>
                  <a:pt x="1785" y="2022"/>
                </a:lnTo>
                <a:lnTo>
                  <a:pt x="1736" y="1988"/>
                </a:lnTo>
                <a:lnTo>
                  <a:pt x="1682" y="1959"/>
                </a:lnTo>
                <a:lnTo>
                  <a:pt x="1628" y="1933"/>
                </a:lnTo>
                <a:lnTo>
                  <a:pt x="1571" y="1914"/>
                </a:lnTo>
                <a:lnTo>
                  <a:pt x="1512" y="1899"/>
                </a:lnTo>
                <a:lnTo>
                  <a:pt x="1452" y="1890"/>
                </a:lnTo>
                <a:lnTo>
                  <a:pt x="1392" y="1886"/>
                </a:lnTo>
                <a:close/>
                <a:moveTo>
                  <a:pt x="1127" y="1170"/>
                </a:moveTo>
                <a:lnTo>
                  <a:pt x="1349" y="1453"/>
                </a:lnTo>
                <a:lnTo>
                  <a:pt x="1353" y="1453"/>
                </a:lnTo>
                <a:lnTo>
                  <a:pt x="1362" y="1455"/>
                </a:lnTo>
                <a:lnTo>
                  <a:pt x="1379" y="1455"/>
                </a:lnTo>
                <a:lnTo>
                  <a:pt x="1400" y="1456"/>
                </a:lnTo>
                <a:lnTo>
                  <a:pt x="1423" y="1457"/>
                </a:lnTo>
                <a:lnTo>
                  <a:pt x="1450" y="1458"/>
                </a:lnTo>
                <a:lnTo>
                  <a:pt x="1476" y="1459"/>
                </a:lnTo>
                <a:lnTo>
                  <a:pt x="1503" y="1462"/>
                </a:lnTo>
                <a:lnTo>
                  <a:pt x="1528" y="1464"/>
                </a:lnTo>
                <a:lnTo>
                  <a:pt x="1550" y="1468"/>
                </a:lnTo>
                <a:lnTo>
                  <a:pt x="1783" y="1218"/>
                </a:lnTo>
                <a:lnTo>
                  <a:pt x="2183" y="1405"/>
                </a:lnTo>
                <a:lnTo>
                  <a:pt x="2139" y="1759"/>
                </a:lnTo>
                <a:lnTo>
                  <a:pt x="2182" y="1803"/>
                </a:lnTo>
                <a:lnTo>
                  <a:pt x="2222" y="1847"/>
                </a:lnTo>
                <a:lnTo>
                  <a:pt x="2259" y="1895"/>
                </a:lnTo>
                <a:lnTo>
                  <a:pt x="2295" y="1944"/>
                </a:lnTo>
                <a:lnTo>
                  <a:pt x="2650" y="1956"/>
                </a:lnTo>
                <a:lnTo>
                  <a:pt x="2771" y="2381"/>
                </a:lnTo>
                <a:lnTo>
                  <a:pt x="2475" y="2581"/>
                </a:lnTo>
                <a:lnTo>
                  <a:pt x="2470" y="2651"/>
                </a:lnTo>
                <a:lnTo>
                  <a:pt x="2462" y="2721"/>
                </a:lnTo>
                <a:lnTo>
                  <a:pt x="2448" y="2792"/>
                </a:lnTo>
                <a:lnTo>
                  <a:pt x="2688" y="3049"/>
                </a:lnTo>
                <a:lnTo>
                  <a:pt x="2474" y="3434"/>
                </a:lnTo>
                <a:lnTo>
                  <a:pt x="2121" y="3365"/>
                </a:lnTo>
                <a:lnTo>
                  <a:pt x="2119" y="3366"/>
                </a:lnTo>
                <a:lnTo>
                  <a:pt x="2112" y="3371"/>
                </a:lnTo>
                <a:lnTo>
                  <a:pt x="2102" y="3378"/>
                </a:lnTo>
                <a:lnTo>
                  <a:pt x="2088" y="3388"/>
                </a:lnTo>
                <a:lnTo>
                  <a:pt x="2074" y="3399"/>
                </a:lnTo>
                <a:lnTo>
                  <a:pt x="2056" y="3411"/>
                </a:lnTo>
                <a:lnTo>
                  <a:pt x="2038" y="3424"/>
                </a:lnTo>
                <a:lnTo>
                  <a:pt x="2018" y="3438"/>
                </a:lnTo>
                <a:lnTo>
                  <a:pt x="1999" y="3451"/>
                </a:lnTo>
                <a:lnTo>
                  <a:pt x="1981" y="3463"/>
                </a:lnTo>
                <a:lnTo>
                  <a:pt x="1962" y="3474"/>
                </a:lnTo>
                <a:lnTo>
                  <a:pt x="1945" y="3816"/>
                </a:lnTo>
                <a:lnTo>
                  <a:pt x="1519" y="3931"/>
                </a:lnTo>
                <a:lnTo>
                  <a:pt x="1330" y="3639"/>
                </a:lnTo>
                <a:lnTo>
                  <a:pt x="1270" y="3634"/>
                </a:lnTo>
                <a:lnTo>
                  <a:pt x="1212" y="3626"/>
                </a:lnTo>
                <a:lnTo>
                  <a:pt x="1154" y="3613"/>
                </a:lnTo>
                <a:lnTo>
                  <a:pt x="895" y="3856"/>
                </a:lnTo>
                <a:lnTo>
                  <a:pt x="509" y="3641"/>
                </a:lnTo>
                <a:lnTo>
                  <a:pt x="587" y="3293"/>
                </a:lnTo>
                <a:lnTo>
                  <a:pt x="549" y="3252"/>
                </a:lnTo>
                <a:lnTo>
                  <a:pt x="514" y="3209"/>
                </a:lnTo>
                <a:lnTo>
                  <a:pt x="481" y="3164"/>
                </a:lnTo>
                <a:lnTo>
                  <a:pt x="128" y="3158"/>
                </a:lnTo>
                <a:lnTo>
                  <a:pt x="0" y="2736"/>
                </a:lnTo>
                <a:lnTo>
                  <a:pt x="291" y="2532"/>
                </a:lnTo>
                <a:lnTo>
                  <a:pt x="295" y="2469"/>
                </a:lnTo>
                <a:lnTo>
                  <a:pt x="302" y="2406"/>
                </a:lnTo>
                <a:lnTo>
                  <a:pt x="40" y="2172"/>
                </a:lnTo>
                <a:lnTo>
                  <a:pt x="219" y="1769"/>
                </a:lnTo>
                <a:lnTo>
                  <a:pt x="578" y="1806"/>
                </a:lnTo>
                <a:lnTo>
                  <a:pt x="579" y="1805"/>
                </a:lnTo>
                <a:lnTo>
                  <a:pt x="585" y="1799"/>
                </a:lnTo>
                <a:lnTo>
                  <a:pt x="595" y="1789"/>
                </a:lnTo>
                <a:lnTo>
                  <a:pt x="608" y="1778"/>
                </a:lnTo>
                <a:lnTo>
                  <a:pt x="623" y="1764"/>
                </a:lnTo>
                <a:lnTo>
                  <a:pt x="639" y="1749"/>
                </a:lnTo>
                <a:lnTo>
                  <a:pt x="657" y="1733"/>
                </a:lnTo>
                <a:lnTo>
                  <a:pt x="674" y="1718"/>
                </a:lnTo>
                <a:lnTo>
                  <a:pt x="692" y="1702"/>
                </a:lnTo>
                <a:lnTo>
                  <a:pt x="709" y="1687"/>
                </a:lnTo>
                <a:lnTo>
                  <a:pt x="725" y="1675"/>
                </a:lnTo>
                <a:lnTo>
                  <a:pt x="713" y="1321"/>
                </a:lnTo>
                <a:lnTo>
                  <a:pt x="1127" y="1170"/>
                </a:lnTo>
                <a:close/>
                <a:moveTo>
                  <a:pt x="3148" y="430"/>
                </a:moveTo>
                <a:lnTo>
                  <a:pt x="3101" y="432"/>
                </a:lnTo>
                <a:lnTo>
                  <a:pt x="3052" y="439"/>
                </a:lnTo>
                <a:lnTo>
                  <a:pt x="3005" y="451"/>
                </a:lnTo>
                <a:lnTo>
                  <a:pt x="2958" y="470"/>
                </a:lnTo>
                <a:lnTo>
                  <a:pt x="2914" y="496"/>
                </a:lnTo>
                <a:lnTo>
                  <a:pt x="2874" y="525"/>
                </a:lnTo>
                <a:lnTo>
                  <a:pt x="2839" y="559"/>
                </a:lnTo>
                <a:lnTo>
                  <a:pt x="2808" y="596"/>
                </a:lnTo>
                <a:lnTo>
                  <a:pt x="2783" y="636"/>
                </a:lnTo>
                <a:lnTo>
                  <a:pt x="2762" y="679"/>
                </a:lnTo>
                <a:lnTo>
                  <a:pt x="2747" y="724"/>
                </a:lnTo>
                <a:lnTo>
                  <a:pt x="2737" y="770"/>
                </a:lnTo>
                <a:lnTo>
                  <a:pt x="2732" y="817"/>
                </a:lnTo>
                <a:lnTo>
                  <a:pt x="2733" y="866"/>
                </a:lnTo>
                <a:lnTo>
                  <a:pt x="2741" y="914"/>
                </a:lnTo>
                <a:lnTo>
                  <a:pt x="2754" y="961"/>
                </a:lnTo>
                <a:lnTo>
                  <a:pt x="2773" y="1007"/>
                </a:lnTo>
                <a:lnTo>
                  <a:pt x="2798" y="1052"/>
                </a:lnTo>
                <a:lnTo>
                  <a:pt x="2828" y="1091"/>
                </a:lnTo>
                <a:lnTo>
                  <a:pt x="2861" y="1126"/>
                </a:lnTo>
                <a:lnTo>
                  <a:pt x="2898" y="1156"/>
                </a:lnTo>
                <a:lnTo>
                  <a:pt x="2938" y="1183"/>
                </a:lnTo>
                <a:lnTo>
                  <a:pt x="2981" y="1204"/>
                </a:lnTo>
                <a:lnTo>
                  <a:pt x="3025" y="1218"/>
                </a:lnTo>
                <a:lnTo>
                  <a:pt x="3073" y="1229"/>
                </a:lnTo>
                <a:lnTo>
                  <a:pt x="3120" y="1233"/>
                </a:lnTo>
                <a:lnTo>
                  <a:pt x="3167" y="1232"/>
                </a:lnTo>
                <a:lnTo>
                  <a:pt x="3216" y="1226"/>
                </a:lnTo>
                <a:lnTo>
                  <a:pt x="3263" y="1212"/>
                </a:lnTo>
                <a:lnTo>
                  <a:pt x="3310" y="1193"/>
                </a:lnTo>
                <a:lnTo>
                  <a:pt x="3354" y="1167"/>
                </a:lnTo>
                <a:lnTo>
                  <a:pt x="3394" y="1138"/>
                </a:lnTo>
                <a:lnTo>
                  <a:pt x="3429" y="1104"/>
                </a:lnTo>
                <a:lnTo>
                  <a:pt x="3459" y="1068"/>
                </a:lnTo>
                <a:lnTo>
                  <a:pt x="3485" y="1028"/>
                </a:lnTo>
                <a:lnTo>
                  <a:pt x="3505" y="984"/>
                </a:lnTo>
                <a:lnTo>
                  <a:pt x="3521" y="939"/>
                </a:lnTo>
                <a:lnTo>
                  <a:pt x="3531" y="893"/>
                </a:lnTo>
                <a:lnTo>
                  <a:pt x="3536" y="846"/>
                </a:lnTo>
                <a:lnTo>
                  <a:pt x="3535" y="798"/>
                </a:lnTo>
                <a:lnTo>
                  <a:pt x="3527" y="750"/>
                </a:lnTo>
                <a:lnTo>
                  <a:pt x="3514" y="702"/>
                </a:lnTo>
                <a:lnTo>
                  <a:pt x="3495" y="656"/>
                </a:lnTo>
                <a:lnTo>
                  <a:pt x="3470" y="612"/>
                </a:lnTo>
                <a:lnTo>
                  <a:pt x="3441" y="572"/>
                </a:lnTo>
                <a:lnTo>
                  <a:pt x="3407" y="537"/>
                </a:lnTo>
                <a:lnTo>
                  <a:pt x="3370" y="507"/>
                </a:lnTo>
                <a:lnTo>
                  <a:pt x="3330" y="481"/>
                </a:lnTo>
                <a:lnTo>
                  <a:pt x="3287" y="461"/>
                </a:lnTo>
                <a:lnTo>
                  <a:pt x="3242" y="445"/>
                </a:lnTo>
                <a:lnTo>
                  <a:pt x="3195" y="435"/>
                </a:lnTo>
                <a:lnTo>
                  <a:pt x="3148" y="430"/>
                </a:lnTo>
                <a:close/>
                <a:moveTo>
                  <a:pt x="2981" y="0"/>
                </a:moveTo>
                <a:lnTo>
                  <a:pt x="3114" y="170"/>
                </a:lnTo>
                <a:lnTo>
                  <a:pt x="3118" y="170"/>
                </a:lnTo>
                <a:lnTo>
                  <a:pt x="3127" y="171"/>
                </a:lnTo>
                <a:lnTo>
                  <a:pt x="3142" y="171"/>
                </a:lnTo>
                <a:lnTo>
                  <a:pt x="3159" y="172"/>
                </a:lnTo>
                <a:lnTo>
                  <a:pt x="3178" y="173"/>
                </a:lnTo>
                <a:lnTo>
                  <a:pt x="3199" y="175"/>
                </a:lnTo>
                <a:lnTo>
                  <a:pt x="3218" y="176"/>
                </a:lnTo>
                <a:lnTo>
                  <a:pt x="3235" y="178"/>
                </a:lnTo>
                <a:lnTo>
                  <a:pt x="3375" y="28"/>
                </a:lnTo>
                <a:lnTo>
                  <a:pt x="3616" y="141"/>
                </a:lnTo>
                <a:lnTo>
                  <a:pt x="3589" y="354"/>
                </a:lnTo>
                <a:lnTo>
                  <a:pt x="3623" y="388"/>
                </a:lnTo>
                <a:lnTo>
                  <a:pt x="3653" y="426"/>
                </a:lnTo>
                <a:lnTo>
                  <a:pt x="3682" y="464"/>
                </a:lnTo>
                <a:lnTo>
                  <a:pt x="3896" y="473"/>
                </a:lnTo>
                <a:lnTo>
                  <a:pt x="3968" y="727"/>
                </a:lnTo>
                <a:lnTo>
                  <a:pt x="3790" y="847"/>
                </a:lnTo>
                <a:lnTo>
                  <a:pt x="3785" y="910"/>
                </a:lnTo>
                <a:lnTo>
                  <a:pt x="3775" y="973"/>
                </a:lnTo>
                <a:lnTo>
                  <a:pt x="3919" y="1127"/>
                </a:lnTo>
                <a:lnTo>
                  <a:pt x="3790" y="1359"/>
                </a:lnTo>
                <a:lnTo>
                  <a:pt x="3578" y="1318"/>
                </a:lnTo>
                <a:lnTo>
                  <a:pt x="3576" y="1320"/>
                </a:lnTo>
                <a:lnTo>
                  <a:pt x="3568" y="1325"/>
                </a:lnTo>
                <a:lnTo>
                  <a:pt x="3558" y="1332"/>
                </a:lnTo>
                <a:lnTo>
                  <a:pt x="3544" y="1342"/>
                </a:lnTo>
                <a:lnTo>
                  <a:pt x="3530" y="1353"/>
                </a:lnTo>
                <a:lnTo>
                  <a:pt x="3514" y="1364"/>
                </a:lnTo>
                <a:lnTo>
                  <a:pt x="3498" y="1373"/>
                </a:lnTo>
                <a:lnTo>
                  <a:pt x="3482" y="1383"/>
                </a:lnTo>
                <a:lnTo>
                  <a:pt x="3473" y="1589"/>
                </a:lnTo>
                <a:lnTo>
                  <a:pt x="3217" y="1657"/>
                </a:lnTo>
                <a:lnTo>
                  <a:pt x="3103" y="1483"/>
                </a:lnTo>
                <a:lnTo>
                  <a:pt x="3050" y="1478"/>
                </a:lnTo>
                <a:lnTo>
                  <a:pt x="2998" y="1468"/>
                </a:lnTo>
                <a:lnTo>
                  <a:pt x="2842" y="1612"/>
                </a:lnTo>
                <a:lnTo>
                  <a:pt x="2610" y="1484"/>
                </a:lnTo>
                <a:lnTo>
                  <a:pt x="2657" y="1275"/>
                </a:lnTo>
                <a:lnTo>
                  <a:pt x="2623" y="1238"/>
                </a:lnTo>
                <a:lnTo>
                  <a:pt x="2593" y="1196"/>
                </a:lnTo>
                <a:lnTo>
                  <a:pt x="2382" y="1194"/>
                </a:lnTo>
                <a:lnTo>
                  <a:pt x="2304" y="941"/>
                </a:lnTo>
                <a:lnTo>
                  <a:pt x="2479" y="818"/>
                </a:lnTo>
                <a:lnTo>
                  <a:pt x="2481" y="779"/>
                </a:lnTo>
                <a:lnTo>
                  <a:pt x="2485" y="742"/>
                </a:lnTo>
                <a:lnTo>
                  <a:pt x="2328" y="601"/>
                </a:lnTo>
                <a:lnTo>
                  <a:pt x="2436" y="359"/>
                </a:lnTo>
                <a:lnTo>
                  <a:pt x="2651" y="382"/>
                </a:lnTo>
                <a:lnTo>
                  <a:pt x="2653" y="381"/>
                </a:lnTo>
                <a:lnTo>
                  <a:pt x="2658" y="375"/>
                </a:lnTo>
                <a:lnTo>
                  <a:pt x="2667" y="367"/>
                </a:lnTo>
                <a:lnTo>
                  <a:pt x="2678" y="358"/>
                </a:lnTo>
                <a:lnTo>
                  <a:pt x="2690" y="347"/>
                </a:lnTo>
                <a:lnTo>
                  <a:pt x="2702" y="335"/>
                </a:lnTo>
                <a:lnTo>
                  <a:pt x="2715" y="324"/>
                </a:lnTo>
                <a:lnTo>
                  <a:pt x="2728" y="313"/>
                </a:lnTo>
                <a:lnTo>
                  <a:pt x="2739" y="303"/>
                </a:lnTo>
                <a:lnTo>
                  <a:pt x="2732" y="91"/>
                </a:lnTo>
                <a:lnTo>
                  <a:pt x="2981"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p>
        </p:txBody>
      </p:sp>
      <p:sp>
        <p:nvSpPr>
          <p:cNvPr id="20" name="Freeform 9"/>
          <p:cNvSpPr>
            <a:spLocks noEditPoints="1"/>
          </p:cNvSpPr>
          <p:nvPr/>
        </p:nvSpPr>
        <p:spPr bwMode="auto">
          <a:xfrm>
            <a:off x="20588" y="1262187"/>
            <a:ext cx="398607" cy="311757"/>
          </a:xfrm>
          <a:custGeom>
            <a:avLst/>
            <a:gdLst>
              <a:gd name="T0" fmla="*/ 2699 w 3968"/>
              <a:gd name="T1" fmla="*/ 1253 h 3105"/>
              <a:gd name="T2" fmla="*/ 2828 w 3968"/>
              <a:gd name="T3" fmla="*/ 1563 h 3105"/>
              <a:gd name="T4" fmla="*/ 2679 w 3968"/>
              <a:gd name="T5" fmla="*/ 1870 h 3105"/>
              <a:gd name="T6" fmla="*/ 2354 w 3968"/>
              <a:gd name="T7" fmla="*/ 1960 h 3105"/>
              <a:gd name="T8" fmla="*/ 2074 w 3968"/>
              <a:gd name="T9" fmla="*/ 1783 h 3105"/>
              <a:gd name="T10" fmla="*/ 2292 w 3968"/>
              <a:gd name="T11" fmla="*/ 1632 h 3105"/>
              <a:gd name="T12" fmla="*/ 2444 w 3968"/>
              <a:gd name="T13" fmla="*/ 1592 h 3105"/>
              <a:gd name="T14" fmla="*/ 2432 w 3968"/>
              <a:gd name="T15" fmla="*/ 1436 h 3105"/>
              <a:gd name="T16" fmla="*/ 2225 w 3968"/>
              <a:gd name="T17" fmla="*/ 1187 h 3105"/>
              <a:gd name="T18" fmla="*/ 2567 w 3968"/>
              <a:gd name="T19" fmla="*/ 562 h 3105"/>
              <a:gd name="T20" fmla="*/ 3065 w 3968"/>
              <a:gd name="T21" fmla="*/ 790 h 3105"/>
              <a:gd name="T22" fmla="*/ 3365 w 3968"/>
              <a:gd name="T23" fmla="*/ 1232 h 3105"/>
              <a:gd name="T24" fmla="*/ 3390 w 3968"/>
              <a:gd name="T25" fmla="*/ 1784 h 3105"/>
              <a:gd name="T26" fmla="*/ 3125 w 3968"/>
              <a:gd name="T27" fmla="*/ 2259 h 3105"/>
              <a:gd name="T28" fmla="*/ 2662 w 3968"/>
              <a:gd name="T29" fmla="*/ 2523 h 3105"/>
              <a:gd name="T30" fmla="*/ 2105 w 3968"/>
              <a:gd name="T31" fmla="*/ 2505 h 3105"/>
              <a:gd name="T32" fmla="*/ 1657 w 3968"/>
              <a:gd name="T33" fmla="*/ 2206 h 3105"/>
              <a:gd name="T34" fmla="*/ 1428 w 3968"/>
              <a:gd name="T35" fmla="*/ 1721 h 3105"/>
              <a:gd name="T36" fmla="*/ 1790 w 3968"/>
              <a:gd name="T37" fmla="*/ 1408 h 3105"/>
              <a:gd name="T38" fmla="*/ 1811 w 3968"/>
              <a:gd name="T39" fmla="*/ 1769 h 3105"/>
              <a:gd name="T40" fmla="*/ 2079 w 3968"/>
              <a:gd name="T41" fmla="*/ 2099 h 3105"/>
              <a:gd name="T42" fmla="*/ 2512 w 3968"/>
              <a:gd name="T43" fmla="*/ 2187 h 3105"/>
              <a:gd name="T44" fmla="*/ 2888 w 3968"/>
              <a:gd name="T45" fmla="*/ 1987 h 3105"/>
              <a:gd name="T46" fmla="*/ 3057 w 3968"/>
              <a:gd name="T47" fmla="*/ 1584 h 3105"/>
              <a:gd name="T48" fmla="*/ 2933 w 3968"/>
              <a:gd name="T49" fmla="*/ 1172 h 3105"/>
              <a:gd name="T50" fmla="*/ 2577 w 3968"/>
              <a:gd name="T51" fmla="*/ 930 h 3105"/>
              <a:gd name="T52" fmla="*/ 2130 w 3968"/>
              <a:gd name="T53" fmla="*/ 978 h 3105"/>
              <a:gd name="T54" fmla="*/ 1601 w 3968"/>
              <a:gd name="T55" fmla="*/ 969 h 3105"/>
              <a:gd name="T56" fmla="*/ 2019 w 3968"/>
              <a:gd name="T57" fmla="*/ 632 h 3105"/>
              <a:gd name="T58" fmla="*/ 807 w 3968"/>
              <a:gd name="T59" fmla="*/ 443 h 3105"/>
              <a:gd name="T60" fmla="*/ 2545 w 3968"/>
              <a:gd name="T61" fmla="*/ 4 h 3105"/>
              <a:gd name="T62" fmla="*/ 3229 w 3968"/>
              <a:gd name="T63" fmla="*/ 230 h 3105"/>
              <a:gd name="T64" fmla="*/ 3722 w 3968"/>
              <a:gd name="T65" fmla="*/ 715 h 3105"/>
              <a:gd name="T66" fmla="*/ 3958 w 3968"/>
              <a:gd name="T67" fmla="*/ 1370 h 3105"/>
              <a:gd name="T68" fmla="*/ 3872 w 3968"/>
              <a:gd name="T69" fmla="*/ 2090 h 3105"/>
              <a:gd name="T70" fmla="*/ 3487 w 3968"/>
              <a:gd name="T71" fmla="*/ 2675 h 3105"/>
              <a:gd name="T72" fmla="*/ 2893 w 3968"/>
              <a:gd name="T73" fmla="*/ 3030 h 3105"/>
              <a:gd name="T74" fmla="*/ 2181 w 3968"/>
              <a:gd name="T75" fmla="*/ 3087 h 3105"/>
              <a:gd name="T76" fmla="*/ 1519 w 3968"/>
              <a:gd name="T77" fmla="*/ 2819 h 3105"/>
              <a:gd name="T78" fmla="*/ 1058 w 3968"/>
              <a:gd name="T79" fmla="*/ 2304 h 3105"/>
              <a:gd name="T80" fmla="*/ 864 w 3968"/>
              <a:gd name="T81" fmla="*/ 1631 h 3105"/>
              <a:gd name="T82" fmla="*/ 1282 w 3968"/>
              <a:gd name="T83" fmla="*/ 1180 h 3105"/>
              <a:gd name="T84" fmla="*/ 1234 w 3968"/>
              <a:gd name="T85" fmla="*/ 1720 h 3105"/>
              <a:gd name="T86" fmla="*/ 1455 w 3968"/>
              <a:gd name="T87" fmla="*/ 2259 h 3105"/>
              <a:gd name="T88" fmla="*/ 1903 w 3968"/>
              <a:gd name="T89" fmla="*/ 2630 h 3105"/>
              <a:gd name="T90" fmla="*/ 2498 w 3968"/>
              <a:gd name="T91" fmla="*/ 2743 h 3105"/>
              <a:gd name="T92" fmla="*/ 3053 w 3968"/>
              <a:gd name="T93" fmla="*/ 2561 h 3105"/>
              <a:gd name="T94" fmla="*/ 3455 w 3968"/>
              <a:gd name="T95" fmla="*/ 2140 h 3105"/>
              <a:gd name="T96" fmla="*/ 3610 w 3968"/>
              <a:gd name="T97" fmla="*/ 1556 h 3105"/>
              <a:gd name="T98" fmla="*/ 3465 w 3968"/>
              <a:gd name="T99" fmla="*/ 986 h 3105"/>
              <a:gd name="T100" fmla="*/ 3076 w 3968"/>
              <a:gd name="T101" fmla="*/ 558 h 3105"/>
              <a:gd name="T102" fmla="*/ 2503 w 3968"/>
              <a:gd name="T103" fmla="*/ 362 h 3105"/>
              <a:gd name="T104" fmla="*/ 1891 w 3968"/>
              <a:gd name="T105" fmla="*/ 481 h 3105"/>
              <a:gd name="T106" fmla="*/ 1429 w 3968"/>
              <a:gd name="T107" fmla="*/ 881 h 3105"/>
              <a:gd name="T108" fmla="*/ 1355 w 3968"/>
              <a:gd name="T109" fmla="*/ 419 h 3105"/>
              <a:gd name="T110" fmla="*/ 1945 w 3968"/>
              <a:gd name="T111" fmla="*/ 72 h 3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968" h="3105">
                <a:moveTo>
                  <a:pt x="2424" y="1140"/>
                </a:moveTo>
                <a:lnTo>
                  <a:pt x="2478" y="1145"/>
                </a:lnTo>
                <a:lnTo>
                  <a:pt x="2528" y="1156"/>
                </a:lnTo>
                <a:lnTo>
                  <a:pt x="2577" y="1173"/>
                </a:lnTo>
                <a:lnTo>
                  <a:pt x="2621" y="1195"/>
                </a:lnTo>
                <a:lnTo>
                  <a:pt x="2662" y="1221"/>
                </a:lnTo>
                <a:lnTo>
                  <a:pt x="2699" y="1253"/>
                </a:lnTo>
                <a:lnTo>
                  <a:pt x="2733" y="1289"/>
                </a:lnTo>
                <a:lnTo>
                  <a:pt x="2761" y="1328"/>
                </a:lnTo>
                <a:lnTo>
                  <a:pt x="2785" y="1370"/>
                </a:lnTo>
                <a:lnTo>
                  <a:pt x="2805" y="1415"/>
                </a:lnTo>
                <a:lnTo>
                  <a:pt x="2818" y="1463"/>
                </a:lnTo>
                <a:lnTo>
                  <a:pt x="2827" y="1512"/>
                </a:lnTo>
                <a:lnTo>
                  <a:pt x="2828" y="1563"/>
                </a:lnTo>
                <a:lnTo>
                  <a:pt x="2823" y="1614"/>
                </a:lnTo>
                <a:lnTo>
                  <a:pt x="2812" y="1665"/>
                </a:lnTo>
                <a:lnTo>
                  <a:pt x="2795" y="1713"/>
                </a:lnTo>
                <a:lnTo>
                  <a:pt x="2773" y="1757"/>
                </a:lnTo>
                <a:lnTo>
                  <a:pt x="2747" y="1798"/>
                </a:lnTo>
                <a:lnTo>
                  <a:pt x="2715" y="1836"/>
                </a:lnTo>
                <a:lnTo>
                  <a:pt x="2679" y="1870"/>
                </a:lnTo>
                <a:lnTo>
                  <a:pt x="2640" y="1898"/>
                </a:lnTo>
                <a:lnTo>
                  <a:pt x="2598" y="1922"/>
                </a:lnTo>
                <a:lnTo>
                  <a:pt x="2553" y="1941"/>
                </a:lnTo>
                <a:lnTo>
                  <a:pt x="2505" y="1955"/>
                </a:lnTo>
                <a:lnTo>
                  <a:pt x="2456" y="1963"/>
                </a:lnTo>
                <a:lnTo>
                  <a:pt x="2405" y="1964"/>
                </a:lnTo>
                <a:lnTo>
                  <a:pt x="2354" y="1960"/>
                </a:lnTo>
                <a:lnTo>
                  <a:pt x="2304" y="1949"/>
                </a:lnTo>
                <a:lnTo>
                  <a:pt x="2257" y="1933"/>
                </a:lnTo>
                <a:lnTo>
                  <a:pt x="2213" y="1911"/>
                </a:lnTo>
                <a:lnTo>
                  <a:pt x="2172" y="1886"/>
                </a:lnTo>
                <a:lnTo>
                  <a:pt x="2136" y="1855"/>
                </a:lnTo>
                <a:lnTo>
                  <a:pt x="2103" y="1820"/>
                </a:lnTo>
                <a:lnTo>
                  <a:pt x="2074" y="1783"/>
                </a:lnTo>
                <a:lnTo>
                  <a:pt x="2050" y="1741"/>
                </a:lnTo>
                <a:lnTo>
                  <a:pt x="2030" y="1698"/>
                </a:lnTo>
                <a:lnTo>
                  <a:pt x="2016" y="1652"/>
                </a:lnTo>
                <a:lnTo>
                  <a:pt x="2007" y="1604"/>
                </a:lnTo>
                <a:lnTo>
                  <a:pt x="2004" y="1555"/>
                </a:lnTo>
                <a:lnTo>
                  <a:pt x="2006" y="1505"/>
                </a:lnTo>
                <a:lnTo>
                  <a:pt x="2292" y="1632"/>
                </a:lnTo>
                <a:lnTo>
                  <a:pt x="2316" y="1641"/>
                </a:lnTo>
                <a:lnTo>
                  <a:pt x="2341" y="1643"/>
                </a:lnTo>
                <a:lnTo>
                  <a:pt x="2365" y="1642"/>
                </a:lnTo>
                <a:lnTo>
                  <a:pt x="2388" y="1635"/>
                </a:lnTo>
                <a:lnTo>
                  <a:pt x="2408" y="1625"/>
                </a:lnTo>
                <a:lnTo>
                  <a:pt x="2428" y="1610"/>
                </a:lnTo>
                <a:lnTo>
                  <a:pt x="2444" y="1592"/>
                </a:lnTo>
                <a:lnTo>
                  <a:pt x="2456" y="1570"/>
                </a:lnTo>
                <a:lnTo>
                  <a:pt x="2463" y="1546"/>
                </a:lnTo>
                <a:lnTo>
                  <a:pt x="2465" y="1523"/>
                </a:lnTo>
                <a:lnTo>
                  <a:pt x="2464" y="1499"/>
                </a:lnTo>
                <a:lnTo>
                  <a:pt x="2457" y="1476"/>
                </a:lnTo>
                <a:lnTo>
                  <a:pt x="2446" y="1455"/>
                </a:lnTo>
                <a:lnTo>
                  <a:pt x="2432" y="1436"/>
                </a:lnTo>
                <a:lnTo>
                  <a:pt x="2413" y="1420"/>
                </a:lnTo>
                <a:lnTo>
                  <a:pt x="2390" y="1408"/>
                </a:lnTo>
                <a:lnTo>
                  <a:pt x="2138" y="1295"/>
                </a:lnTo>
                <a:lnTo>
                  <a:pt x="2105" y="1281"/>
                </a:lnTo>
                <a:lnTo>
                  <a:pt x="2142" y="1244"/>
                </a:lnTo>
                <a:lnTo>
                  <a:pt x="2182" y="1213"/>
                </a:lnTo>
                <a:lnTo>
                  <a:pt x="2225" y="1187"/>
                </a:lnTo>
                <a:lnTo>
                  <a:pt x="2272" y="1166"/>
                </a:lnTo>
                <a:lnTo>
                  <a:pt x="2320" y="1151"/>
                </a:lnTo>
                <a:lnTo>
                  <a:pt x="2372" y="1143"/>
                </a:lnTo>
                <a:lnTo>
                  <a:pt x="2424" y="1140"/>
                </a:lnTo>
                <a:close/>
                <a:moveTo>
                  <a:pt x="2404" y="550"/>
                </a:moveTo>
                <a:lnTo>
                  <a:pt x="2485" y="552"/>
                </a:lnTo>
                <a:lnTo>
                  <a:pt x="2567" y="562"/>
                </a:lnTo>
                <a:lnTo>
                  <a:pt x="2647" y="578"/>
                </a:lnTo>
                <a:lnTo>
                  <a:pt x="2725" y="600"/>
                </a:lnTo>
                <a:lnTo>
                  <a:pt x="2800" y="627"/>
                </a:lnTo>
                <a:lnTo>
                  <a:pt x="2872" y="660"/>
                </a:lnTo>
                <a:lnTo>
                  <a:pt x="2941" y="699"/>
                </a:lnTo>
                <a:lnTo>
                  <a:pt x="3005" y="743"/>
                </a:lnTo>
                <a:lnTo>
                  <a:pt x="3065" y="790"/>
                </a:lnTo>
                <a:lnTo>
                  <a:pt x="3122" y="843"/>
                </a:lnTo>
                <a:lnTo>
                  <a:pt x="3175" y="899"/>
                </a:lnTo>
                <a:lnTo>
                  <a:pt x="3223" y="960"/>
                </a:lnTo>
                <a:lnTo>
                  <a:pt x="3265" y="1023"/>
                </a:lnTo>
                <a:lnTo>
                  <a:pt x="3304" y="1089"/>
                </a:lnTo>
                <a:lnTo>
                  <a:pt x="3337" y="1160"/>
                </a:lnTo>
                <a:lnTo>
                  <a:pt x="3365" y="1232"/>
                </a:lnTo>
                <a:lnTo>
                  <a:pt x="3387" y="1306"/>
                </a:lnTo>
                <a:lnTo>
                  <a:pt x="3404" y="1383"/>
                </a:lnTo>
                <a:lnTo>
                  <a:pt x="3413" y="1461"/>
                </a:lnTo>
                <a:lnTo>
                  <a:pt x="3417" y="1541"/>
                </a:lnTo>
                <a:lnTo>
                  <a:pt x="3415" y="1621"/>
                </a:lnTo>
                <a:lnTo>
                  <a:pt x="3406" y="1704"/>
                </a:lnTo>
                <a:lnTo>
                  <a:pt x="3390" y="1784"/>
                </a:lnTo>
                <a:lnTo>
                  <a:pt x="3368" y="1861"/>
                </a:lnTo>
                <a:lnTo>
                  <a:pt x="3341" y="1937"/>
                </a:lnTo>
                <a:lnTo>
                  <a:pt x="3308" y="2008"/>
                </a:lnTo>
                <a:lnTo>
                  <a:pt x="3269" y="2077"/>
                </a:lnTo>
                <a:lnTo>
                  <a:pt x="3225" y="2141"/>
                </a:lnTo>
                <a:lnTo>
                  <a:pt x="3178" y="2202"/>
                </a:lnTo>
                <a:lnTo>
                  <a:pt x="3125" y="2259"/>
                </a:lnTo>
                <a:lnTo>
                  <a:pt x="3069" y="2311"/>
                </a:lnTo>
                <a:lnTo>
                  <a:pt x="3008" y="2360"/>
                </a:lnTo>
                <a:lnTo>
                  <a:pt x="2945" y="2402"/>
                </a:lnTo>
                <a:lnTo>
                  <a:pt x="2878" y="2441"/>
                </a:lnTo>
                <a:lnTo>
                  <a:pt x="2808" y="2473"/>
                </a:lnTo>
                <a:lnTo>
                  <a:pt x="2736" y="2501"/>
                </a:lnTo>
                <a:lnTo>
                  <a:pt x="2662" y="2523"/>
                </a:lnTo>
                <a:lnTo>
                  <a:pt x="2584" y="2540"/>
                </a:lnTo>
                <a:lnTo>
                  <a:pt x="2507" y="2550"/>
                </a:lnTo>
                <a:lnTo>
                  <a:pt x="2427" y="2553"/>
                </a:lnTo>
                <a:lnTo>
                  <a:pt x="2345" y="2551"/>
                </a:lnTo>
                <a:lnTo>
                  <a:pt x="2264" y="2543"/>
                </a:lnTo>
                <a:lnTo>
                  <a:pt x="2184" y="2527"/>
                </a:lnTo>
                <a:lnTo>
                  <a:pt x="2105" y="2505"/>
                </a:lnTo>
                <a:lnTo>
                  <a:pt x="2032" y="2477"/>
                </a:lnTo>
                <a:lnTo>
                  <a:pt x="1960" y="2444"/>
                </a:lnTo>
                <a:lnTo>
                  <a:pt x="1891" y="2406"/>
                </a:lnTo>
                <a:lnTo>
                  <a:pt x="1827" y="2362"/>
                </a:lnTo>
                <a:lnTo>
                  <a:pt x="1766" y="2315"/>
                </a:lnTo>
                <a:lnTo>
                  <a:pt x="1709" y="2261"/>
                </a:lnTo>
                <a:lnTo>
                  <a:pt x="1657" y="2206"/>
                </a:lnTo>
                <a:lnTo>
                  <a:pt x="1608" y="2145"/>
                </a:lnTo>
                <a:lnTo>
                  <a:pt x="1566" y="2082"/>
                </a:lnTo>
                <a:lnTo>
                  <a:pt x="1527" y="2014"/>
                </a:lnTo>
                <a:lnTo>
                  <a:pt x="1495" y="1945"/>
                </a:lnTo>
                <a:lnTo>
                  <a:pt x="1467" y="1872"/>
                </a:lnTo>
                <a:lnTo>
                  <a:pt x="1445" y="1798"/>
                </a:lnTo>
                <a:lnTo>
                  <a:pt x="1428" y="1721"/>
                </a:lnTo>
                <a:lnTo>
                  <a:pt x="1418" y="1643"/>
                </a:lnTo>
                <a:lnTo>
                  <a:pt x="1415" y="1563"/>
                </a:lnTo>
                <a:lnTo>
                  <a:pt x="1417" y="1482"/>
                </a:lnTo>
                <a:lnTo>
                  <a:pt x="1425" y="1401"/>
                </a:lnTo>
                <a:lnTo>
                  <a:pt x="1439" y="1329"/>
                </a:lnTo>
                <a:lnTo>
                  <a:pt x="1458" y="1259"/>
                </a:lnTo>
                <a:lnTo>
                  <a:pt x="1790" y="1408"/>
                </a:lnTo>
                <a:lnTo>
                  <a:pt x="1785" y="1431"/>
                </a:lnTo>
                <a:lnTo>
                  <a:pt x="1781" y="1455"/>
                </a:lnTo>
                <a:lnTo>
                  <a:pt x="1775" y="1521"/>
                </a:lnTo>
                <a:lnTo>
                  <a:pt x="1775" y="1585"/>
                </a:lnTo>
                <a:lnTo>
                  <a:pt x="1781" y="1648"/>
                </a:lnTo>
                <a:lnTo>
                  <a:pt x="1793" y="1710"/>
                </a:lnTo>
                <a:lnTo>
                  <a:pt x="1811" y="1769"/>
                </a:lnTo>
                <a:lnTo>
                  <a:pt x="1835" y="1826"/>
                </a:lnTo>
                <a:lnTo>
                  <a:pt x="1864" y="1881"/>
                </a:lnTo>
                <a:lnTo>
                  <a:pt x="1898" y="1933"/>
                </a:lnTo>
                <a:lnTo>
                  <a:pt x="1937" y="1980"/>
                </a:lnTo>
                <a:lnTo>
                  <a:pt x="1981" y="2025"/>
                </a:lnTo>
                <a:lnTo>
                  <a:pt x="2028" y="2064"/>
                </a:lnTo>
                <a:lnTo>
                  <a:pt x="2079" y="2099"/>
                </a:lnTo>
                <a:lnTo>
                  <a:pt x="2135" y="2129"/>
                </a:lnTo>
                <a:lnTo>
                  <a:pt x="2193" y="2155"/>
                </a:lnTo>
                <a:lnTo>
                  <a:pt x="2255" y="2174"/>
                </a:lnTo>
                <a:lnTo>
                  <a:pt x="2319" y="2187"/>
                </a:lnTo>
                <a:lnTo>
                  <a:pt x="2384" y="2193"/>
                </a:lnTo>
                <a:lnTo>
                  <a:pt x="2448" y="2193"/>
                </a:lnTo>
                <a:lnTo>
                  <a:pt x="2512" y="2187"/>
                </a:lnTo>
                <a:lnTo>
                  <a:pt x="2573" y="2175"/>
                </a:lnTo>
                <a:lnTo>
                  <a:pt x="2633" y="2157"/>
                </a:lnTo>
                <a:lnTo>
                  <a:pt x="2690" y="2133"/>
                </a:lnTo>
                <a:lnTo>
                  <a:pt x="2744" y="2104"/>
                </a:lnTo>
                <a:lnTo>
                  <a:pt x="2796" y="2070"/>
                </a:lnTo>
                <a:lnTo>
                  <a:pt x="2844" y="2031"/>
                </a:lnTo>
                <a:lnTo>
                  <a:pt x="2888" y="1987"/>
                </a:lnTo>
                <a:lnTo>
                  <a:pt x="2927" y="1940"/>
                </a:lnTo>
                <a:lnTo>
                  <a:pt x="2962" y="1888"/>
                </a:lnTo>
                <a:lnTo>
                  <a:pt x="2993" y="1833"/>
                </a:lnTo>
                <a:lnTo>
                  <a:pt x="3018" y="1775"/>
                </a:lnTo>
                <a:lnTo>
                  <a:pt x="3038" y="1713"/>
                </a:lnTo>
                <a:lnTo>
                  <a:pt x="3051" y="1649"/>
                </a:lnTo>
                <a:lnTo>
                  <a:pt x="3057" y="1584"/>
                </a:lnTo>
                <a:lnTo>
                  <a:pt x="3057" y="1520"/>
                </a:lnTo>
                <a:lnTo>
                  <a:pt x="3051" y="1457"/>
                </a:lnTo>
                <a:lnTo>
                  <a:pt x="3039" y="1395"/>
                </a:lnTo>
                <a:lnTo>
                  <a:pt x="3021" y="1335"/>
                </a:lnTo>
                <a:lnTo>
                  <a:pt x="2996" y="1278"/>
                </a:lnTo>
                <a:lnTo>
                  <a:pt x="2967" y="1224"/>
                </a:lnTo>
                <a:lnTo>
                  <a:pt x="2933" y="1172"/>
                </a:lnTo>
                <a:lnTo>
                  <a:pt x="2895" y="1124"/>
                </a:lnTo>
                <a:lnTo>
                  <a:pt x="2851" y="1080"/>
                </a:lnTo>
                <a:lnTo>
                  <a:pt x="2804" y="1040"/>
                </a:lnTo>
                <a:lnTo>
                  <a:pt x="2752" y="1004"/>
                </a:lnTo>
                <a:lnTo>
                  <a:pt x="2697" y="974"/>
                </a:lnTo>
                <a:lnTo>
                  <a:pt x="2639" y="950"/>
                </a:lnTo>
                <a:lnTo>
                  <a:pt x="2577" y="930"/>
                </a:lnTo>
                <a:lnTo>
                  <a:pt x="2513" y="917"/>
                </a:lnTo>
                <a:lnTo>
                  <a:pt x="2445" y="910"/>
                </a:lnTo>
                <a:lnTo>
                  <a:pt x="2378" y="911"/>
                </a:lnTo>
                <a:lnTo>
                  <a:pt x="2314" y="918"/>
                </a:lnTo>
                <a:lnTo>
                  <a:pt x="2250" y="932"/>
                </a:lnTo>
                <a:lnTo>
                  <a:pt x="2189" y="951"/>
                </a:lnTo>
                <a:lnTo>
                  <a:pt x="2130" y="978"/>
                </a:lnTo>
                <a:lnTo>
                  <a:pt x="2074" y="1009"/>
                </a:lnTo>
                <a:lnTo>
                  <a:pt x="2022" y="1046"/>
                </a:lnTo>
                <a:lnTo>
                  <a:pt x="1975" y="1087"/>
                </a:lnTo>
                <a:lnTo>
                  <a:pt x="1930" y="1133"/>
                </a:lnTo>
                <a:lnTo>
                  <a:pt x="1890" y="1184"/>
                </a:lnTo>
                <a:lnTo>
                  <a:pt x="1558" y="1035"/>
                </a:lnTo>
                <a:lnTo>
                  <a:pt x="1601" y="969"/>
                </a:lnTo>
                <a:lnTo>
                  <a:pt x="1650" y="907"/>
                </a:lnTo>
                <a:lnTo>
                  <a:pt x="1702" y="850"/>
                </a:lnTo>
                <a:lnTo>
                  <a:pt x="1758" y="797"/>
                </a:lnTo>
                <a:lnTo>
                  <a:pt x="1818" y="749"/>
                </a:lnTo>
                <a:lnTo>
                  <a:pt x="1882" y="705"/>
                </a:lnTo>
                <a:lnTo>
                  <a:pt x="1949" y="666"/>
                </a:lnTo>
                <a:lnTo>
                  <a:pt x="2019" y="632"/>
                </a:lnTo>
                <a:lnTo>
                  <a:pt x="2092" y="604"/>
                </a:lnTo>
                <a:lnTo>
                  <a:pt x="2167" y="581"/>
                </a:lnTo>
                <a:lnTo>
                  <a:pt x="2245" y="566"/>
                </a:lnTo>
                <a:lnTo>
                  <a:pt x="2324" y="555"/>
                </a:lnTo>
                <a:lnTo>
                  <a:pt x="2404" y="550"/>
                </a:lnTo>
                <a:close/>
                <a:moveTo>
                  <a:pt x="295" y="227"/>
                </a:moveTo>
                <a:lnTo>
                  <a:pt x="807" y="443"/>
                </a:lnTo>
                <a:lnTo>
                  <a:pt x="873" y="878"/>
                </a:lnTo>
                <a:lnTo>
                  <a:pt x="524" y="1140"/>
                </a:lnTo>
                <a:lnTo>
                  <a:pt x="0" y="915"/>
                </a:lnTo>
                <a:lnTo>
                  <a:pt x="433" y="690"/>
                </a:lnTo>
                <a:lnTo>
                  <a:pt x="295" y="227"/>
                </a:lnTo>
                <a:close/>
                <a:moveTo>
                  <a:pt x="2442" y="0"/>
                </a:moveTo>
                <a:lnTo>
                  <a:pt x="2545" y="4"/>
                </a:lnTo>
                <a:lnTo>
                  <a:pt x="2650" y="18"/>
                </a:lnTo>
                <a:lnTo>
                  <a:pt x="2755" y="37"/>
                </a:lnTo>
                <a:lnTo>
                  <a:pt x="2856" y="63"/>
                </a:lnTo>
                <a:lnTo>
                  <a:pt x="2954" y="95"/>
                </a:lnTo>
                <a:lnTo>
                  <a:pt x="3050" y="134"/>
                </a:lnTo>
                <a:lnTo>
                  <a:pt x="3141" y="179"/>
                </a:lnTo>
                <a:lnTo>
                  <a:pt x="3229" y="230"/>
                </a:lnTo>
                <a:lnTo>
                  <a:pt x="3313" y="284"/>
                </a:lnTo>
                <a:lnTo>
                  <a:pt x="3393" y="345"/>
                </a:lnTo>
                <a:lnTo>
                  <a:pt x="3468" y="410"/>
                </a:lnTo>
                <a:lnTo>
                  <a:pt x="3538" y="481"/>
                </a:lnTo>
                <a:lnTo>
                  <a:pt x="3605" y="555"/>
                </a:lnTo>
                <a:lnTo>
                  <a:pt x="3667" y="633"/>
                </a:lnTo>
                <a:lnTo>
                  <a:pt x="3722" y="715"/>
                </a:lnTo>
                <a:lnTo>
                  <a:pt x="3773" y="801"/>
                </a:lnTo>
                <a:lnTo>
                  <a:pt x="3819" y="889"/>
                </a:lnTo>
                <a:lnTo>
                  <a:pt x="3859" y="980"/>
                </a:lnTo>
                <a:lnTo>
                  <a:pt x="3893" y="1075"/>
                </a:lnTo>
                <a:lnTo>
                  <a:pt x="3921" y="1172"/>
                </a:lnTo>
                <a:lnTo>
                  <a:pt x="3943" y="1270"/>
                </a:lnTo>
                <a:lnTo>
                  <a:pt x="3958" y="1370"/>
                </a:lnTo>
                <a:lnTo>
                  <a:pt x="3966" y="1473"/>
                </a:lnTo>
                <a:lnTo>
                  <a:pt x="3968" y="1577"/>
                </a:lnTo>
                <a:lnTo>
                  <a:pt x="3964" y="1681"/>
                </a:lnTo>
                <a:lnTo>
                  <a:pt x="3950" y="1786"/>
                </a:lnTo>
                <a:lnTo>
                  <a:pt x="3931" y="1892"/>
                </a:lnTo>
                <a:lnTo>
                  <a:pt x="3904" y="1992"/>
                </a:lnTo>
                <a:lnTo>
                  <a:pt x="3872" y="2090"/>
                </a:lnTo>
                <a:lnTo>
                  <a:pt x="3834" y="2186"/>
                </a:lnTo>
                <a:lnTo>
                  <a:pt x="3789" y="2277"/>
                </a:lnTo>
                <a:lnTo>
                  <a:pt x="3738" y="2366"/>
                </a:lnTo>
                <a:lnTo>
                  <a:pt x="3682" y="2449"/>
                </a:lnTo>
                <a:lnTo>
                  <a:pt x="3622" y="2529"/>
                </a:lnTo>
                <a:lnTo>
                  <a:pt x="3558" y="2604"/>
                </a:lnTo>
                <a:lnTo>
                  <a:pt x="3487" y="2675"/>
                </a:lnTo>
                <a:lnTo>
                  <a:pt x="3413" y="2741"/>
                </a:lnTo>
                <a:lnTo>
                  <a:pt x="3335" y="2803"/>
                </a:lnTo>
                <a:lnTo>
                  <a:pt x="3253" y="2859"/>
                </a:lnTo>
                <a:lnTo>
                  <a:pt x="3167" y="2910"/>
                </a:lnTo>
                <a:lnTo>
                  <a:pt x="3079" y="2956"/>
                </a:lnTo>
                <a:lnTo>
                  <a:pt x="2987" y="2996"/>
                </a:lnTo>
                <a:lnTo>
                  <a:pt x="2893" y="3030"/>
                </a:lnTo>
                <a:lnTo>
                  <a:pt x="2796" y="3058"/>
                </a:lnTo>
                <a:lnTo>
                  <a:pt x="2698" y="3080"/>
                </a:lnTo>
                <a:lnTo>
                  <a:pt x="2598" y="3094"/>
                </a:lnTo>
                <a:lnTo>
                  <a:pt x="2495" y="3103"/>
                </a:lnTo>
                <a:lnTo>
                  <a:pt x="2392" y="3105"/>
                </a:lnTo>
                <a:lnTo>
                  <a:pt x="2286" y="3099"/>
                </a:lnTo>
                <a:lnTo>
                  <a:pt x="2181" y="3087"/>
                </a:lnTo>
                <a:lnTo>
                  <a:pt x="2076" y="3067"/>
                </a:lnTo>
                <a:lnTo>
                  <a:pt x="1976" y="3041"/>
                </a:lnTo>
                <a:lnTo>
                  <a:pt x="1876" y="3008"/>
                </a:lnTo>
                <a:lnTo>
                  <a:pt x="1782" y="2969"/>
                </a:lnTo>
                <a:lnTo>
                  <a:pt x="1691" y="2926"/>
                </a:lnTo>
                <a:lnTo>
                  <a:pt x="1602" y="2875"/>
                </a:lnTo>
                <a:lnTo>
                  <a:pt x="1519" y="2819"/>
                </a:lnTo>
                <a:lnTo>
                  <a:pt x="1439" y="2758"/>
                </a:lnTo>
                <a:lnTo>
                  <a:pt x="1364" y="2694"/>
                </a:lnTo>
                <a:lnTo>
                  <a:pt x="1292" y="2624"/>
                </a:lnTo>
                <a:lnTo>
                  <a:pt x="1227" y="2550"/>
                </a:lnTo>
                <a:lnTo>
                  <a:pt x="1165" y="2471"/>
                </a:lnTo>
                <a:lnTo>
                  <a:pt x="1109" y="2390"/>
                </a:lnTo>
                <a:lnTo>
                  <a:pt x="1058" y="2304"/>
                </a:lnTo>
                <a:lnTo>
                  <a:pt x="1012" y="2215"/>
                </a:lnTo>
                <a:lnTo>
                  <a:pt x="972" y="2123"/>
                </a:lnTo>
                <a:lnTo>
                  <a:pt x="938" y="2030"/>
                </a:lnTo>
                <a:lnTo>
                  <a:pt x="910" y="1933"/>
                </a:lnTo>
                <a:lnTo>
                  <a:pt x="888" y="1835"/>
                </a:lnTo>
                <a:lnTo>
                  <a:pt x="874" y="1734"/>
                </a:lnTo>
                <a:lnTo>
                  <a:pt x="864" y="1631"/>
                </a:lnTo>
                <a:lnTo>
                  <a:pt x="863" y="1528"/>
                </a:lnTo>
                <a:lnTo>
                  <a:pt x="868" y="1423"/>
                </a:lnTo>
                <a:lnTo>
                  <a:pt x="881" y="1317"/>
                </a:lnTo>
                <a:lnTo>
                  <a:pt x="899" y="1220"/>
                </a:lnTo>
                <a:lnTo>
                  <a:pt x="924" y="1124"/>
                </a:lnTo>
                <a:lnTo>
                  <a:pt x="953" y="1032"/>
                </a:lnTo>
                <a:lnTo>
                  <a:pt x="1282" y="1180"/>
                </a:lnTo>
                <a:lnTo>
                  <a:pt x="1263" y="1242"/>
                </a:lnTo>
                <a:lnTo>
                  <a:pt x="1248" y="1306"/>
                </a:lnTo>
                <a:lnTo>
                  <a:pt x="1236" y="1372"/>
                </a:lnTo>
                <a:lnTo>
                  <a:pt x="1225" y="1460"/>
                </a:lnTo>
                <a:lnTo>
                  <a:pt x="1222" y="1547"/>
                </a:lnTo>
                <a:lnTo>
                  <a:pt x="1225" y="1635"/>
                </a:lnTo>
                <a:lnTo>
                  <a:pt x="1234" y="1720"/>
                </a:lnTo>
                <a:lnTo>
                  <a:pt x="1248" y="1803"/>
                </a:lnTo>
                <a:lnTo>
                  <a:pt x="1270" y="1886"/>
                </a:lnTo>
                <a:lnTo>
                  <a:pt x="1296" y="1966"/>
                </a:lnTo>
                <a:lnTo>
                  <a:pt x="1328" y="2043"/>
                </a:lnTo>
                <a:lnTo>
                  <a:pt x="1365" y="2118"/>
                </a:lnTo>
                <a:lnTo>
                  <a:pt x="1407" y="2190"/>
                </a:lnTo>
                <a:lnTo>
                  <a:pt x="1455" y="2259"/>
                </a:lnTo>
                <a:lnTo>
                  <a:pt x="1507" y="2324"/>
                </a:lnTo>
                <a:lnTo>
                  <a:pt x="1562" y="2386"/>
                </a:lnTo>
                <a:lnTo>
                  <a:pt x="1623" y="2443"/>
                </a:lnTo>
                <a:lnTo>
                  <a:pt x="1687" y="2497"/>
                </a:lnTo>
                <a:lnTo>
                  <a:pt x="1755" y="2546"/>
                </a:lnTo>
                <a:lnTo>
                  <a:pt x="1827" y="2591"/>
                </a:lnTo>
                <a:lnTo>
                  <a:pt x="1903" y="2630"/>
                </a:lnTo>
                <a:lnTo>
                  <a:pt x="1982" y="2664"/>
                </a:lnTo>
                <a:lnTo>
                  <a:pt x="2063" y="2693"/>
                </a:lnTo>
                <a:lnTo>
                  <a:pt x="2148" y="2715"/>
                </a:lnTo>
                <a:lnTo>
                  <a:pt x="2235" y="2732"/>
                </a:lnTo>
                <a:lnTo>
                  <a:pt x="2324" y="2743"/>
                </a:lnTo>
                <a:lnTo>
                  <a:pt x="2411" y="2746"/>
                </a:lnTo>
                <a:lnTo>
                  <a:pt x="2498" y="2743"/>
                </a:lnTo>
                <a:lnTo>
                  <a:pt x="2583" y="2734"/>
                </a:lnTo>
                <a:lnTo>
                  <a:pt x="2667" y="2718"/>
                </a:lnTo>
                <a:lnTo>
                  <a:pt x="2749" y="2698"/>
                </a:lnTo>
                <a:lnTo>
                  <a:pt x="2829" y="2671"/>
                </a:lnTo>
                <a:lnTo>
                  <a:pt x="2907" y="2640"/>
                </a:lnTo>
                <a:lnTo>
                  <a:pt x="2982" y="2602"/>
                </a:lnTo>
                <a:lnTo>
                  <a:pt x="3053" y="2561"/>
                </a:lnTo>
                <a:lnTo>
                  <a:pt x="3122" y="2513"/>
                </a:lnTo>
                <a:lnTo>
                  <a:pt x="3188" y="2461"/>
                </a:lnTo>
                <a:lnTo>
                  <a:pt x="3250" y="2406"/>
                </a:lnTo>
                <a:lnTo>
                  <a:pt x="3307" y="2345"/>
                </a:lnTo>
                <a:lnTo>
                  <a:pt x="3360" y="2281"/>
                </a:lnTo>
                <a:lnTo>
                  <a:pt x="3410" y="2213"/>
                </a:lnTo>
                <a:lnTo>
                  <a:pt x="3455" y="2140"/>
                </a:lnTo>
                <a:lnTo>
                  <a:pt x="3493" y="2065"/>
                </a:lnTo>
                <a:lnTo>
                  <a:pt x="3527" y="1986"/>
                </a:lnTo>
                <a:lnTo>
                  <a:pt x="3556" y="1905"/>
                </a:lnTo>
                <a:lnTo>
                  <a:pt x="3578" y="1820"/>
                </a:lnTo>
                <a:lnTo>
                  <a:pt x="3595" y="1733"/>
                </a:lnTo>
                <a:lnTo>
                  <a:pt x="3606" y="1644"/>
                </a:lnTo>
                <a:lnTo>
                  <a:pt x="3610" y="1556"/>
                </a:lnTo>
                <a:lnTo>
                  <a:pt x="3606" y="1470"/>
                </a:lnTo>
                <a:lnTo>
                  <a:pt x="3598" y="1385"/>
                </a:lnTo>
                <a:lnTo>
                  <a:pt x="3582" y="1300"/>
                </a:lnTo>
                <a:lnTo>
                  <a:pt x="3561" y="1219"/>
                </a:lnTo>
                <a:lnTo>
                  <a:pt x="3535" y="1139"/>
                </a:lnTo>
                <a:lnTo>
                  <a:pt x="3503" y="1061"/>
                </a:lnTo>
                <a:lnTo>
                  <a:pt x="3465" y="986"/>
                </a:lnTo>
                <a:lnTo>
                  <a:pt x="3424" y="915"/>
                </a:lnTo>
                <a:lnTo>
                  <a:pt x="3377" y="846"/>
                </a:lnTo>
                <a:lnTo>
                  <a:pt x="3325" y="780"/>
                </a:lnTo>
                <a:lnTo>
                  <a:pt x="3269" y="718"/>
                </a:lnTo>
                <a:lnTo>
                  <a:pt x="3208" y="661"/>
                </a:lnTo>
                <a:lnTo>
                  <a:pt x="3144" y="607"/>
                </a:lnTo>
                <a:lnTo>
                  <a:pt x="3076" y="558"/>
                </a:lnTo>
                <a:lnTo>
                  <a:pt x="3004" y="513"/>
                </a:lnTo>
                <a:lnTo>
                  <a:pt x="2928" y="475"/>
                </a:lnTo>
                <a:lnTo>
                  <a:pt x="2850" y="441"/>
                </a:lnTo>
                <a:lnTo>
                  <a:pt x="2768" y="412"/>
                </a:lnTo>
                <a:lnTo>
                  <a:pt x="2684" y="389"/>
                </a:lnTo>
                <a:lnTo>
                  <a:pt x="2596" y="373"/>
                </a:lnTo>
                <a:lnTo>
                  <a:pt x="2503" y="362"/>
                </a:lnTo>
                <a:lnTo>
                  <a:pt x="2410" y="358"/>
                </a:lnTo>
                <a:lnTo>
                  <a:pt x="2319" y="362"/>
                </a:lnTo>
                <a:lnTo>
                  <a:pt x="2229" y="373"/>
                </a:lnTo>
                <a:lnTo>
                  <a:pt x="2142" y="391"/>
                </a:lnTo>
                <a:lnTo>
                  <a:pt x="2056" y="414"/>
                </a:lnTo>
                <a:lnTo>
                  <a:pt x="1972" y="444"/>
                </a:lnTo>
                <a:lnTo>
                  <a:pt x="1891" y="481"/>
                </a:lnTo>
                <a:lnTo>
                  <a:pt x="1813" y="522"/>
                </a:lnTo>
                <a:lnTo>
                  <a:pt x="1739" y="569"/>
                </a:lnTo>
                <a:lnTo>
                  <a:pt x="1669" y="623"/>
                </a:lnTo>
                <a:lnTo>
                  <a:pt x="1602" y="680"/>
                </a:lnTo>
                <a:lnTo>
                  <a:pt x="1541" y="743"/>
                </a:lnTo>
                <a:lnTo>
                  <a:pt x="1482" y="809"/>
                </a:lnTo>
                <a:lnTo>
                  <a:pt x="1429" y="881"/>
                </a:lnTo>
                <a:lnTo>
                  <a:pt x="1382" y="956"/>
                </a:lnTo>
                <a:lnTo>
                  <a:pt x="1052" y="808"/>
                </a:lnTo>
                <a:lnTo>
                  <a:pt x="1103" y="722"/>
                </a:lnTo>
                <a:lnTo>
                  <a:pt x="1159" y="641"/>
                </a:lnTo>
                <a:lnTo>
                  <a:pt x="1221" y="562"/>
                </a:lnTo>
                <a:lnTo>
                  <a:pt x="1286" y="488"/>
                </a:lnTo>
                <a:lnTo>
                  <a:pt x="1355" y="419"/>
                </a:lnTo>
                <a:lnTo>
                  <a:pt x="1429" y="353"/>
                </a:lnTo>
                <a:lnTo>
                  <a:pt x="1507" y="294"/>
                </a:lnTo>
                <a:lnTo>
                  <a:pt x="1589" y="238"/>
                </a:lnTo>
                <a:lnTo>
                  <a:pt x="1674" y="189"/>
                </a:lnTo>
                <a:lnTo>
                  <a:pt x="1761" y="145"/>
                </a:lnTo>
                <a:lnTo>
                  <a:pt x="1852" y="106"/>
                </a:lnTo>
                <a:lnTo>
                  <a:pt x="1945" y="72"/>
                </a:lnTo>
                <a:lnTo>
                  <a:pt x="2041" y="46"/>
                </a:lnTo>
                <a:lnTo>
                  <a:pt x="2139" y="24"/>
                </a:lnTo>
                <a:lnTo>
                  <a:pt x="2239" y="9"/>
                </a:lnTo>
                <a:lnTo>
                  <a:pt x="2339" y="1"/>
                </a:lnTo>
                <a:lnTo>
                  <a:pt x="2442"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p>
        </p:txBody>
      </p:sp>
    </p:spTree>
    <p:extLst>
      <p:ext uri="{BB962C8B-B14F-4D97-AF65-F5344CB8AC3E}">
        <p14:creationId xmlns:p14="http://schemas.microsoft.com/office/powerpoint/2010/main" val="394504442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Object 34" hidden="1">
            <a:extLst>
              <a:ext uri="{FF2B5EF4-FFF2-40B4-BE49-F238E27FC236}">
                <a16:creationId xmlns:a16="http://schemas.microsoft.com/office/drawing/2014/main" id="{4C781002-2313-4803-A01A-071A6AB2FB9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319" name="think-cell Slide" r:id="rId5" imgW="360" imgH="360" progId="TCLayout.ActiveDocument.1">
                  <p:embed/>
                </p:oleObj>
              </mc:Choice>
              <mc:Fallback>
                <p:oleObj name="think-cell Slide" r:id="rId5" imgW="360" imgH="360" progId="TCLayout.ActiveDocument.1">
                  <p:embed/>
                  <p:pic>
                    <p:nvPicPr>
                      <p:cNvPr id="35" name="Object 34" hidden="1">
                        <a:extLst>
                          <a:ext uri="{FF2B5EF4-FFF2-40B4-BE49-F238E27FC236}">
                            <a16:creationId xmlns:a16="http://schemas.microsoft.com/office/drawing/2014/main" id="{4C781002-2313-4803-A01A-071A6AB2FB9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6" name="Rectangle 35" hidden="1">
            <a:extLst>
              <a:ext uri="{FF2B5EF4-FFF2-40B4-BE49-F238E27FC236}">
                <a16:creationId xmlns:a16="http://schemas.microsoft.com/office/drawing/2014/main" id="{1F08D6A1-39DF-43FB-878F-188581D16D3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prstClr val="white"/>
              </a:solidFill>
              <a:effectLst/>
              <a:uLnTx/>
              <a:uFillTx/>
              <a:latin typeface="UniCredit" panose="02000506040000020004" pitchFamily="2" charset="0"/>
              <a:ea typeface="+mn-ea"/>
              <a:cs typeface="Arial" panose="020B0604020202020204" pitchFamily="34" charset="0"/>
              <a:sym typeface="UniCredit" panose="02000506040000020004" pitchFamily="2" charset="0"/>
            </a:endParaRPr>
          </a:p>
        </p:txBody>
      </p:sp>
      <p:sp>
        <p:nvSpPr>
          <p:cNvPr id="2" name="Text Placeholder 1">
            <a:extLst>
              <a:ext uri="{FF2B5EF4-FFF2-40B4-BE49-F238E27FC236}">
                <a16:creationId xmlns:a16="http://schemas.microsoft.com/office/drawing/2014/main" id="{37C31D72-88E7-4CA4-97CC-DF95C6596AE8}"/>
              </a:ext>
            </a:extLst>
          </p:cNvPr>
          <p:cNvSpPr>
            <a:spLocks noGrp="1"/>
          </p:cNvSpPr>
          <p:nvPr>
            <p:ph type="body" sz="quarter" idx="12"/>
          </p:nvPr>
        </p:nvSpPr>
        <p:spPr/>
        <p:txBody>
          <a:bodyPr/>
          <a:lstStyle/>
          <a:p>
            <a:endParaRPr lang="en-US"/>
          </a:p>
        </p:txBody>
      </p:sp>
      <p:sp>
        <p:nvSpPr>
          <p:cNvPr id="3" name="Text Placeholder 2">
            <a:extLst>
              <a:ext uri="{FF2B5EF4-FFF2-40B4-BE49-F238E27FC236}">
                <a16:creationId xmlns:a16="http://schemas.microsoft.com/office/drawing/2014/main" id="{EBBD6DAB-6B2B-42CC-9A99-3EDE6EF054BF}"/>
              </a:ext>
            </a:extLst>
          </p:cNvPr>
          <p:cNvSpPr>
            <a:spLocks noGrp="1"/>
          </p:cNvSpPr>
          <p:nvPr>
            <p:ph type="body" sz="quarter" idx="16"/>
          </p:nvPr>
        </p:nvSpPr>
        <p:spPr/>
        <p:txBody>
          <a:bodyPr/>
          <a:lstStyle/>
          <a:p>
            <a:endParaRPr lang="en-US"/>
          </a:p>
        </p:txBody>
      </p:sp>
      <p:sp>
        <p:nvSpPr>
          <p:cNvPr id="4" name="Slide Number Placeholder 3">
            <a:extLst>
              <a:ext uri="{FF2B5EF4-FFF2-40B4-BE49-F238E27FC236}">
                <a16:creationId xmlns:a16="http://schemas.microsoft.com/office/drawing/2014/main" id="{82835AA4-731A-42C0-9605-CE5C097D862B}"/>
              </a:ext>
            </a:extLst>
          </p:cNvPr>
          <p:cNvSpPr>
            <a:spLocks noGrp="1"/>
          </p:cNvSpPr>
          <p:nvPr>
            <p:ph type="sldNum" sz="quarter" idx="11"/>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fld id="{9E8169F0-646E-455B-AF5A-6D6C02EAEAF6}" type="slidenum">
              <a:rPr kumimoji="0" lang="en-GB" sz="900" b="0" i="0" u="none" strike="noStrike" kern="1200" cap="none" spc="0" normalizeH="0" baseline="0" noProof="1" smtClean="0">
                <a:ln>
                  <a:noFill/>
                </a:ln>
                <a:solidFill>
                  <a:srgbClr val="00AFD0"/>
                </a:solidFill>
                <a:effectLst/>
                <a:uLnTx/>
                <a:uFillTx/>
                <a:latin typeface="UniCredit"/>
                <a:ea typeface="+mn-ea"/>
                <a:cs typeface="Arial" panose="020B0604020202020204" pitchFamily="34" charset="0"/>
              </a:rPr>
              <a:pPr marL="0" marR="0" lvl="0" indent="0" algn="l" defTabSz="685800" rtl="0" eaLnBrk="1" fontAlgn="auto" latinLnBrk="0" hangingPunct="1">
                <a:lnSpc>
                  <a:spcPct val="100000"/>
                </a:lnSpc>
                <a:spcBef>
                  <a:spcPts val="0"/>
                </a:spcBef>
                <a:spcAft>
                  <a:spcPts val="0"/>
                </a:spcAft>
                <a:buClrTx/>
                <a:buSzTx/>
                <a:buFontTx/>
                <a:buNone/>
                <a:tabLst/>
                <a:defRPr/>
              </a:pPr>
              <a:t>26</a:t>
            </a:fld>
            <a:endParaRPr kumimoji="0" lang="en-GB" sz="900" b="0" i="0" u="none" strike="noStrike" kern="1200" cap="none" spc="0" normalizeH="0" baseline="0" noProof="1">
              <a:ln>
                <a:noFill/>
              </a:ln>
              <a:solidFill>
                <a:srgbClr val="00AFD0"/>
              </a:solidFill>
              <a:effectLst/>
              <a:uLnTx/>
              <a:uFillTx/>
              <a:latin typeface="UniCredit"/>
              <a:ea typeface="+mn-ea"/>
              <a:cs typeface="Arial" panose="020B0604020202020204" pitchFamily="34" charset="0"/>
            </a:endParaRPr>
          </a:p>
        </p:txBody>
      </p:sp>
      <p:graphicFrame>
        <p:nvGraphicFramePr>
          <p:cNvPr id="7" name="Content Placeholder 6">
            <a:extLst>
              <a:ext uri="{FF2B5EF4-FFF2-40B4-BE49-F238E27FC236}">
                <a16:creationId xmlns:a16="http://schemas.microsoft.com/office/drawing/2014/main" id="{B213A504-AF0B-4DEB-B8A6-057B0B9F9935}"/>
              </a:ext>
            </a:extLst>
          </p:cNvPr>
          <p:cNvGraphicFramePr>
            <a:graphicFrameLocks noGrp="1"/>
          </p:cNvGraphicFramePr>
          <p:nvPr>
            <p:ph sz="quarter" idx="15"/>
          </p:nvPr>
        </p:nvGraphicFramePr>
        <p:xfrm>
          <a:off x="232568" y="1662658"/>
          <a:ext cx="8678863" cy="793939"/>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6" name="Title 5">
            <a:extLst>
              <a:ext uri="{FF2B5EF4-FFF2-40B4-BE49-F238E27FC236}">
                <a16:creationId xmlns:a16="http://schemas.microsoft.com/office/drawing/2014/main" id="{4CEBBF5F-7584-4FE7-8A89-E5F2743DBDC0}"/>
              </a:ext>
            </a:extLst>
          </p:cNvPr>
          <p:cNvSpPr>
            <a:spLocks noGrp="1"/>
          </p:cNvSpPr>
          <p:nvPr>
            <p:ph type="title"/>
          </p:nvPr>
        </p:nvSpPr>
        <p:spPr/>
        <p:txBody>
          <a:bodyPr/>
          <a:lstStyle/>
          <a:p>
            <a:r>
              <a:rPr lang="en-US" dirty="0"/>
              <a:t>Deploy of the code, Database versioning and Service Virtualization</a:t>
            </a:r>
          </a:p>
        </p:txBody>
      </p:sp>
      <p:graphicFrame>
        <p:nvGraphicFramePr>
          <p:cNvPr id="8" name="Content Placeholder 6">
            <a:extLst>
              <a:ext uri="{FF2B5EF4-FFF2-40B4-BE49-F238E27FC236}">
                <a16:creationId xmlns:a16="http://schemas.microsoft.com/office/drawing/2014/main" id="{4012480D-4ACF-46ED-A5BC-A161DB9452BD}"/>
              </a:ext>
            </a:extLst>
          </p:cNvPr>
          <p:cNvGraphicFramePr>
            <a:graphicFrameLocks/>
          </p:cNvGraphicFramePr>
          <p:nvPr/>
        </p:nvGraphicFramePr>
        <p:xfrm>
          <a:off x="1958454" y="1330658"/>
          <a:ext cx="6121021" cy="416256"/>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grpSp>
        <p:nvGrpSpPr>
          <p:cNvPr id="12" name="Gruppo 57">
            <a:extLst>
              <a:ext uri="{FF2B5EF4-FFF2-40B4-BE49-F238E27FC236}">
                <a16:creationId xmlns:a16="http://schemas.microsoft.com/office/drawing/2014/main" id="{96E0BE94-53DC-4071-8828-0459313D9456}"/>
              </a:ext>
            </a:extLst>
          </p:cNvPr>
          <p:cNvGrpSpPr/>
          <p:nvPr/>
        </p:nvGrpSpPr>
        <p:grpSpPr>
          <a:xfrm>
            <a:off x="5508245" y="2405035"/>
            <a:ext cx="529106" cy="366887"/>
            <a:chOff x="6946025" y="2094577"/>
            <a:chExt cx="723806" cy="478077"/>
          </a:xfrm>
        </p:grpSpPr>
        <p:pic>
          <p:nvPicPr>
            <p:cNvPr id="25" name="Grafik 143">
              <a:extLst>
                <a:ext uri="{FF2B5EF4-FFF2-40B4-BE49-F238E27FC236}">
                  <a16:creationId xmlns:a16="http://schemas.microsoft.com/office/drawing/2014/main" id="{DEFF508D-9999-4AA0-A2B0-59E721894D31}"/>
                </a:ext>
              </a:extLst>
            </p:cNvPr>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6946025" y="2122512"/>
              <a:ext cx="723806" cy="450142"/>
            </a:xfrm>
            <a:prstGeom prst="rect">
              <a:avLst/>
            </a:prstGeom>
          </p:spPr>
        </p:pic>
        <p:sp>
          <p:nvSpPr>
            <p:cNvPr id="26" name="CasellaDiTesto 59">
              <a:extLst>
                <a:ext uri="{FF2B5EF4-FFF2-40B4-BE49-F238E27FC236}">
                  <a16:creationId xmlns:a16="http://schemas.microsoft.com/office/drawing/2014/main" id="{EF7AC9F6-CBEE-498A-B32B-FECA87197DA1}"/>
                </a:ext>
              </a:extLst>
            </p:cNvPr>
            <p:cNvSpPr txBox="1"/>
            <p:nvPr/>
          </p:nvSpPr>
          <p:spPr>
            <a:xfrm>
              <a:off x="7225224" y="2094577"/>
              <a:ext cx="434106" cy="158833"/>
            </a:xfrm>
            <a:prstGeom prst="rect">
              <a:avLst/>
            </a:prstGeom>
            <a:solidFill>
              <a:sysClr val="window" lastClr="FFFFFF"/>
            </a:solid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1" u="none" strike="noStrike" kern="0" cap="none" spc="0" normalizeH="0" baseline="0" noProof="0" dirty="0">
                  <a:ln>
                    <a:noFill/>
                  </a:ln>
                  <a:solidFill>
                    <a:srgbClr val="999999"/>
                  </a:solidFill>
                  <a:effectLst/>
                  <a:uLnTx/>
                  <a:uFillTx/>
                  <a:latin typeface="UniCredit"/>
                  <a:ea typeface="+mn-ea"/>
                  <a:cs typeface="Arial" charset="0"/>
                </a:rPr>
                <a:t>DEPLOY</a:t>
              </a:r>
              <a:endParaRPr kumimoji="0" lang="en-US" sz="1400" b="1" i="1" u="none" strike="noStrike" kern="0" cap="none" spc="0" normalizeH="0" baseline="0" noProof="0" dirty="0">
                <a:ln>
                  <a:noFill/>
                </a:ln>
                <a:solidFill>
                  <a:srgbClr val="999999"/>
                </a:solidFill>
                <a:effectLst/>
                <a:uLnTx/>
                <a:uFillTx/>
                <a:latin typeface="UniCredit"/>
                <a:ea typeface="+mn-ea"/>
                <a:cs typeface="Arial" charset="0"/>
              </a:endParaRPr>
            </a:p>
          </p:txBody>
        </p:sp>
      </p:grpSp>
      <p:pic>
        <p:nvPicPr>
          <p:cNvPr id="13" name="Immagine 68">
            <a:extLst>
              <a:ext uri="{FF2B5EF4-FFF2-40B4-BE49-F238E27FC236}">
                <a16:creationId xmlns:a16="http://schemas.microsoft.com/office/drawing/2014/main" id="{0141B9BC-946F-47F8-B222-7B5FB3E42FAB}"/>
              </a:ext>
            </a:extLst>
          </p:cNvPr>
          <p:cNvPicPr>
            <a:picLocks noChangeAspect="1"/>
          </p:cNvPicPr>
          <p:nvPr/>
        </p:nvPicPr>
        <p:blipFill>
          <a:blip r:embed="rId18"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4988808" y="937660"/>
            <a:ext cx="527698" cy="316419"/>
          </a:xfrm>
          <a:prstGeom prst="rect">
            <a:avLst/>
          </a:prstGeom>
        </p:spPr>
      </p:pic>
      <p:pic>
        <p:nvPicPr>
          <p:cNvPr id="14" name="Immagine 90">
            <a:extLst>
              <a:ext uri="{FF2B5EF4-FFF2-40B4-BE49-F238E27FC236}">
                <a16:creationId xmlns:a16="http://schemas.microsoft.com/office/drawing/2014/main" id="{1F6956C0-6AD7-42B3-8A6D-229457FA84E4}"/>
              </a:ext>
            </a:extLst>
          </p:cNvPr>
          <p:cNvPicPr>
            <a:picLocks noChangeAspect="1"/>
          </p:cNvPicPr>
          <p:nvPr/>
        </p:nvPicPr>
        <p:blipFill>
          <a:blip r:embed="rId19"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6322667" y="2477700"/>
            <a:ext cx="622008" cy="197186"/>
          </a:xfrm>
          <a:prstGeom prst="rect">
            <a:avLst/>
          </a:prstGeom>
        </p:spPr>
      </p:pic>
      <p:pic>
        <p:nvPicPr>
          <p:cNvPr id="15" name="Immagine 92">
            <a:extLst>
              <a:ext uri="{FF2B5EF4-FFF2-40B4-BE49-F238E27FC236}">
                <a16:creationId xmlns:a16="http://schemas.microsoft.com/office/drawing/2014/main" id="{5A757FDC-EB77-47F4-9B34-CA7FB43E3E65}"/>
              </a:ext>
            </a:extLst>
          </p:cNvPr>
          <p:cNvPicPr>
            <a:picLocks noChangeAspect="1"/>
          </p:cNvPicPr>
          <p:nvPr/>
        </p:nvPicPr>
        <p:blipFill>
          <a:blip r:embed="rId20"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7222315" y="2370242"/>
            <a:ext cx="576113" cy="376123"/>
          </a:xfrm>
          <a:prstGeom prst="rect">
            <a:avLst/>
          </a:prstGeom>
        </p:spPr>
      </p:pic>
      <p:pic>
        <p:nvPicPr>
          <p:cNvPr id="17" name="Immagine 124">
            <a:extLst>
              <a:ext uri="{FF2B5EF4-FFF2-40B4-BE49-F238E27FC236}">
                <a16:creationId xmlns:a16="http://schemas.microsoft.com/office/drawing/2014/main" id="{0D3D192C-F36A-401A-BDC0-CD9B1DF67085}"/>
              </a:ext>
            </a:extLst>
          </p:cNvPr>
          <p:cNvPicPr>
            <a:picLocks noChangeAspect="1"/>
          </p:cNvPicPr>
          <p:nvPr/>
        </p:nvPicPr>
        <p:blipFill>
          <a:blip r:embed="rId21"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3576062" y="2400916"/>
            <a:ext cx="1045724" cy="402234"/>
          </a:xfrm>
          <a:prstGeom prst="rect">
            <a:avLst/>
          </a:prstGeom>
        </p:spPr>
      </p:pic>
      <p:pic>
        <p:nvPicPr>
          <p:cNvPr id="18" name="Picture 4" descr="JUnit – About">
            <a:extLst>
              <a:ext uri="{FF2B5EF4-FFF2-40B4-BE49-F238E27FC236}">
                <a16:creationId xmlns:a16="http://schemas.microsoft.com/office/drawing/2014/main" id="{43D69F85-738D-4488-A255-E84FECD44BE3}"/>
              </a:ext>
            </a:extLst>
          </p:cNvPr>
          <p:cNvPicPr>
            <a:picLocks noChangeAspect="1" noChangeArrowheads="1"/>
          </p:cNvPicPr>
          <p:nvPr/>
        </p:nvPicPr>
        <p:blipFill>
          <a:blip r:embed="rId22" cstate="email">
            <a:duotone>
              <a:schemeClr val="bg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3006688" y="2496035"/>
            <a:ext cx="493019" cy="155210"/>
          </a:xfrm>
          <a:prstGeom prst="rect">
            <a:avLst/>
          </a:prstGeom>
          <a:noFill/>
          <a:extLst>
            <a:ext uri="{909E8E84-426E-40DD-AFC4-6F175D3DCCD1}">
              <a14:hiddenFill xmlns:a14="http://schemas.microsoft.com/office/drawing/2010/main">
                <a:solidFill>
                  <a:srgbClr val="FFFFFF"/>
                </a:solidFill>
              </a14:hiddenFill>
            </a:ext>
          </a:extLst>
        </p:spPr>
      </p:pic>
      <p:grpSp>
        <p:nvGrpSpPr>
          <p:cNvPr id="19" name="Gruppo 12">
            <a:extLst>
              <a:ext uri="{FF2B5EF4-FFF2-40B4-BE49-F238E27FC236}">
                <a16:creationId xmlns:a16="http://schemas.microsoft.com/office/drawing/2014/main" id="{F3DC3895-2715-40DE-8A2B-A4D3871C6BC2}"/>
              </a:ext>
            </a:extLst>
          </p:cNvPr>
          <p:cNvGrpSpPr/>
          <p:nvPr/>
        </p:nvGrpSpPr>
        <p:grpSpPr>
          <a:xfrm>
            <a:off x="4708823" y="2238895"/>
            <a:ext cx="547002" cy="457094"/>
            <a:chOff x="8284888" y="2480464"/>
            <a:chExt cx="569212" cy="461665"/>
          </a:xfrm>
        </p:grpSpPr>
        <p:pic>
          <p:nvPicPr>
            <p:cNvPr id="23" name="Immagine 40">
              <a:extLst>
                <a:ext uri="{FF2B5EF4-FFF2-40B4-BE49-F238E27FC236}">
                  <a16:creationId xmlns:a16="http://schemas.microsoft.com/office/drawing/2014/main" id="{8C31A6CE-D9F6-4E08-9C3F-2EAD7378E351}"/>
                </a:ext>
              </a:extLst>
            </p:cNvPr>
            <p:cNvPicPr>
              <a:picLocks noChangeAspect="1"/>
            </p:cNvPicPr>
            <p:nvPr/>
          </p:nvPicPr>
          <p:blipFill>
            <a:blip r:embed="rId23" cstate="email">
              <a:extLst>
                <a:ext uri="{28A0092B-C50C-407E-A947-70E740481C1C}">
                  <a14:useLocalDpi xmlns:a14="http://schemas.microsoft.com/office/drawing/2010/main"/>
                </a:ext>
              </a:extLst>
            </a:blip>
            <a:stretch>
              <a:fillRect/>
            </a:stretch>
          </p:blipFill>
          <p:spPr>
            <a:xfrm>
              <a:off x="8284888" y="2711297"/>
              <a:ext cx="490862" cy="197995"/>
            </a:xfrm>
            <a:prstGeom prst="rect">
              <a:avLst/>
            </a:prstGeom>
            <a:solidFill>
              <a:sysClr val="window" lastClr="FFFFFF"/>
            </a:solidFill>
          </p:spPr>
        </p:pic>
        <p:sp>
          <p:nvSpPr>
            <p:cNvPr id="24" name="CasellaDiTesto 81">
              <a:extLst>
                <a:ext uri="{FF2B5EF4-FFF2-40B4-BE49-F238E27FC236}">
                  <a16:creationId xmlns:a16="http://schemas.microsoft.com/office/drawing/2014/main" id="{6B613A88-89B7-47B0-8A52-A599BD41CADB}"/>
                </a:ext>
              </a:extLst>
            </p:cNvPr>
            <p:cNvSpPr txBox="1"/>
            <p:nvPr/>
          </p:nvSpPr>
          <p:spPr>
            <a:xfrm>
              <a:off x="8669369" y="2480464"/>
              <a:ext cx="184731"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dirty="0">
                <a:ln>
                  <a:noFill/>
                </a:ln>
                <a:solidFill>
                  <a:srgbClr val="999999"/>
                </a:solidFill>
                <a:effectLst/>
                <a:uLnTx/>
                <a:uFillTx/>
                <a:latin typeface="UniCredit"/>
                <a:ea typeface="+mn-ea"/>
                <a:cs typeface="Arial" charset="0"/>
              </a:endParaRPr>
            </a:p>
          </p:txBody>
        </p:sp>
      </p:grpSp>
      <p:pic>
        <p:nvPicPr>
          <p:cNvPr id="20" name="Graphic 19">
            <a:extLst>
              <a:ext uri="{FF2B5EF4-FFF2-40B4-BE49-F238E27FC236}">
                <a16:creationId xmlns:a16="http://schemas.microsoft.com/office/drawing/2014/main" id="{F78FA946-A515-477A-9B6D-1F2533606B92}"/>
              </a:ext>
            </a:extLst>
          </p:cNvPr>
          <p:cNvPicPr>
            <a:picLocks noChangeAspect="1"/>
          </p:cNvPicPr>
          <p:nvPr/>
        </p:nvPicPr>
        <p:blipFill>
          <a:blip r:embed="rId24" cstate="email">
            <a:duotone>
              <a:schemeClr val="bg2">
                <a:shade val="45000"/>
                <a:satMod val="135000"/>
              </a:schemeClr>
              <a:prstClr val="white"/>
            </a:duotone>
            <a:extLst>
              <a:ext uri="{28A0092B-C50C-407E-A947-70E740481C1C}">
                <a14:useLocalDpi xmlns:a14="http://schemas.microsoft.com/office/drawing/2010/main"/>
              </a:ext>
              <a:ext uri="{96DAC541-7B7A-43D3-8B79-37D633B846F1}">
                <asvg:svgBlip xmlns:asvg="http://schemas.microsoft.com/office/drawing/2016/SVG/main" r:embed="rId25"/>
              </a:ext>
            </a:extLst>
          </a:blip>
          <a:stretch>
            <a:fillRect/>
          </a:stretch>
        </p:blipFill>
        <p:spPr>
          <a:xfrm>
            <a:off x="502979" y="2794878"/>
            <a:ext cx="527698" cy="281008"/>
          </a:xfrm>
          <a:prstGeom prst="rect">
            <a:avLst/>
          </a:prstGeom>
        </p:spPr>
      </p:pic>
      <p:pic>
        <p:nvPicPr>
          <p:cNvPr id="21" name="Picture 6" descr="Jira - Logo">
            <a:extLst>
              <a:ext uri="{FF2B5EF4-FFF2-40B4-BE49-F238E27FC236}">
                <a16:creationId xmlns:a16="http://schemas.microsoft.com/office/drawing/2014/main" id="{46421F2C-80A9-4993-A330-F72A33680620}"/>
              </a:ext>
            </a:extLst>
          </p:cNvPr>
          <p:cNvPicPr>
            <a:picLocks noChangeAspect="1" noChangeArrowheads="1"/>
          </p:cNvPicPr>
          <p:nvPr/>
        </p:nvPicPr>
        <p:blipFill>
          <a:blip r:embed="rId26" cstate="email">
            <a:duotone>
              <a:schemeClr val="bg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473623" y="2466704"/>
            <a:ext cx="475044" cy="212178"/>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6">
            <a:extLst>
              <a:ext uri="{FF2B5EF4-FFF2-40B4-BE49-F238E27FC236}">
                <a16:creationId xmlns:a16="http://schemas.microsoft.com/office/drawing/2014/main" id="{8E43D0E3-532C-4C39-99C9-20721793742D}"/>
              </a:ext>
            </a:extLst>
          </p:cNvPr>
          <p:cNvPicPr>
            <a:picLocks noChangeAspect="1"/>
          </p:cNvPicPr>
          <p:nvPr/>
        </p:nvPicPr>
        <p:blipFill>
          <a:blip r:embed="rId27"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3117583" y="3230769"/>
            <a:ext cx="271228" cy="291643"/>
          </a:xfrm>
          <a:prstGeom prst="rect">
            <a:avLst/>
          </a:prstGeom>
        </p:spPr>
      </p:pic>
      <p:grpSp>
        <p:nvGrpSpPr>
          <p:cNvPr id="30" name="Gruppo 57">
            <a:extLst>
              <a:ext uri="{FF2B5EF4-FFF2-40B4-BE49-F238E27FC236}">
                <a16:creationId xmlns:a16="http://schemas.microsoft.com/office/drawing/2014/main" id="{DE5DFB16-D2CA-496C-BD55-F2D48342B748}"/>
              </a:ext>
            </a:extLst>
          </p:cNvPr>
          <p:cNvGrpSpPr/>
          <p:nvPr/>
        </p:nvGrpSpPr>
        <p:grpSpPr>
          <a:xfrm>
            <a:off x="8076068" y="2412332"/>
            <a:ext cx="529106" cy="366887"/>
            <a:chOff x="6946025" y="2094577"/>
            <a:chExt cx="723806" cy="478077"/>
          </a:xfrm>
        </p:grpSpPr>
        <p:pic>
          <p:nvPicPr>
            <p:cNvPr id="31" name="Grafik 143">
              <a:extLst>
                <a:ext uri="{FF2B5EF4-FFF2-40B4-BE49-F238E27FC236}">
                  <a16:creationId xmlns:a16="http://schemas.microsoft.com/office/drawing/2014/main" id="{C74DA0A2-E42C-419D-A1E6-613AA6E5A8E6}"/>
                </a:ext>
              </a:extLst>
            </p:cNvPr>
            <p:cNvPicPr>
              <a:picLocks noChangeAspect="1"/>
            </p:cNvPicPr>
            <p:nvPr/>
          </p:nvPicPr>
          <p:blipFill>
            <a:blip r:embed="rId17"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6946025" y="2122512"/>
              <a:ext cx="723806" cy="450142"/>
            </a:xfrm>
            <a:prstGeom prst="rect">
              <a:avLst/>
            </a:prstGeom>
          </p:spPr>
        </p:pic>
        <p:sp>
          <p:nvSpPr>
            <p:cNvPr id="32" name="CasellaDiTesto 59">
              <a:extLst>
                <a:ext uri="{FF2B5EF4-FFF2-40B4-BE49-F238E27FC236}">
                  <a16:creationId xmlns:a16="http://schemas.microsoft.com/office/drawing/2014/main" id="{C6BE75B0-EEDD-42DA-8834-701850B9CB36}"/>
                </a:ext>
              </a:extLst>
            </p:cNvPr>
            <p:cNvSpPr txBox="1"/>
            <p:nvPr/>
          </p:nvSpPr>
          <p:spPr>
            <a:xfrm>
              <a:off x="7225224" y="2094577"/>
              <a:ext cx="434106" cy="158833"/>
            </a:xfrm>
            <a:prstGeom prst="rect">
              <a:avLst/>
            </a:prstGeom>
            <a:solidFill>
              <a:sysClr val="window" lastClr="FFFFFF"/>
            </a:solid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1" u="none" strike="noStrike" kern="0" cap="none" spc="0" normalizeH="0" baseline="0" noProof="0" dirty="0">
                  <a:ln>
                    <a:noFill/>
                  </a:ln>
                  <a:solidFill>
                    <a:srgbClr val="999999"/>
                  </a:solidFill>
                  <a:effectLst/>
                  <a:uLnTx/>
                  <a:uFillTx/>
                  <a:latin typeface="UniCredit"/>
                  <a:ea typeface="+mn-ea"/>
                  <a:cs typeface="Arial" charset="0"/>
                </a:rPr>
                <a:t>DEPLOY</a:t>
              </a:r>
              <a:endParaRPr kumimoji="0" lang="en-US" sz="1400" b="1" i="1" u="none" strike="noStrike" kern="0" cap="none" spc="0" normalizeH="0" baseline="0" noProof="0" dirty="0">
                <a:ln>
                  <a:noFill/>
                </a:ln>
                <a:solidFill>
                  <a:srgbClr val="999999"/>
                </a:solidFill>
                <a:effectLst/>
                <a:uLnTx/>
                <a:uFillTx/>
                <a:latin typeface="UniCredit"/>
                <a:ea typeface="+mn-ea"/>
                <a:cs typeface="Arial" charset="0"/>
              </a:endParaRPr>
            </a:p>
          </p:txBody>
        </p:sp>
      </p:grpSp>
      <p:pic>
        <p:nvPicPr>
          <p:cNvPr id="33" name="Picture 28" descr="WireMock for Java Developers | Udemy">
            <a:extLst>
              <a:ext uri="{FF2B5EF4-FFF2-40B4-BE49-F238E27FC236}">
                <a16:creationId xmlns:a16="http://schemas.microsoft.com/office/drawing/2014/main" id="{24A9A257-90C9-4533-934C-7A70205C7E26}"/>
              </a:ext>
            </a:extLst>
          </p:cNvPr>
          <p:cNvPicPr>
            <a:picLocks noChangeAspect="1" noChangeArrowheads="1"/>
          </p:cNvPicPr>
          <p:nvPr/>
        </p:nvPicPr>
        <p:blipFill>
          <a:blip r:embed="rId28" cstate="print">
            <a:extLst>
              <a:ext uri="{28A0092B-C50C-407E-A947-70E740481C1C}">
                <a14:useLocalDpi xmlns:a14="http://schemas.microsoft.com/office/drawing/2010/main"/>
              </a:ext>
            </a:extLst>
          </a:blip>
          <a:srcRect/>
          <a:stretch>
            <a:fillRect/>
          </a:stretch>
        </p:blipFill>
        <p:spPr bwMode="auto">
          <a:xfrm>
            <a:off x="6806341" y="2862878"/>
            <a:ext cx="518476" cy="291643"/>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20" descr="Liquibase | Database CI/CD &amp; Automation | Database DevOps">
            <a:extLst>
              <a:ext uri="{FF2B5EF4-FFF2-40B4-BE49-F238E27FC236}">
                <a16:creationId xmlns:a16="http://schemas.microsoft.com/office/drawing/2014/main" id="{98ABEE39-4DFB-4526-B645-77E5F85F754A}"/>
              </a:ext>
            </a:extLst>
          </p:cNvPr>
          <p:cNvPicPr>
            <a:picLocks noChangeAspect="1" noChangeArrowheads="1"/>
          </p:cNvPicPr>
          <p:nvPr/>
        </p:nvPicPr>
        <p:blipFill>
          <a:blip r:embed="rId29" cstate="print">
            <a:extLst>
              <a:ext uri="{28A0092B-C50C-407E-A947-70E740481C1C}">
                <a14:useLocalDpi xmlns:a14="http://schemas.microsoft.com/office/drawing/2010/main" val="0"/>
              </a:ext>
            </a:extLst>
          </a:blip>
          <a:srcRect/>
          <a:stretch>
            <a:fillRect/>
          </a:stretch>
        </p:blipFill>
        <p:spPr bwMode="auto">
          <a:xfrm>
            <a:off x="5871008" y="2901167"/>
            <a:ext cx="545935" cy="360000"/>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10" descr="Flyway (software) - Wikipedia">
            <a:extLst>
              <a:ext uri="{FF2B5EF4-FFF2-40B4-BE49-F238E27FC236}">
                <a16:creationId xmlns:a16="http://schemas.microsoft.com/office/drawing/2014/main" id="{C8C05ECE-D2ED-4084-89F3-5DB603C030C3}"/>
              </a:ext>
            </a:extLst>
          </p:cNvPr>
          <p:cNvPicPr>
            <a:picLocks noChangeAspect="1" noChangeArrowheads="1"/>
          </p:cNvPicPr>
          <p:nvPr/>
        </p:nvPicPr>
        <p:blipFill>
          <a:blip r:embed="rId30" cstate="print">
            <a:extLst>
              <a:ext uri="{28A0092B-C50C-407E-A947-70E740481C1C}">
                <a14:useLocalDpi xmlns:a14="http://schemas.microsoft.com/office/drawing/2010/main" val="0"/>
              </a:ext>
            </a:extLst>
          </a:blip>
          <a:srcRect/>
          <a:stretch>
            <a:fillRect/>
          </a:stretch>
        </p:blipFill>
        <p:spPr bwMode="auto">
          <a:xfrm>
            <a:off x="5359763" y="2871407"/>
            <a:ext cx="511245" cy="406440"/>
          </a:xfrm>
          <a:prstGeom prst="rect">
            <a:avLst/>
          </a:prstGeom>
          <a:noFill/>
          <a:extLst>
            <a:ext uri="{909E8E84-426E-40DD-AFC4-6F175D3DCCD1}">
              <a14:hiddenFill xmlns:a14="http://schemas.microsoft.com/office/drawing/2010/main">
                <a:solidFill>
                  <a:srgbClr val="FFFFFF"/>
                </a:solidFill>
              </a14:hiddenFill>
            </a:ext>
          </a:extLst>
        </p:spPr>
      </p:pic>
      <p:pic>
        <p:nvPicPr>
          <p:cNvPr id="37894" name="Picture 6" descr="Branding Guidelines (Draft WIP) | OWASP">
            <a:extLst>
              <a:ext uri="{FF2B5EF4-FFF2-40B4-BE49-F238E27FC236}">
                <a16:creationId xmlns:a16="http://schemas.microsoft.com/office/drawing/2014/main" id="{ECA8E031-C4DE-49C3-98F8-336E375E2F06}"/>
              </a:ext>
            </a:extLst>
          </p:cNvPr>
          <p:cNvPicPr>
            <a:picLocks noChangeAspect="1" noChangeArrowheads="1"/>
          </p:cNvPicPr>
          <p:nvPr/>
        </p:nvPicPr>
        <p:blipFill>
          <a:blip r:embed="rId31"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710231" y="2855669"/>
            <a:ext cx="725763" cy="252505"/>
          </a:xfrm>
          <a:prstGeom prst="rect">
            <a:avLst/>
          </a:prstGeom>
          <a:noFill/>
          <a:extLst>
            <a:ext uri="{909E8E84-426E-40DD-AFC4-6F175D3DCCD1}">
              <a14:hiddenFill xmlns:a14="http://schemas.microsoft.com/office/drawing/2010/main">
                <a:solidFill>
                  <a:srgbClr val="FFFFFF"/>
                </a:solidFill>
              </a14:hiddenFill>
            </a:ext>
          </a:extLst>
        </p:spPr>
      </p:pic>
      <p:pic>
        <p:nvPicPr>
          <p:cNvPr id="37896" name="Picture 8">
            <a:extLst>
              <a:ext uri="{FF2B5EF4-FFF2-40B4-BE49-F238E27FC236}">
                <a16:creationId xmlns:a16="http://schemas.microsoft.com/office/drawing/2014/main" id="{B7DD6AF4-1615-4535-807F-237487883906}"/>
              </a:ext>
            </a:extLst>
          </p:cNvPr>
          <p:cNvPicPr>
            <a:picLocks noChangeAspect="1" noChangeArrowheads="1"/>
          </p:cNvPicPr>
          <p:nvPr/>
        </p:nvPicPr>
        <p:blipFill>
          <a:blip r:embed="rId32"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133631" y="2494295"/>
            <a:ext cx="661499" cy="167442"/>
          </a:xfrm>
          <a:prstGeom prst="rect">
            <a:avLst/>
          </a:prstGeom>
          <a:noFill/>
          <a:extLst>
            <a:ext uri="{909E8E84-426E-40DD-AFC4-6F175D3DCCD1}">
              <a14:hiddenFill xmlns:a14="http://schemas.microsoft.com/office/drawing/2010/main">
                <a:solidFill>
                  <a:srgbClr val="FFFFFF"/>
                </a:solidFill>
              </a14:hiddenFill>
            </a:ext>
          </a:extLst>
        </p:spPr>
      </p:pic>
      <p:pic>
        <p:nvPicPr>
          <p:cNvPr id="37898" name="Picture 10" descr="Press Kit | Atlassian">
            <a:extLst>
              <a:ext uri="{FF2B5EF4-FFF2-40B4-BE49-F238E27FC236}">
                <a16:creationId xmlns:a16="http://schemas.microsoft.com/office/drawing/2014/main" id="{9ECAA01F-D03E-4060-B5BB-87503731390E}"/>
              </a:ext>
            </a:extLst>
          </p:cNvPr>
          <p:cNvPicPr>
            <a:picLocks noChangeAspect="1" noChangeArrowheads="1"/>
          </p:cNvPicPr>
          <p:nvPr/>
        </p:nvPicPr>
        <p:blipFill>
          <a:blip r:embed="rId33"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148118" y="2517890"/>
            <a:ext cx="810336" cy="116805"/>
          </a:xfrm>
          <a:prstGeom prst="rect">
            <a:avLst/>
          </a:prstGeom>
          <a:noFill/>
          <a:extLst>
            <a:ext uri="{909E8E84-426E-40DD-AFC4-6F175D3DCCD1}">
              <a14:hiddenFill xmlns:a14="http://schemas.microsoft.com/office/drawing/2010/main">
                <a:solidFill>
                  <a:srgbClr val="FFFFFF"/>
                </a:solidFill>
              </a14:hiddenFill>
            </a:ext>
          </a:extLst>
        </p:spPr>
      </p:pic>
      <p:pic>
        <p:nvPicPr>
          <p:cNvPr id="37903" name="Picture 15" descr="How to install Node.js 7 and NPM 4 on CentOS 6/7, Debian 8 and Ubuntu 16">
            <a:extLst>
              <a:ext uri="{FF2B5EF4-FFF2-40B4-BE49-F238E27FC236}">
                <a16:creationId xmlns:a16="http://schemas.microsoft.com/office/drawing/2014/main" id="{7873FB91-1337-4A7F-8995-6F82AEF761CD}"/>
              </a:ext>
            </a:extLst>
          </p:cNvPr>
          <p:cNvPicPr>
            <a:picLocks noChangeAspect="1" noChangeArrowheads="1"/>
          </p:cNvPicPr>
          <p:nvPr/>
        </p:nvPicPr>
        <p:blipFill>
          <a:blip r:embed="rId34"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992296" y="2803150"/>
            <a:ext cx="926045" cy="360000"/>
          </a:xfrm>
          <a:prstGeom prst="rect">
            <a:avLst/>
          </a:prstGeom>
          <a:noFill/>
          <a:extLst>
            <a:ext uri="{909E8E84-426E-40DD-AFC4-6F175D3DCCD1}">
              <a14:hiddenFill xmlns:a14="http://schemas.microsoft.com/office/drawing/2010/main">
                <a:solidFill>
                  <a:srgbClr val="FFFFFF"/>
                </a:solidFill>
              </a14:hiddenFill>
            </a:ext>
          </a:extLst>
        </p:spPr>
      </p:pic>
      <p:pic>
        <p:nvPicPr>
          <p:cNvPr id="37905" name="Picture 17" descr="PowerMock (Android). Often, in order to write unit tests… | by Gioacchino  Lonardo | Medium">
            <a:extLst>
              <a:ext uri="{FF2B5EF4-FFF2-40B4-BE49-F238E27FC236}">
                <a16:creationId xmlns:a16="http://schemas.microsoft.com/office/drawing/2014/main" id="{D068A2D2-A3E1-43A2-9A0A-99C002C43726}"/>
              </a:ext>
            </a:extLst>
          </p:cNvPr>
          <p:cNvPicPr>
            <a:picLocks noChangeAspect="1" noChangeArrowheads="1"/>
          </p:cNvPicPr>
          <p:nvPr/>
        </p:nvPicPr>
        <p:blipFill>
          <a:blip r:embed="rId35"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024516" y="2835505"/>
            <a:ext cx="493019" cy="2473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283118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a:extLst>
              <a:ext uri="{FF2B5EF4-FFF2-40B4-BE49-F238E27FC236}">
                <a16:creationId xmlns:a16="http://schemas.microsoft.com/office/drawing/2014/main" id="{7886FE5C-3D72-4187-B855-D723942F4E6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9343" name="think-cell Slide" r:id="rId5" imgW="360" imgH="360" progId="TCLayout.ActiveDocument.1">
                  <p:embed/>
                </p:oleObj>
              </mc:Choice>
              <mc:Fallback>
                <p:oleObj name="think-cell Slide" r:id="rId5" imgW="360" imgH="360" progId="TCLayout.ActiveDocument.1">
                  <p:embed/>
                  <p:pic>
                    <p:nvPicPr>
                      <p:cNvPr id="20" name="Object 19" hidden="1">
                        <a:extLst>
                          <a:ext uri="{FF2B5EF4-FFF2-40B4-BE49-F238E27FC236}">
                            <a16:creationId xmlns:a16="http://schemas.microsoft.com/office/drawing/2014/main" id="{7886FE5C-3D72-4187-B855-D723942F4E6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9" name="Rectangle 18" hidden="1">
            <a:extLst>
              <a:ext uri="{FF2B5EF4-FFF2-40B4-BE49-F238E27FC236}">
                <a16:creationId xmlns:a16="http://schemas.microsoft.com/office/drawing/2014/main" id="{EE5683B0-C2E1-4169-9D3A-71684103390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2400" b="1" i="0" u="none" strike="noStrike" kern="1200" cap="none" spc="0" normalizeH="0" baseline="0" noProof="0" dirty="0">
              <a:ln>
                <a:noFill/>
              </a:ln>
              <a:solidFill>
                <a:prstClr val="white"/>
              </a:solidFill>
              <a:effectLst/>
              <a:uLnTx/>
              <a:uFillTx/>
              <a:latin typeface="UniCredit" panose="02000506040000020004" pitchFamily="2" charset="0"/>
              <a:ea typeface="+mn-ea"/>
              <a:cs typeface="Arial" panose="020B0604020202020204" pitchFamily="34" charset="0"/>
              <a:sym typeface="UniCredit" panose="02000506040000020004" pitchFamily="2" charset="0"/>
            </a:endParaRPr>
          </a:p>
        </p:txBody>
      </p:sp>
      <p:sp>
        <p:nvSpPr>
          <p:cNvPr id="4" name="Slide Number Placeholder 3">
            <a:extLst>
              <a:ext uri="{FF2B5EF4-FFF2-40B4-BE49-F238E27FC236}">
                <a16:creationId xmlns:a16="http://schemas.microsoft.com/office/drawing/2014/main" id="{74E46723-6E12-425A-B61F-5D209D7688AE}"/>
              </a:ext>
            </a:extLst>
          </p:cNvPr>
          <p:cNvSpPr>
            <a:spLocks noGrp="1"/>
          </p:cNvSpPr>
          <p:nvPr>
            <p:ph type="sldNum" sz="quarter" idx="11"/>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fld id="{1D1043DC-2681-49D5-9D69-158B3FA3398E}" type="slidenum">
              <a:rPr kumimoji="0" lang="en-GB" sz="900" b="0" i="0" u="none" strike="noStrike" kern="1200" cap="none" spc="0" normalizeH="0" baseline="0" noProof="1" smtClean="0">
                <a:ln>
                  <a:noFill/>
                </a:ln>
                <a:solidFill>
                  <a:srgbClr val="00AFD0"/>
                </a:solidFill>
                <a:effectLst/>
                <a:uLnTx/>
                <a:uFillTx/>
                <a:latin typeface="UniCredit"/>
                <a:ea typeface="+mn-ea"/>
                <a:cs typeface="Arial" panose="020B0604020202020204" pitchFamily="34" charset="0"/>
              </a:rPr>
              <a:pPr marL="0" marR="0" lvl="0" indent="0" algn="l" defTabSz="685800" rtl="0" eaLnBrk="1" fontAlgn="auto" latinLnBrk="0" hangingPunct="1">
                <a:lnSpc>
                  <a:spcPct val="100000"/>
                </a:lnSpc>
                <a:spcBef>
                  <a:spcPts val="0"/>
                </a:spcBef>
                <a:spcAft>
                  <a:spcPts val="0"/>
                </a:spcAft>
                <a:buClrTx/>
                <a:buSzTx/>
                <a:buFontTx/>
                <a:buNone/>
                <a:tabLst/>
                <a:defRPr/>
              </a:pPr>
              <a:t>27</a:t>
            </a:fld>
            <a:endParaRPr kumimoji="0" lang="en-GB" sz="900" b="0" i="0" u="none" strike="noStrike" kern="1200" cap="none" spc="0" normalizeH="0" baseline="0" noProof="1">
              <a:ln>
                <a:noFill/>
              </a:ln>
              <a:solidFill>
                <a:srgbClr val="00AFD0"/>
              </a:solidFill>
              <a:effectLst/>
              <a:uLnTx/>
              <a:uFillTx/>
              <a:latin typeface="UniCredit"/>
              <a:ea typeface="+mn-ea"/>
              <a:cs typeface="Arial" panose="020B0604020202020204" pitchFamily="34" charset="0"/>
            </a:endParaRPr>
          </a:p>
        </p:txBody>
      </p:sp>
      <p:sp>
        <p:nvSpPr>
          <p:cNvPr id="7" name="Title 6">
            <a:extLst>
              <a:ext uri="{FF2B5EF4-FFF2-40B4-BE49-F238E27FC236}">
                <a16:creationId xmlns:a16="http://schemas.microsoft.com/office/drawing/2014/main" id="{CD782391-245D-4CCA-A753-91A1482BE715}"/>
              </a:ext>
            </a:extLst>
          </p:cNvPr>
          <p:cNvSpPr>
            <a:spLocks noGrp="1"/>
          </p:cNvSpPr>
          <p:nvPr>
            <p:ph type="title"/>
          </p:nvPr>
        </p:nvSpPr>
        <p:spPr>
          <a:xfrm>
            <a:off x="270000" y="59472"/>
            <a:ext cx="8679600" cy="646697"/>
          </a:xfrm>
        </p:spPr>
        <p:txBody>
          <a:bodyPr/>
          <a:lstStyle/>
          <a:p>
            <a:r>
              <a:rPr lang="en-GB" dirty="0"/>
              <a:t>Database Automation - Versions and Migrations in CI/CD</a:t>
            </a:r>
          </a:p>
        </p:txBody>
      </p:sp>
      <p:pic>
        <p:nvPicPr>
          <p:cNvPr id="12" name="Picture 4" descr="Flyway">
            <a:extLst>
              <a:ext uri="{FF2B5EF4-FFF2-40B4-BE49-F238E27FC236}">
                <a16:creationId xmlns:a16="http://schemas.microsoft.com/office/drawing/2014/main" id="{58799DA7-91CD-45F1-A7CE-7225C4C697F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318139" y="105620"/>
            <a:ext cx="631461" cy="503270"/>
          </a:xfrm>
          <a:prstGeom prst="rect">
            <a:avLst/>
          </a:prstGeom>
          <a:noFill/>
          <a:extLst>
            <a:ext uri="{909E8E84-426E-40DD-AFC4-6F175D3DCCD1}">
              <a14:hiddenFill xmlns:a14="http://schemas.microsoft.com/office/drawing/2010/main">
                <a:solidFill>
                  <a:srgbClr val="FFFFFF"/>
                </a:solidFill>
              </a14:hiddenFill>
            </a:ext>
          </a:extLst>
        </p:spPr>
      </p:pic>
      <p:sp>
        <p:nvSpPr>
          <p:cNvPr id="14" name="AutoShape 8" descr="Site Logo">
            <a:extLst>
              <a:ext uri="{FF2B5EF4-FFF2-40B4-BE49-F238E27FC236}">
                <a16:creationId xmlns:a16="http://schemas.microsoft.com/office/drawing/2014/main" id="{238EDAF1-0B2B-4E5B-9800-AE96563AC31A}"/>
              </a:ext>
            </a:extLst>
          </p:cNvPr>
          <p:cNvSpPr>
            <a:spLocks noChangeAspect="1" noChangeArrowheads="1"/>
          </p:cNvSpPr>
          <p:nvPr/>
        </p:nvSpPr>
        <p:spPr bwMode="auto">
          <a:xfrm>
            <a:off x="10828650" y="6238765"/>
            <a:ext cx="209936" cy="20993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013" b="0" i="0" u="none" strike="noStrike" kern="1200" cap="none" spc="0" normalizeH="0" baseline="0" noProof="0">
              <a:ln>
                <a:noFill/>
              </a:ln>
              <a:solidFill>
                <a:prstClr val="black"/>
              </a:solidFill>
              <a:effectLst/>
              <a:uLnTx/>
              <a:uFillTx/>
              <a:latin typeface="UniCredit"/>
              <a:ea typeface="+mn-ea"/>
              <a:cs typeface="+mn-cs"/>
            </a:endParaRPr>
          </a:p>
        </p:txBody>
      </p:sp>
      <p:pic>
        <p:nvPicPr>
          <p:cNvPr id="2068" name="Picture 20" descr="Liquibase | Database CI/CD &amp; Automation | Database DevOps">
            <a:extLst>
              <a:ext uri="{FF2B5EF4-FFF2-40B4-BE49-F238E27FC236}">
                <a16:creationId xmlns:a16="http://schemas.microsoft.com/office/drawing/2014/main" id="{31174F3C-9F5F-4BE4-9407-1F58F24F930C}"/>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532444" y="105620"/>
            <a:ext cx="763202" cy="503270"/>
          </a:xfrm>
          <a:prstGeom prst="rect">
            <a:avLst/>
          </a:prstGeom>
          <a:noFill/>
          <a:extLst>
            <a:ext uri="{909E8E84-426E-40DD-AFC4-6F175D3DCCD1}">
              <a14:hiddenFill xmlns:a14="http://schemas.microsoft.com/office/drawing/2010/main">
                <a:solidFill>
                  <a:srgbClr val="FFFFFF"/>
                </a:solidFill>
              </a14:hiddenFill>
            </a:ext>
          </a:extLst>
        </p:spPr>
      </p:pic>
      <p:sp>
        <p:nvSpPr>
          <p:cNvPr id="21" name="Rectangle 20"/>
          <p:cNvSpPr/>
          <p:nvPr/>
        </p:nvSpPr>
        <p:spPr bwMode="gray">
          <a:xfrm flipV="1">
            <a:off x="4500669" y="780435"/>
            <a:ext cx="4297550" cy="1832700"/>
          </a:xfrm>
          <a:prstGeom prst="rect">
            <a:avLst/>
          </a:prstGeom>
          <a:gradFill>
            <a:gsLst>
              <a:gs pos="43000">
                <a:srgbClr val="FFFFFF"/>
              </a:gs>
              <a:gs pos="0">
                <a:srgbClr val="D0E9F7"/>
              </a:gs>
            </a:gsLst>
            <a:lin ang="3600000" scaled="0"/>
          </a:gradFill>
          <a:ln w="19050" algn="ctr">
            <a:noFill/>
            <a:miter lim="800000"/>
            <a:headEnd/>
            <a:tailEnd/>
          </a:ln>
        </p:spPr>
        <p:txBody>
          <a:bodyPr wrap="square" lIns="118533" tIns="118533" rIns="118533" bIns="118533" rtlCol="0" anchor="ctr"/>
          <a:lstStyle/>
          <a:p>
            <a:pPr marL="0" marR="0" lvl="0" indent="0" algn="ctr" defTabSz="6858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gradFill>
                <a:gsLst>
                  <a:gs pos="43000">
                    <a:srgbClr val="FFFFFF"/>
                  </a:gs>
                  <a:gs pos="15000">
                    <a:srgbClr val="62B5E5"/>
                  </a:gs>
                </a:gsLst>
                <a:lin ang="4200000" scaled="0"/>
              </a:gradFill>
              <a:effectLst/>
              <a:uLnTx/>
              <a:uFillTx/>
              <a:latin typeface="UniCredit"/>
              <a:ea typeface="+mn-ea"/>
              <a:cs typeface="+mn-cs"/>
            </a:endParaRPr>
          </a:p>
        </p:txBody>
      </p:sp>
      <p:sp>
        <p:nvSpPr>
          <p:cNvPr id="24" name="Rectangle 23"/>
          <p:cNvSpPr/>
          <p:nvPr/>
        </p:nvSpPr>
        <p:spPr bwMode="gray">
          <a:xfrm flipH="1" flipV="1">
            <a:off x="345781" y="780434"/>
            <a:ext cx="4088180" cy="1832700"/>
          </a:xfrm>
          <a:prstGeom prst="rect">
            <a:avLst/>
          </a:prstGeom>
          <a:gradFill>
            <a:gsLst>
              <a:gs pos="45000">
                <a:srgbClr val="FFFFFF"/>
              </a:gs>
              <a:gs pos="0">
                <a:srgbClr val="D2EAF8"/>
              </a:gs>
            </a:gsLst>
            <a:lin ang="3600000" scaled="0"/>
          </a:gradFill>
          <a:ln w="19050" algn="ctr">
            <a:noFill/>
            <a:miter lim="800000"/>
            <a:headEnd/>
            <a:tailEnd/>
          </a:ln>
        </p:spPr>
        <p:txBody>
          <a:bodyPr wrap="square" lIns="118533" tIns="118533" rIns="118533" bIns="118533" rtlCol="0" anchor="ctr"/>
          <a:lstStyle/>
          <a:p>
            <a:pPr marL="0" marR="0" lvl="0" indent="0" algn="ctr" defTabSz="6858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gradFill>
                <a:gsLst>
                  <a:gs pos="43000">
                    <a:srgbClr val="FFFFFF"/>
                  </a:gs>
                  <a:gs pos="15000">
                    <a:srgbClr val="62B5E5"/>
                  </a:gs>
                </a:gsLst>
                <a:lin ang="4200000" scaled="0"/>
              </a:gradFill>
              <a:effectLst/>
              <a:uLnTx/>
              <a:uFillTx/>
              <a:latin typeface="UniCredit"/>
              <a:ea typeface="+mn-ea"/>
              <a:cs typeface="+mn-cs"/>
            </a:endParaRPr>
          </a:p>
        </p:txBody>
      </p:sp>
      <p:sp>
        <p:nvSpPr>
          <p:cNvPr id="28" name="Rectangle 27"/>
          <p:cNvSpPr/>
          <p:nvPr/>
        </p:nvSpPr>
        <p:spPr bwMode="gray">
          <a:xfrm flipH="1">
            <a:off x="345781" y="2682058"/>
            <a:ext cx="4088180" cy="1832700"/>
          </a:xfrm>
          <a:prstGeom prst="rect">
            <a:avLst/>
          </a:prstGeom>
          <a:gradFill>
            <a:gsLst>
              <a:gs pos="0">
                <a:srgbClr val="ABD7F1"/>
              </a:gs>
              <a:gs pos="43000">
                <a:srgbClr val="FFFFFF"/>
              </a:gs>
              <a:gs pos="0">
                <a:srgbClr val="D0E9F7"/>
              </a:gs>
            </a:gsLst>
            <a:lin ang="3600000" scaled="0"/>
          </a:gradFill>
          <a:ln w="19050" algn="ctr">
            <a:noFill/>
            <a:miter lim="800000"/>
            <a:headEnd/>
            <a:tailEnd/>
          </a:ln>
        </p:spPr>
        <p:txBody>
          <a:bodyPr wrap="square" lIns="118533" tIns="118533" rIns="118533" bIns="118533" rtlCol="0" anchor="ctr"/>
          <a:lstStyle/>
          <a:p>
            <a:pPr marL="0" marR="0" lvl="0" indent="0" algn="ctr" defTabSz="6858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gradFill>
                <a:gsLst>
                  <a:gs pos="43000">
                    <a:srgbClr val="FFFFFF"/>
                  </a:gs>
                  <a:gs pos="15000">
                    <a:srgbClr val="62B5E5"/>
                  </a:gs>
                </a:gsLst>
                <a:lin ang="4200000" scaled="0"/>
              </a:gradFill>
              <a:effectLst/>
              <a:uLnTx/>
              <a:uFillTx/>
              <a:latin typeface="UniCredit"/>
              <a:ea typeface="+mn-ea"/>
              <a:cs typeface="+mn-cs"/>
            </a:endParaRPr>
          </a:p>
        </p:txBody>
      </p:sp>
      <p:sp>
        <p:nvSpPr>
          <p:cNvPr id="33" name="Rectangle 32"/>
          <p:cNvSpPr/>
          <p:nvPr/>
        </p:nvSpPr>
        <p:spPr bwMode="gray">
          <a:xfrm>
            <a:off x="4500670" y="2682058"/>
            <a:ext cx="4297071" cy="1833413"/>
          </a:xfrm>
          <a:prstGeom prst="rect">
            <a:avLst/>
          </a:prstGeom>
          <a:gradFill>
            <a:gsLst>
              <a:gs pos="43000">
                <a:srgbClr val="FFFFFF"/>
              </a:gs>
              <a:gs pos="0">
                <a:srgbClr val="BDE0F4"/>
              </a:gs>
            </a:gsLst>
            <a:lin ang="3600000" scaled="0"/>
          </a:gradFill>
          <a:ln w="19050" algn="ctr">
            <a:noFill/>
            <a:miter lim="800000"/>
            <a:headEnd/>
            <a:tailEnd/>
          </a:ln>
        </p:spPr>
        <p:txBody>
          <a:bodyPr wrap="square" lIns="118533" tIns="118533" rIns="118533" bIns="118533" rtlCol="0" anchor="ctr"/>
          <a:lstStyle/>
          <a:p>
            <a:pPr marL="0" marR="0" lvl="0" indent="0" algn="ctr" defTabSz="6858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gradFill>
                <a:gsLst>
                  <a:gs pos="43000">
                    <a:srgbClr val="FFFFFF"/>
                  </a:gs>
                  <a:gs pos="15000">
                    <a:srgbClr val="62B5E5"/>
                  </a:gs>
                </a:gsLst>
                <a:lin ang="4200000" scaled="0"/>
              </a:gradFill>
              <a:effectLst/>
              <a:uLnTx/>
              <a:uFillTx/>
              <a:latin typeface="UniCredit"/>
              <a:ea typeface="+mn-ea"/>
              <a:cs typeface="+mn-cs"/>
            </a:endParaRPr>
          </a:p>
        </p:txBody>
      </p:sp>
      <p:graphicFrame>
        <p:nvGraphicFramePr>
          <p:cNvPr id="34" name="Chart 33"/>
          <p:cNvGraphicFramePr/>
          <p:nvPr/>
        </p:nvGraphicFramePr>
        <p:xfrm>
          <a:off x="3662903" y="1758954"/>
          <a:ext cx="1609583" cy="1776027"/>
        </p:xfrm>
        <a:graphic>
          <a:graphicData uri="http://schemas.openxmlformats.org/drawingml/2006/chart">
            <c:chart xmlns:c="http://schemas.openxmlformats.org/drawingml/2006/chart" xmlns:r="http://schemas.openxmlformats.org/officeDocument/2006/relationships" r:id="rId9"/>
          </a:graphicData>
        </a:graphic>
      </p:graphicFrame>
      <p:pic>
        <p:nvPicPr>
          <p:cNvPr id="37" name="Immagine 8" descr="News circle-01.png"/>
          <p:cNvPicPr preferRelativeResize="0">
            <a:picLocks/>
          </p:cNvPicPr>
          <p:nvPr/>
        </p:nvPicPr>
        <p:blipFill>
          <a:blip r:embed="rId10" cstate="screen">
            <a:extLst>
              <a:ext uri="{28A0092B-C50C-407E-A947-70E740481C1C}">
                <a14:useLocalDpi xmlns:a14="http://schemas.microsoft.com/office/drawing/2010/main"/>
              </a:ext>
            </a:extLst>
          </a:blip>
          <a:stretch>
            <a:fillRect/>
          </a:stretch>
        </p:blipFill>
        <p:spPr>
          <a:xfrm>
            <a:off x="3802202" y="2025150"/>
            <a:ext cx="335298" cy="335297"/>
          </a:xfrm>
          <a:prstGeom prst="ellipse">
            <a:avLst/>
          </a:prstGeom>
          <a:solidFill>
            <a:srgbClr val="00AFD0"/>
          </a:solidFill>
          <a:ln>
            <a:solidFill>
              <a:schemeClr val="bg1"/>
            </a:solidFill>
          </a:ln>
        </p:spPr>
      </p:pic>
      <p:pic>
        <p:nvPicPr>
          <p:cNvPr id="38" name="Immagine 9" descr="Consulting circle-01.png"/>
          <p:cNvPicPr preferRelativeResize="0">
            <a:picLocks/>
          </p:cNvPicPr>
          <p:nvPr/>
        </p:nvPicPr>
        <p:blipFill>
          <a:blip r:embed="rId11" cstate="print">
            <a:extLst>
              <a:ext uri="{28A0092B-C50C-407E-A947-70E740481C1C}">
                <a14:useLocalDpi xmlns:a14="http://schemas.microsoft.com/office/drawing/2010/main" val="0"/>
              </a:ext>
            </a:extLst>
          </a:blip>
          <a:stretch>
            <a:fillRect/>
          </a:stretch>
        </p:blipFill>
        <p:spPr>
          <a:xfrm>
            <a:off x="4808678" y="2025150"/>
            <a:ext cx="335298" cy="335297"/>
          </a:xfrm>
          <a:prstGeom prst="ellipse">
            <a:avLst/>
          </a:prstGeom>
          <a:solidFill>
            <a:srgbClr val="00AFD0"/>
          </a:solidFill>
          <a:ln>
            <a:solidFill>
              <a:schemeClr val="bg1"/>
            </a:solidFill>
          </a:ln>
        </p:spPr>
      </p:pic>
      <p:sp>
        <p:nvSpPr>
          <p:cNvPr id="39" name="Round Diagonal Corner Rectangle 57"/>
          <p:cNvSpPr/>
          <p:nvPr/>
        </p:nvSpPr>
        <p:spPr>
          <a:xfrm>
            <a:off x="410160" y="906778"/>
            <a:ext cx="3389713" cy="1580013"/>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marL="1350" marR="0" lvl="0" indent="0" algn="l" defTabSz="685800" rtl="0" eaLnBrk="1" fontAlgn="auto" latinLnBrk="0" hangingPunct="1">
              <a:lnSpc>
                <a:spcPct val="120000"/>
              </a:lnSpc>
              <a:spcBef>
                <a:spcPts val="0"/>
              </a:spcBef>
              <a:spcAft>
                <a:spcPts val="600"/>
              </a:spcAft>
              <a:buClr>
                <a:srgbClr val="C00000"/>
              </a:buClr>
              <a:buSzTx/>
              <a:buFontTx/>
              <a:buNone/>
              <a:tabLst/>
              <a:defRPr/>
            </a:pPr>
            <a:r>
              <a:rPr kumimoji="0" lang="en-US" sz="1400" b="1" i="0" u="none" strike="noStrike" kern="1200" cap="none" spc="0" normalizeH="0" baseline="0" noProof="0" dirty="0">
                <a:ln>
                  <a:noFill/>
                </a:ln>
                <a:solidFill>
                  <a:srgbClr val="C00000"/>
                </a:solidFill>
                <a:effectLst/>
                <a:uLnTx/>
                <a:uFillTx/>
                <a:latin typeface="UniCredit"/>
                <a:ea typeface="+mn-ea"/>
                <a:cs typeface="+mn-cs"/>
              </a:rPr>
              <a:t>What</a:t>
            </a:r>
          </a:p>
          <a:p>
            <a:pPr marL="285750" marR="0" lvl="0" indent="-285750" algn="l" defTabSz="685800" rtl="0" eaLnBrk="1" fontAlgn="auto" latinLnBrk="0" hangingPunct="1">
              <a:lnSpc>
                <a:spcPct val="100000"/>
              </a:lnSpc>
              <a:spcBef>
                <a:spcPts val="0"/>
              </a:spcBef>
              <a:spcAft>
                <a:spcPts val="0"/>
              </a:spcAft>
              <a:buClr>
                <a:srgbClr val="00AFD0"/>
              </a:buClr>
              <a:buSzTx/>
              <a:buFont typeface="Wingdings" panose="05000000000000000000" pitchFamily="2" charset="2"/>
              <a:buChar char="§"/>
              <a:tabLst/>
              <a:defRPr/>
            </a:pPr>
            <a:r>
              <a:rPr kumimoji="0" lang="en-GB" sz="1200" b="0" i="0" u="none" strike="noStrike" kern="1200" cap="none" spc="0" normalizeH="0" baseline="0" noProof="0" dirty="0">
                <a:ln>
                  <a:noFill/>
                </a:ln>
                <a:solidFill>
                  <a:prstClr val="black"/>
                </a:solidFill>
                <a:effectLst/>
                <a:uLnTx/>
                <a:uFillTx/>
                <a:latin typeface="UniCredit"/>
                <a:ea typeface="+mn-ea"/>
                <a:cs typeface="+mn-cs"/>
              </a:rPr>
              <a:t>Automatic migrations from pipeline</a:t>
            </a:r>
          </a:p>
          <a:p>
            <a:pPr marL="285750" marR="0" lvl="0" indent="-285750" algn="l" defTabSz="685800" rtl="0" eaLnBrk="1" fontAlgn="auto" latinLnBrk="0" hangingPunct="1">
              <a:lnSpc>
                <a:spcPct val="100000"/>
              </a:lnSpc>
              <a:spcBef>
                <a:spcPts val="0"/>
              </a:spcBef>
              <a:spcAft>
                <a:spcPts val="0"/>
              </a:spcAft>
              <a:buClr>
                <a:srgbClr val="00AFD0"/>
              </a:buClr>
              <a:buSzTx/>
              <a:buFont typeface="Wingdings" panose="05000000000000000000" pitchFamily="2" charset="2"/>
              <a:buChar char="§"/>
              <a:tabLst/>
              <a:defRPr/>
            </a:pPr>
            <a:r>
              <a:rPr kumimoji="0" lang="en-GB" sz="1200" b="0" i="0" u="none" strike="noStrike" kern="1200" cap="none" spc="0" normalizeH="0" baseline="0" noProof="0" dirty="0">
                <a:ln>
                  <a:noFill/>
                </a:ln>
                <a:solidFill>
                  <a:prstClr val="black"/>
                </a:solidFill>
                <a:effectLst/>
                <a:uLnTx/>
                <a:uFillTx/>
                <a:latin typeface="UniCredit"/>
                <a:ea typeface="+mn-ea"/>
                <a:cs typeface="+mn-cs"/>
              </a:rPr>
              <a:t>Recreate DB from scratch</a:t>
            </a:r>
          </a:p>
          <a:p>
            <a:pPr marL="285750" marR="0" lvl="0" indent="-285750" algn="l" defTabSz="685800" rtl="0" eaLnBrk="1" fontAlgn="auto" latinLnBrk="0" hangingPunct="1">
              <a:lnSpc>
                <a:spcPct val="100000"/>
              </a:lnSpc>
              <a:spcBef>
                <a:spcPts val="0"/>
              </a:spcBef>
              <a:spcAft>
                <a:spcPts val="0"/>
              </a:spcAft>
              <a:buClr>
                <a:srgbClr val="00AFD0"/>
              </a:buClr>
              <a:buSzTx/>
              <a:buFont typeface="Wingdings" panose="05000000000000000000" pitchFamily="2" charset="2"/>
              <a:buChar char="§"/>
              <a:tabLst/>
              <a:defRPr/>
            </a:pPr>
            <a:r>
              <a:rPr kumimoji="0" lang="en-GB" sz="1200" b="0" i="0" u="none" strike="noStrike" kern="1200" cap="none" spc="0" normalizeH="0" baseline="0" noProof="0" dirty="0">
                <a:ln>
                  <a:noFill/>
                </a:ln>
                <a:solidFill>
                  <a:prstClr val="black"/>
                </a:solidFill>
                <a:effectLst/>
                <a:uLnTx/>
                <a:uFillTx/>
                <a:latin typeface="UniCredit"/>
                <a:ea typeface="+mn-ea"/>
                <a:cs typeface="+mn-cs"/>
              </a:rPr>
              <a:t>Clear database state -&gt; Versions</a:t>
            </a:r>
          </a:p>
          <a:p>
            <a:pPr marL="285750" marR="0" lvl="0" indent="-285750" algn="l" defTabSz="685800" rtl="0" eaLnBrk="1" fontAlgn="auto" latinLnBrk="0" hangingPunct="1">
              <a:lnSpc>
                <a:spcPct val="100000"/>
              </a:lnSpc>
              <a:spcBef>
                <a:spcPts val="0"/>
              </a:spcBef>
              <a:spcAft>
                <a:spcPts val="0"/>
              </a:spcAft>
              <a:buClr>
                <a:srgbClr val="00AFD0"/>
              </a:buClr>
              <a:buSzTx/>
              <a:buFont typeface="Wingdings" panose="05000000000000000000" pitchFamily="2" charset="2"/>
              <a:buChar char="§"/>
              <a:tabLst/>
              <a:defRPr/>
            </a:pPr>
            <a:r>
              <a:rPr kumimoji="0" lang="en-GB" sz="1200" b="0" i="0" u="none" strike="noStrike" kern="1200" cap="none" spc="0" normalizeH="0" baseline="0" noProof="0" dirty="0">
                <a:ln>
                  <a:noFill/>
                </a:ln>
                <a:solidFill>
                  <a:prstClr val="black"/>
                </a:solidFill>
                <a:effectLst/>
                <a:uLnTx/>
                <a:uFillTx/>
                <a:latin typeface="UniCredit"/>
                <a:ea typeface="+mn-ea"/>
                <a:cs typeface="+mn-cs"/>
              </a:rPr>
              <a:t>Deterministic migration from A to B</a:t>
            </a:r>
          </a:p>
        </p:txBody>
      </p:sp>
      <p:sp>
        <p:nvSpPr>
          <p:cNvPr id="40" name="Round Diagonal Corner Rectangle 57"/>
          <p:cNvSpPr/>
          <p:nvPr/>
        </p:nvSpPr>
        <p:spPr>
          <a:xfrm>
            <a:off x="5298088" y="906779"/>
            <a:ext cx="3499653" cy="1580013"/>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marL="1350" marR="0" lvl="0" indent="0" algn="l" defTabSz="685800" rtl="0" eaLnBrk="1" fontAlgn="auto" latinLnBrk="0" hangingPunct="1">
              <a:lnSpc>
                <a:spcPct val="120000"/>
              </a:lnSpc>
              <a:spcBef>
                <a:spcPts val="0"/>
              </a:spcBef>
              <a:spcAft>
                <a:spcPts val="600"/>
              </a:spcAft>
              <a:buClr>
                <a:srgbClr val="C00000"/>
              </a:buClr>
              <a:buSzTx/>
              <a:buFontTx/>
              <a:buNone/>
              <a:tabLst/>
              <a:defRPr/>
            </a:pPr>
            <a:r>
              <a:rPr kumimoji="0" lang="en-US" sz="1400" b="1" i="0" u="none" strike="noStrike" kern="1200" cap="none" spc="0" normalizeH="0" baseline="0" noProof="0" dirty="0">
                <a:ln>
                  <a:noFill/>
                </a:ln>
                <a:solidFill>
                  <a:srgbClr val="C00000"/>
                </a:solidFill>
                <a:effectLst/>
                <a:uLnTx/>
                <a:uFillTx/>
                <a:latin typeface="UniCredit"/>
                <a:ea typeface="+mn-ea"/>
                <a:cs typeface="+mn-cs"/>
              </a:rPr>
              <a:t>Why</a:t>
            </a:r>
          </a:p>
          <a:p>
            <a:pPr marL="285750" marR="0" lvl="0" indent="-285750" algn="l" defTabSz="685800" rtl="0" eaLnBrk="1" fontAlgn="auto" latinLnBrk="0" hangingPunct="1">
              <a:lnSpc>
                <a:spcPct val="100000"/>
              </a:lnSpc>
              <a:spcBef>
                <a:spcPts val="0"/>
              </a:spcBef>
              <a:spcAft>
                <a:spcPts val="0"/>
              </a:spcAft>
              <a:buClr>
                <a:srgbClr val="00AFD0"/>
              </a:buClr>
              <a:buSzTx/>
              <a:buFont typeface="Wingdings" panose="05000000000000000000" pitchFamily="2" charset="2"/>
              <a:buChar char="§"/>
              <a:tabLst/>
              <a:defRPr/>
            </a:pPr>
            <a:r>
              <a:rPr kumimoji="0" lang="en-US" sz="1200" b="0" i="0" u="none" strike="noStrike" kern="1200" cap="none" spc="0" normalizeH="0" baseline="0" noProof="0" dirty="0">
                <a:ln>
                  <a:noFill/>
                </a:ln>
                <a:solidFill>
                  <a:prstClr val="black"/>
                </a:solidFill>
                <a:effectLst/>
                <a:uLnTx/>
                <a:uFillTx/>
                <a:latin typeface="UniCredit"/>
                <a:ea typeface="+mn-ea"/>
                <a:cs typeface="+mn-cs"/>
              </a:rPr>
              <a:t>What is the state of the DB?</a:t>
            </a:r>
          </a:p>
          <a:p>
            <a:pPr marL="285750" marR="0" lvl="0" indent="-285750" algn="l" defTabSz="685800" rtl="0" eaLnBrk="1" fontAlgn="auto" latinLnBrk="0" hangingPunct="1">
              <a:lnSpc>
                <a:spcPct val="100000"/>
              </a:lnSpc>
              <a:spcBef>
                <a:spcPts val="0"/>
              </a:spcBef>
              <a:spcAft>
                <a:spcPts val="0"/>
              </a:spcAft>
              <a:buClr>
                <a:srgbClr val="00AFD0"/>
              </a:buClr>
              <a:buSzTx/>
              <a:buFont typeface="Wingdings" panose="05000000000000000000" pitchFamily="2" charset="2"/>
              <a:buChar char="§"/>
              <a:tabLst/>
              <a:defRPr/>
            </a:pPr>
            <a:r>
              <a:rPr kumimoji="0" lang="en-US" sz="1200" b="0" i="0" u="none" strike="noStrike" kern="1200" cap="none" spc="0" normalizeH="0" baseline="0" noProof="0" dirty="0">
                <a:ln>
                  <a:noFill/>
                </a:ln>
                <a:solidFill>
                  <a:prstClr val="black"/>
                </a:solidFill>
                <a:effectLst/>
                <a:uLnTx/>
                <a:uFillTx/>
                <a:latin typeface="UniCredit"/>
                <a:ea typeface="+mn-ea"/>
                <a:cs typeface="+mn-cs"/>
              </a:rPr>
              <a:t>Has this script been applied?</a:t>
            </a:r>
          </a:p>
          <a:p>
            <a:pPr marL="285750" marR="0" lvl="0" indent="-285750" algn="l" defTabSz="685800" rtl="0" eaLnBrk="1" fontAlgn="auto" latinLnBrk="0" hangingPunct="1">
              <a:lnSpc>
                <a:spcPct val="100000"/>
              </a:lnSpc>
              <a:spcBef>
                <a:spcPts val="0"/>
              </a:spcBef>
              <a:spcAft>
                <a:spcPts val="0"/>
              </a:spcAft>
              <a:buClr>
                <a:srgbClr val="00AFD0"/>
              </a:buClr>
              <a:buSzTx/>
              <a:buFont typeface="Wingdings" panose="05000000000000000000" pitchFamily="2" charset="2"/>
              <a:buChar char="§"/>
              <a:tabLst/>
              <a:defRPr/>
            </a:pPr>
            <a:r>
              <a:rPr kumimoji="0" lang="en-US" sz="1200" b="0" i="0" u="none" strike="noStrike" kern="1200" cap="none" spc="0" normalizeH="0" baseline="0" noProof="0" dirty="0">
                <a:ln>
                  <a:noFill/>
                </a:ln>
                <a:solidFill>
                  <a:prstClr val="black"/>
                </a:solidFill>
                <a:effectLst/>
                <a:uLnTx/>
                <a:uFillTx/>
                <a:latin typeface="UniCredit"/>
                <a:ea typeface="+mn-ea"/>
                <a:cs typeface="+mn-cs"/>
              </a:rPr>
              <a:t>How do we setup a new DB schema?</a:t>
            </a:r>
          </a:p>
        </p:txBody>
      </p:sp>
      <p:sp>
        <p:nvSpPr>
          <p:cNvPr id="41" name="Round Diagonal Corner Rectangle 57"/>
          <p:cNvSpPr/>
          <p:nvPr/>
        </p:nvSpPr>
        <p:spPr>
          <a:xfrm>
            <a:off x="5298088" y="2707154"/>
            <a:ext cx="3499653" cy="1580013"/>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marL="1350" marR="0" lvl="0" indent="0" algn="l" defTabSz="685800" rtl="0" eaLnBrk="1" fontAlgn="auto" latinLnBrk="0" hangingPunct="1">
              <a:lnSpc>
                <a:spcPct val="120000"/>
              </a:lnSpc>
              <a:spcBef>
                <a:spcPts val="0"/>
              </a:spcBef>
              <a:spcAft>
                <a:spcPts val="600"/>
              </a:spcAft>
              <a:buClr>
                <a:srgbClr val="C00000"/>
              </a:buClr>
              <a:buSzTx/>
              <a:buFontTx/>
              <a:buNone/>
              <a:tabLst/>
              <a:defRPr/>
            </a:pPr>
            <a:r>
              <a:rPr kumimoji="0" lang="en-US" sz="1400" b="1" i="0" u="none" strike="noStrike" kern="1200" cap="none" spc="0" normalizeH="0" baseline="0" noProof="0" dirty="0">
                <a:ln>
                  <a:noFill/>
                </a:ln>
                <a:solidFill>
                  <a:srgbClr val="C00000"/>
                </a:solidFill>
                <a:effectLst/>
                <a:uLnTx/>
                <a:uFillTx/>
                <a:latin typeface="UniCredit"/>
                <a:ea typeface="+mn-ea"/>
                <a:cs typeface="+mn-cs"/>
              </a:rPr>
              <a:t>How – Nice to have Features</a:t>
            </a:r>
          </a:p>
          <a:p>
            <a:pPr marL="171450" marR="0" lvl="0" indent="-171450" algn="l" defTabSz="685800" rtl="0" eaLnBrk="1" fontAlgn="auto" latinLnBrk="0" hangingPunct="1">
              <a:lnSpc>
                <a:spcPct val="100000"/>
              </a:lnSpc>
              <a:spcBef>
                <a:spcPts val="0"/>
              </a:spcBef>
              <a:spcAft>
                <a:spcPts val="0"/>
              </a:spcAft>
              <a:buClr>
                <a:srgbClr val="00AFD0"/>
              </a:buClr>
              <a:buSzTx/>
              <a:buFont typeface="Wingdings" panose="05000000000000000000" pitchFamily="2" charset="2"/>
              <a:buChar char="§"/>
              <a:tabLst/>
              <a:defRPr/>
            </a:pPr>
            <a:r>
              <a:rPr kumimoji="0" lang="en-US" sz="1200" b="0" i="0" u="none" strike="noStrike" kern="1200" cap="none" spc="0" normalizeH="0" baseline="0" noProof="0" dirty="0">
                <a:ln>
                  <a:noFill/>
                </a:ln>
                <a:solidFill>
                  <a:prstClr val="black"/>
                </a:solidFill>
                <a:effectLst/>
                <a:uLnTx/>
                <a:uFillTx/>
                <a:latin typeface="UniCredit"/>
                <a:ea typeface="+mn-ea"/>
                <a:cs typeface="+mn-cs"/>
              </a:rPr>
              <a:t>Maven Plugin</a:t>
            </a:r>
          </a:p>
          <a:p>
            <a:pPr marL="171450" marR="0" lvl="0" indent="-171450" algn="l" defTabSz="685800" rtl="0" eaLnBrk="1" fontAlgn="auto" latinLnBrk="0" hangingPunct="1">
              <a:lnSpc>
                <a:spcPct val="100000"/>
              </a:lnSpc>
              <a:spcBef>
                <a:spcPts val="0"/>
              </a:spcBef>
              <a:spcAft>
                <a:spcPts val="0"/>
              </a:spcAft>
              <a:buClr>
                <a:srgbClr val="00AFD0"/>
              </a:buClr>
              <a:buSzTx/>
              <a:buFont typeface="Wingdings" panose="05000000000000000000" pitchFamily="2" charset="2"/>
              <a:buChar char="§"/>
              <a:tabLst/>
              <a:defRPr/>
            </a:pPr>
            <a:r>
              <a:rPr kumimoji="0" lang="en-US" sz="1200" b="0" i="0" u="none" strike="noStrike" kern="1200" cap="none" spc="0" normalizeH="0" baseline="0" noProof="0" dirty="0">
                <a:ln>
                  <a:noFill/>
                </a:ln>
                <a:solidFill>
                  <a:prstClr val="black"/>
                </a:solidFill>
                <a:effectLst/>
                <a:uLnTx/>
                <a:uFillTx/>
                <a:latin typeface="UniCredit"/>
                <a:ea typeface="+mn-ea"/>
                <a:cs typeface="+mn-cs"/>
              </a:rPr>
              <a:t>Placeholders (${field})</a:t>
            </a:r>
          </a:p>
          <a:p>
            <a:pPr marL="171450" marR="0" lvl="0" indent="-171450" algn="l" defTabSz="685800" rtl="0" eaLnBrk="1" fontAlgn="auto" latinLnBrk="0" hangingPunct="1">
              <a:lnSpc>
                <a:spcPct val="100000"/>
              </a:lnSpc>
              <a:spcBef>
                <a:spcPts val="0"/>
              </a:spcBef>
              <a:spcAft>
                <a:spcPts val="0"/>
              </a:spcAft>
              <a:buClr>
                <a:srgbClr val="00AFD0"/>
              </a:buClr>
              <a:buSzTx/>
              <a:buFont typeface="Wingdings" panose="05000000000000000000" pitchFamily="2" charset="2"/>
              <a:buChar char="§"/>
              <a:tabLst/>
              <a:defRPr/>
            </a:pPr>
            <a:r>
              <a:rPr kumimoji="0" lang="en-US" sz="1200" b="0" i="0" u="none" strike="noStrike" kern="1200" cap="none" spc="0" normalizeH="0" baseline="0" noProof="0" dirty="0">
                <a:ln>
                  <a:noFill/>
                </a:ln>
                <a:solidFill>
                  <a:prstClr val="black"/>
                </a:solidFill>
                <a:effectLst/>
                <a:uLnTx/>
                <a:uFillTx/>
                <a:latin typeface="UniCredit"/>
                <a:ea typeface="+mn-ea"/>
                <a:cs typeface="+mn-cs"/>
              </a:rPr>
              <a:t>Convention over Configuration(Flyway)</a:t>
            </a:r>
          </a:p>
          <a:p>
            <a:pPr marL="171450" marR="0" lvl="0" indent="-171450" algn="l" defTabSz="685800" rtl="0" eaLnBrk="1" fontAlgn="auto" latinLnBrk="0" hangingPunct="1">
              <a:lnSpc>
                <a:spcPct val="100000"/>
              </a:lnSpc>
              <a:spcBef>
                <a:spcPts val="0"/>
              </a:spcBef>
              <a:spcAft>
                <a:spcPts val="0"/>
              </a:spcAft>
              <a:buClr>
                <a:srgbClr val="00AFD0"/>
              </a:buClr>
              <a:buSzTx/>
              <a:buFont typeface="Wingdings" panose="05000000000000000000" pitchFamily="2" charset="2"/>
              <a:buChar char="§"/>
              <a:tabLst/>
              <a:defRPr/>
            </a:pPr>
            <a:r>
              <a:rPr kumimoji="0" lang="en-US" sz="1200" b="0" i="0" u="none" strike="noStrike" kern="1200" cap="none" spc="0" normalizeH="0" baseline="0" noProof="0" dirty="0">
                <a:ln>
                  <a:noFill/>
                </a:ln>
                <a:solidFill>
                  <a:prstClr val="black"/>
                </a:solidFill>
                <a:effectLst/>
                <a:uLnTx/>
                <a:uFillTx/>
                <a:latin typeface="UniCredit"/>
                <a:ea typeface="+mn-ea"/>
                <a:cs typeface="+mn-cs"/>
              </a:rPr>
              <a:t>Repeatable Migration(PLSQL packages)</a:t>
            </a:r>
          </a:p>
          <a:p>
            <a:pPr marL="171450" marR="0" lvl="0" indent="-171450" algn="l" defTabSz="685800" rtl="0" eaLnBrk="1" fontAlgn="auto" latinLnBrk="0" hangingPunct="1">
              <a:lnSpc>
                <a:spcPct val="100000"/>
              </a:lnSpc>
              <a:spcBef>
                <a:spcPts val="0"/>
              </a:spcBef>
              <a:spcAft>
                <a:spcPts val="0"/>
              </a:spcAft>
              <a:buClr>
                <a:srgbClr val="00AFD0"/>
              </a:buClr>
              <a:buSzTx/>
              <a:buFont typeface="Wingdings" panose="05000000000000000000" pitchFamily="2" charset="2"/>
              <a:buChar char="§"/>
              <a:tabLst/>
              <a:defRPr/>
            </a:pPr>
            <a:r>
              <a:rPr kumimoji="0" lang="en-US" sz="1200" b="0" i="0" u="none" strike="noStrike" kern="1200" cap="none" spc="0" normalizeH="0" baseline="0" noProof="0" dirty="0">
                <a:ln>
                  <a:noFill/>
                </a:ln>
                <a:solidFill>
                  <a:prstClr val="black"/>
                </a:solidFill>
                <a:effectLst/>
                <a:uLnTx/>
                <a:uFillTx/>
                <a:latin typeface="UniCredit"/>
                <a:ea typeface="+mn-ea"/>
                <a:cs typeface="+mn-cs"/>
              </a:rPr>
              <a:t>Call backs and hooks</a:t>
            </a:r>
          </a:p>
        </p:txBody>
      </p:sp>
      <p:sp>
        <p:nvSpPr>
          <p:cNvPr id="42" name="Round Diagonal Corner Rectangle 57"/>
          <p:cNvSpPr/>
          <p:nvPr/>
        </p:nvSpPr>
        <p:spPr>
          <a:xfrm>
            <a:off x="410160" y="2706798"/>
            <a:ext cx="3389713" cy="1580013"/>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marL="1350" marR="0" lvl="0" indent="0" algn="l" defTabSz="685800" rtl="0" eaLnBrk="1" fontAlgn="auto" latinLnBrk="0" hangingPunct="1">
              <a:lnSpc>
                <a:spcPct val="120000"/>
              </a:lnSpc>
              <a:spcBef>
                <a:spcPts val="0"/>
              </a:spcBef>
              <a:spcAft>
                <a:spcPts val="600"/>
              </a:spcAft>
              <a:buClr>
                <a:srgbClr val="C00000"/>
              </a:buClr>
              <a:buSzTx/>
              <a:buFontTx/>
              <a:buNone/>
              <a:tabLst/>
              <a:defRPr/>
            </a:pPr>
            <a:r>
              <a:rPr kumimoji="0" lang="en-US" sz="1400" b="1" i="0" u="none" strike="noStrike" kern="1200" cap="none" spc="0" normalizeH="0" baseline="0" noProof="0" dirty="0">
                <a:ln>
                  <a:noFill/>
                </a:ln>
                <a:solidFill>
                  <a:srgbClr val="C00000"/>
                </a:solidFill>
                <a:effectLst/>
                <a:uLnTx/>
                <a:uFillTx/>
                <a:latin typeface="UniCredit"/>
                <a:ea typeface="+mn-ea"/>
                <a:cs typeface="+mn-cs"/>
              </a:rPr>
              <a:t>How – Mandatory Features</a:t>
            </a:r>
          </a:p>
          <a:p>
            <a:pPr marL="285750" marR="0" lvl="0" indent="-285750" algn="l" defTabSz="685800" rtl="0" eaLnBrk="1" fontAlgn="auto" latinLnBrk="0" hangingPunct="1">
              <a:lnSpc>
                <a:spcPct val="100000"/>
              </a:lnSpc>
              <a:spcBef>
                <a:spcPts val="0"/>
              </a:spcBef>
              <a:spcAft>
                <a:spcPts val="0"/>
              </a:spcAft>
              <a:buClr>
                <a:srgbClr val="00AFD0"/>
              </a:buClr>
              <a:buSzTx/>
              <a:buFont typeface="Wingdings" panose="05000000000000000000" pitchFamily="2" charset="2"/>
              <a:buChar char="§"/>
              <a:tabLst/>
              <a:defRPr/>
            </a:pPr>
            <a:r>
              <a:rPr kumimoji="0" lang="en-GB" sz="1200" b="0" i="0" u="none" strike="noStrike" kern="1200" cap="none" spc="0" normalizeH="0" baseline="0" noProof="0" dirty="0">
                <a:ln>
                  <a:noFill/>
                </a:ln>
                <a:solidFill>
                  <a:prstClr val="black"/>
                </a:solidFill>
                <a:effectLst/>
                <a:uLnTx/>
                <a:uFillTx/>
                <a:latin typeface="UniCredit"/>
                <a:ea typeface="+mn-ea"/>
                <a:cs typeface="+mn-cs"/>
              </a:rPr>
              <a:t>Transaction behaviour per Script</a:t>
            </a:r>
          </a:p>
          <a:p>
            <a:pPr marL="285750" marR="0" lvl="0" indent="-285750" algn="l" defTabSz="685800" rtl="0" eaLnBrk="1" fontAlgn="auto" latinLnBrk="0" hangingPunct="1">
              <a:lnSpc>
                <a:spcPct val="100000"/>
              </a:lnSpc>
              <a:spcBef>
                <a:spcPts val="0"/>
              </a:spcBef>
              <a:spcAft>
                <a:spcPts val="0"/>
              </a:spcAft>
              <a:buClr>
                <a:srgbClr val="00AFD0"/>
              </a:buClr>
              <a:buSzTx/>
              <a:buFont typeface="Wingdings" panose="05000000000000000000" pitchFamily="2" charset="2"/>
              <a:buChar char="§"/>
              <a:tabLst/>
              <a:defRPr/>
            </a:pPr>
            <a:r>
              <a:rPr kumimoji="0" lang="en-GB" sz="1200" b="0" i="0" u="none" strike="noStrike" kern="1200" cap="none" spc="0" normalizeH="0" baseline="0" noProof="0" dirty="0">
                <a:ln>
                  <a:noFill/>
                </a:ln>
                <a:solidFill>
                  <a:prstClr val="black"/>
                </a:solidFill>
                <a:effectLst/>
                <a:uLnTx/>
                <a:uFillTx/>
                <a:latin typeface="UniCredit"/>
                <a:ea typeface="+mn-ea"/>
                <a:cs typeface="+mn-cs"/>
              </a:rPr>
              <a:t>SQL based migrations (integrate exiting processes), Java based migrations</a:t>
            </a:r>
          </a:p>
          <a:p>
            <a:pPr marL="285750" marR="0" lvl="0" indent="-285750" algn="l" defTabSz="685800" rtl="0" eaLnBrk="1" fontAlgn="auto" latinLnBrk="0" hangingPunct="1">
              <a:lnSpc>
                <a:spcPct val="100000"/>
              </a:lnSpc>
              <a:spcBef>
                <a:spcPts val="0"/>
              </a:spcBef>
              <a:spcAft>
                <a:spcPts val="0"/>
              </a:spcAft>
              <a:buClr>
                <a:srgbClr val="00AFD0"/>
              </a:buClr>
              <a:buSzTx/>
              <a:buFont typeface="Wingdings" panose="05000000000000000000" pitchFamily="2" charset="2"/>
              <a:buChar char="§"/>
              <a:tabLst/>
              <a:defRPr/>
            </a:pPr>
            <a:r>
              <a:rPr kumimoji="0" lang="en-GB" sz="1200" b="0" i="0" u="none" strike="noStrike" kern="1200" cap="none" spc="0" normalizeH="0" baseline="0" noProof="0" dirty="0">
                <a:ln>
                  <a:noFill/>
                </a:ln>
                <a:solidFill>
                  <a:prstClr val="black"/>
                </a:solidFill>
                <a:effectLst/>
                <a:uLnTx/>
                <a:uFillTx/>
                <a:latin typeface="UniCredit"/>
                <a:ea typeface="+mn-ea"/>
                <a:cs typeface="+mn-cs"/>
              </a:rPr>
              <a:t>Versioning – history table, Script Ordering</a:t>
            </a:r>
          </a:p>
          <a:p>
            <a:pPr marL="285750" marR="0" lvl="0" indent="-285750" algn="l" defTabSz="685800" rtl="0" eaLnBrk="1" fontAlgn="auto" latinLnBrk="0" hangingPunct="1">
              <a:lnSpc>
                <a:spcPct val="100000"/>
              </a:lnSpc>
              <a:spcBef>
                <a:spcPts val="0"/>
              </a:spcBef>
              <a:spcAft>
                <a:spcPts val="0"/>
              </a:spcAft>
              <a:buClr>
                <a:srgbClr val="00AFD0"/>
              </a:buClr>
              <a:buSzTx/>
              <a:buFont typeface="Wingdings" panose="05000000000000000000" pitchFamily="2" charset="2"/>
              <a:buChar char="§"/>
              <a:tabLst/>
              <a:defRPr/>
            </a:pPr>
            <a:r>
              <a:rPr kumimoji="0" lang="en-GB" sz="1200" b="0" i="0" u="none" strike="noStrike" kern="1200" cap="none" spc="0" normalizeH="0" baseline="0" noProof="0" dirty="0">
                <a:ln>
                  <a:noFill/>
                </a:ln>
                <a:solidFill>
                  <a:prstClr val="black"/>
                </a:solidFill>
                <a:effectLst/>
                <a:uLnTx/>
                <a:uFillTx/>
                <a:latin typeface="UniCredit"/>
                <a:ea typeface="+mn-ea"/>
                <a:cs typeface="+mn-cs"/>
              </a:rPr>
              <a:t>Parametrization(</a:t>
            </a:r>
            <a:r>
              <a:rPr kumimoji="0" lang="en-GB" sz="1200" b="0" i="0" u="none" strike="noStrike" kern="1200" cap="none" spc="0" normalizeH="0" baseline="0" noProof="0" dirty="0" err="1">
                <a:ln>
                  <a:noFill/>
                </a:ln>
                <a:solidFill>
                  <a:prstClr val="black"/>
                </a:solidFill>
                <a:effectLst/>
                <a:uLnTx/>
                <a:uFillTx/>
                <a:latin typeface="UniCredit"/>
                <a:ea typeface="+mn-ea"/>
                <a:cs typeface="+mn-cs"/>
              </a:rPr>
              <a:t>cleanup</a:t>
            </a:r>
            <a:r>
              <a:rPr kumimoji="0" lang="en-GB" sz="1200" b="0" i="0" u="none" strike="noStrike" kern="1200" cap="none" spc="0" normalizeH="0" baseline="0" noProof="0" dirty="0">
                <a:ln>
                  <a:noFill/>
                </a:ln>
                <a:solidFill>
                  <a:prstClr val="black"/>
                </a:solidFill>
                <a:effectLst/>
                <a:uLnTx/>
                <a:uFillTx/>
                <a:latin typeface="UniCredit"/>
                <a:ea typeface="+mn-ea"/>
                <a:cs typeface="+mn-cs"/>
              </a:rPr>
              <a:t>=off)</a:t>
            </a:r>
          </a:p>
          <a:p>
            <a:pPr marL="285750" marR="0" lvl="0" indent="-285750" algn="l" defTabSz="685800" rtl="0" eaLnBrk="1" fontAlgn="auto" latinLnBrk="0" hangingPunct="1">
              <a:lnSpc>
                <a:spcPct val="100000"/>
              </a:lnSpc>
              <a:spcBef>
                <a:spcPts val="0"/>
              </a:spcBef>
              <a:spcAft>
                <a:spcPts val="0"/>
              </a:spcAft>
              <a:buClr>
                <a:srgbClr val="00AFD0"/>
              </a:buClr>
              <a:buSzTx/>
              <a:buFont typeface="Wingdings" panose="05000000000000000000" pitchFamily="2" charset="2"/>
              <a:buChar char="§"/>
              <a:tabLst/>
              <a:defRPr/>
            </a:pPr>
            <a:r>
              <a:rPr kumimoji="0" lang="en-GB" sz="1200" b="0" i="0" u="none" strike="noStrike" kern="1200" cap="none" spc="0" normalizeH="0" baseline="0" noProof="0" dirty="0">
                <a:ln>
                  <a:noFill/>
                </a:ln>
                <a:solidFill>
                  <a:prstClr val="black"/>
                </a:solidFill>
                <a:effectLst/>
                <a:uLnTx/>
                <a:uFillTx/>
                <a:latin typeface="UniCredit"/>
                <a:ea typeface="+mn-ea"/>
                <a:cs typeface="+mn-cs"/>
              </a:rPr>
              <a:t>Dry runs, Batching</a:t>
            </a:r>
          </a:p>
          <a:p>
            <a:pPr marL="285750" marR="0" lvl="0" indent="-285750" algn="l" defTabSz="685800" rtl="0" eaLnBrk="1" fontAlgn="auto" latinLnBrk="0" hangingPunct="1">
              <a:lnSpc>
                <a:spcPct val="100000"/>
              </a:lnSpc>
              <a:spcBef>
                <a:spcPts val="0"/>
              </a:spcBef>
              <a:spcAft>
                <a:spcPts val="0"/>
              </a:spcAft>
              <a:buClr>
                <a:srgbClr val="00AFD0"/>
              </a:buClr>
              <a:buSzTx/>
              <a:buFont typeface="Wingdings" panose="05000000000000000000" pitchFamily="2" charset="2"/>
              <a:buChar char="§"/>
              <a:tabLst/>
              <a:defRPr/>
            </a:pPr>
            <a:r>
              <a:rPr kumimoji="0" lang="en-GB" sz="1200" b="0" i="0" u="none" strike="noStrike" kern="1200" cap="none" spc="0" normalizeH="0" baseline="0" noProof="0" dirty="0">
                <a:ln>
                  <a:noFill/>
                </a:ln>
                <a:solidFill>
                  <a:prstClr val="black"/>
                </a:solidFill>
                <a:effectLst/>
                <a:uLnTx/>
                <a:uFillTx/>
                <a:latin typeface="UniCredit"/>
                <a:ea typeface="+mn-ea"/>
                <a:cs typeface="+mn-cs"/>
              </a:rPr>
              <a:t>Oracle 11.1 support, Undo/Rollback*</a:t>
            </a:r>
          </a:p>
          <a:p>
            <a:pPr marL="285750" marR="0" lvl="0" indent="-285750" algn="l" defTabSz="685800" rtl="0" eaLnBrk="1" fontAlgn="auto" latinLnBrk="0" hangingPunct="1">
              <a:lnSpc>
                <a:spcPct val="100000"/>
              </a:lnSpc>
              <a:spcBef>
                <a:spcPts val="0"/>
              </a:spcBef>
              <a:spcAft>
                <a:spcPts val="0"/>
              </a:spcAft>
              <a:buClr>
                <a:srgbClr val="00AFD0"/>
              </a:buClr>
              <a:buSzTx/>
              <a:buFont typeface="Wingdings" panose="05000000000000000000" pitchFamily="2" charset="2"/>
              <a:buChar char="§"/>
              <a:tabLst/>
              <a:defRPr/>
            </a:pPr>
            <a:r>
              <a:rPr kumimoji="0" lang="en-GB" sz="1200" b="0" i="0" u="none" strike="noStrike" kern="1200" cap="none" spc="0" normalizeH="0" baseline="0" noProof="0" dirty="0">
                <a:ln>
                  <a:noFill/>
                </a:ln>
                <a:solidFill>
                  <a:prstClr val="black"/>
                </a:solidFill>
                <a:effectLst/>
                <a:uLnTx/>
                <a:uFillTx/>
                <a:latin typeface="UniCredit"/>
                <a:ea typeface="+mn-ea"/>
                <a:cs typeface="+mn-cs"/>
              </a:rPr>
              <a:t>Pipeline support, Command line support</a:t>
            </a:r>
          </a:p>
        </p:txBody>
      </p:sp>
      <p:pic>
        <p:nvPicPr>
          <p:cNvPr id="46" name="Immagine 102" descr="18a bianco-01.png"/>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4809176" y="2933594"/>
            <a:ext cx="334800" cy="334800"/>
          </a:xfrm>
          <a:prstGeom prst="ellipse">
            <a:avLst/>
          </a:prstGeom>
          <a:solidFill>
            <a:srgbClr val="00AFD0"/>
          </a:solidFill>
          <a:ln>
            <a:solidFill>
              <a:schemeClr val="bg1"/>
            </a:solidFill>
          </a:ln>
        </p:spPr>
      </p:pic>
      <p:pic>
        <p:nvPicPr>
          <p:cNvPr id="47" name="Immagine 116" descr="41a biaco-01.png"/>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3802202" y="2933594"/>
            <a:ext cx="334800" cy="334800"/>
          </a:xfrm>
          <a:prstGeom prst="ellipse">
            <a:avLst/>
          </a:prstGeom>
          <a:solidFill>
            <a:srgbClr val="00AFD0"/>
          </a:solidFill>
          <a:ln>
            <a:solidFill>
              <a:schemeClr val="bg1"/>
            </a:solidFill>
          </a:ln>
        </p:spPr>
      </p:pic>
    </p:spTree>
    <p:extLst>
      <p:ext uri="{BB962C8B-B14F-4D97-AF65-F5344CB8AC3E}">
        <p14:creationId xmlns:p14="http://schemas.microsoft.com/office/powerpoint/2010/main" val="50093984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54CD6C2-D506-4507-B98A-E35D440769D2}"/>
              </a:ext>
            </a:extLst>
          </p:cNvPr>
          <p:cNvSpPr>
            <a:spLocks noGrp="1"/>
          </p:cNvSpPr>
          <p:nvPr>
            <p:ph type="body" sz="quarter" idx="12"/>
          </p:nvPr>
        </p:nvSpPr>
        <p:spPr/>
        <p:txBody>
          <a:bodyPr/>
          <a:lstStyle/>
          <a:p>
            <a:endParaRPr lang="en-GB"/>
          </a:p>
        </p:txBody>
      </p:sp>
      <p:sp>
        <p:nvSpPr>
          <p:cNvPr id="3" name="Text Placeholder 2">
            <a:extLst>
              <a:ext uri="{FF2B5EF4-FFF2-40B4-BE49-F238E27FC236}">
                <a16:creationId xmlns:a16="http://schemas.microsoft.com/office/drawing/2014/main" id="{299EED09-EDBA-476C-9F0D-F466C0F79233}"/>
              </a:ext>
            </a:extLst>
          </p:cNvPr>
          <p:cNvSpPr>
            <a:spLocks noGrp="1"/>
          </p:cNvSpPr>
          <p:nvPr>
            <p:ph type="body" sz="quarter" idx="16"/>
          </p:nvPr>
        </p:nvSpPr>
        <p:spPr/>
        <p:txBody>
          <a:bodyPr/>
          <a:lstStyle/>
          <a:p>
            <a:endParaRPr lang="en-GB"/>
          </a:p>
        </p:txBody>
      </p:sp>
      <p:sp>
        <p:nvSpPr>
          <p:cNvPr id="4" name="Slide Number Placeholder 3">
            <a:extLst>
              <a:ext uri="{FF2B5EF4-FFF2-40B4-BE49-F238E27FC236}">
                <a16:creationId xmlns:a16="http://schemas.microsoft.com/office/drawing/2014/main" id="{708E9068-3541-4C01-B1F0-98402DF1F9D0}"/>
              </a:ext>
            </a:extLst>
          </p:cNvPr>
          <p:cNvSpPr>
            <a:spLocks noGrp="1"/>
          </p:cNvSpPr>
          <p:nvPr>
            <p:ph type="sldNum" sz="quarter" idx="11"/>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fld id="{1D1043DC-2681-49D5-9D69-158B3FA3398E}" type="slidenum">
              <a:rPr kumimoji="0" lang="en-GB" sz="900" b="0" i="0" u="none" strike="noStrike" kern="1200" cap="none" spc="0" normalizeH="0" baseline="0" noProof="1" smtClean="0">
                <a:ln>
                  <a:noFill/>
                </a:ln>
                <a:solidFill>
                  <a:srgbClr val="00AFD0"/>
                </a:solidFill>
                <a:effectLst/>
                <a:uLnTx/>
                <a:uFillTx/>
                <a:latin typeface="UniCredit"/>
                <a:ea typeface="+mn-ea"/>
                <a:cs typeface="Arial" panose="020B0604020202020204" pitchFamily="34" charset="0"/>
              </a:rPr>
              <a:pPr marL="0" marR="0" lvl="0" indent="0" algn="l" defTabSz="685800" rtl="0" eaLnBrk="1" fontAlgn="auto" latinLnBrk="0" hangingPunct="1">
                <a:lnSpc>
                  <a:spcPct val="100000"/>
                </a:lnSpc>
                <a:spcBef>
                  <a:spcPts val="0"/>
                </a:spcBef>
                <a:spcAft>
                  <a:spcPts val="0"/>
                </a:spcAft>
                <a:buClrTx/>
                <a:buSzTx/>
                <a:buFontTx/>
                <a:buNone/>
                <a:tabLst/>
                <a:defRPr/>
              </a:pPr>
              <a:t>28</a:t>
            </a:fld>
            <a:endParaRPr kumimoji="0" lang="en-GB" sz="900" b="0" i="0" u="none" strike="noStrike" kern="1200" cap="none" spc="0" normalizeH="0" baseline="0" noProof="1">
              <a:ln>
                <a:noFill/>
              </a:ln>
              <a:solidFill>
                <a:srgbClr val="00AFD0"/>
              </a:solidFill>
              <a:effectLst/>
              <a:uLnTx/>
              <a:uFillTx/>
              <a:latin typeface="UniCredit"/>
              <a:ea typeface="+mn-ea"/>
              <a:cs typeface="Arial" panose="020B0604020202020204" pitchFamily="34" charset="0"/>
            </a:endParaRPr>
          </a:p>
        </p:txBody>
      </p:sp>
      <p:pic>
        <p:nvPicPr>
          <p:cNvPr id="8" name="Content Placeholder 7">
            <a:extLst>
              <a:ext uri="{FF2B5EF4-FFF2-40B4-BE49-F238E27FC236}">
                <a16:creationId xmlns:a16="http://schemas.microsoft.com/office/drawing/2014/main" id="{E3C6BEC0-CAB4-4893-96AB-9F53542539A4}"/>
              </a:ext>
            </a:extLst>
          </p:cNvPr>
          <p:cNvPicPr>
            <a:picLocks noGrp="1" noChangeAspect="1"/>
          </p:cNvPicPr>
          <p:nvPr>
            <p:ph sz="quarter" idx="17"/>
          </p:nvPr>
        </p:nvPicPr>
        <p:blipFill>
          <a:blip r:embed="rId2"/>
          <a:stretch>
            <a:fillRect/>
          </a:stretch>
        </p:blipFill>
        <p:spPr>
          <a:xfrm>
            <a:off x="399108" y="1248269"/>
            <a:ext cx="2778000" cy="2708550"/>
          </a:xfrm>
          <a:prstGeom prst="rect">
            <a:avLst/>
          </a:prstGeom>
        </p:spPr>
      </p:pic>
      <p:sp>
        <p:nvSpPr>
          <p:cNvPr id="7" name="Title 6">
            <a:extLst>
              <a:ext uri="{FF2B5EF4-FFF2-40B4-BE49-F238E27FC236}">
                <a16:creationId xmlns:a16="http://schemas.microsoft.com/office/drawing/2014/main" id="{81A991E2-FCAE-4A78-B5C6-E206647E02AD}"/>
              </a:ext>
            </a:extLst>
          </p:cNvPr>
          <p:cNvSpPr>
            <a:spLocks noGrp="1"/>
          </p:cNvSpPr>
          <p:nvPr>
            <p:ph type="title"/>
          </p:nvPr>
        </p:nvSpPr>
        <p:spPr/>
        <p:txBody>
          <a:bodyPr/>
          <a:lstStyle/>
          <a:p>
            <a:r>
              <a:rPr lang="en-GB" dirty="0"/>
              <a:t>Database Automation – technical details</a:t>
            </a:r>
          </a:p>
        </p:txBody>
      </p:sp>
      <p:pic>
        <p:nvPicPr>
          <p:cNvPr id="52226" name="Picture 2">
            <a:extLst>
              <a:ext uri="{FF2B5EF4-FFF2-40B4-BE49-F238E27FC236}">
                <a16:creationId xmlns:a16="http://schemas.microsoft.com/office/drawing/2014/main" id="{45D38CAD-B153-45D8-88CA-FBE3D70ACA37}"/>
              </a:ext>
            </a:extLst>
          </p:cNvPr>
          <p:cNvPicPr>
            <a:picLocks noGrp="1" noChangeAspect="1" noChangeArrowheads="1"/>
          </p:cNvPicPr>
          <p:nvPr>
            <p:ph sz="quarter" idx="18"/>
          </p:nvPr>
        </p:nvPicPr>
        <p:blipFill>
          <a:blip r:embed="rId3">
            <a:extLst>
              <a:ext uri="{28A0092B-C50C-407E-A947-70E740481C1C}">
                <a14:useLocalDpi xmlns:a14="http://schemas.microsoft.com/office/drawing/2010/main" val="0"/>
              </a:ext>
            </a:extLst>
          </a:blip>
          <a:srcRect/>
          <a:stretch>
            <a:fillRect/>
          </a:stretch>
        </p:blipFill>
        <p:spPr bwMode="auto">
          <a:xfrm>
            <a:off x="3447108" y="2338533"/>
            <a:ext cx="5297784" cy="1826571"/>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2" descr="Flyway with SBT - Knoldus Blogs">
            <a:extLst>
              <a:ext uri="{FF2B5EF4-FFF2-40B4-BE49-F238E27FC236}">
                <a16:creationId xmlns:a16="http://schemas.microsoft.com/office/drawing/2014/main" id="{0729ED39-19CB-434E-9637-45B51A7A532B}"/>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r="6053" b="36235"/>
          <a:stretch/>
        </p:blipFill>
        <p:spPr bwMode="auto">
          <a:xfrm>
            <a:off x="2429657" y="897269"/>
            <a:ext cx="6444343" cy="702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3340841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10C72E-5C6C-4917-873A-B3D466C6877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0367" name="think-cell Slide" r:id="rId6" imgW="360" imgH="360" progId="TCLayout.ActiveDocument.1">
                  <p:embed/>
                </p:oleObj>
              </mc:Choice>
              <mc:Fallback>
                <p:oleObj name="think-cell Slide" r:id="rId6" imgW="360" imgH="360" progId="TCLayout.ActiveDocument.1">
                  <p:embed/>
                  <p:pic>
                    <p:nvPicPr>
                      <p:cNvPr id="8" name="Object 7" hidden="1">
                        <a:extLst>
                          <a:ext uri="{FF2B5EF4-FFF2-40B4-BE49-F238E27FC236}">
                            <a16:creationId xmlns:a16="http://schemas.microsoft.com/office/drawing/2014/main" id="{3A10C72E-5C6C-4917-873A-B3D466C6877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A41D1B87-BE64-4326-B4B6-F53F721C3D7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prstClr val="white"/>
              </a:solidFill>
              <a:effectLst/>
              <a:uLnTx/>
              <a:uFillTx/>
              <a:latin typeface="UniCredit" panose="02000506040000020004" pitchFamily="2" charset="0"/>
              <a:ea typeface="+mn-ea"/>
              <a:cs typeface="Arial" panose="020B0604020202020204" pitchFamily="34" charset="0"/>
              <a:sym typeface="UniCredit" panose="02000506040000020004" pitchFamily="2" charset="0"/>
            </a:endParaRPr>
          </a:p>
        </p:txBody>
      </p:sp>
      <p:sp>
        <p:nvSpPr>
          <p:cNvPr id="96" name="Rettangolo 2">
            <a:extLst>
              <a:ext uri="{FF2B5EF4-FFF2-40B4-BE49-F238E27FC236}">
                <a16:creationId xmlns:a16="http://schemas.microsoft.com/office/drawing/2014/main" id="{EB79D822-1D47-4A27-A4B1-20EE1B7D4AE7}"/>
              </a:ext>
            </a:extLst>
          </p:cNvPr>
          <p:cNvSpPr/>
          <p:nvPr/>
        </p:nvSpPr>
        <p:spPr>
          <a:xfrm>
            <a:off x="1197326" y="711348"/>
            <a:ext cx="3198225" cy="3145860"/>
          </a:xfrm>
          <a:prstGeom prst="rect">
            <a:avLst/>
          </a:prstGeom>
          <a:solidFill>
            <a:srgbClr val="CF4545"/>
          </a:solid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800" b="1" i="0" u="none" strike="noStrike" kern="1200" cap="none" spc="0" normalizeH="0" baseline="0" noProof="0" dirty="0">
                <a:ln>
                  <a:noFill/>
                </a:ln>
                <a:solidFill>
                  <a:prstClr val="black"/>
                </a:solidFill>
                <a:effectLst/>
                <a:uLnTx/>
                <a:uFillTx/>
                <a:latin typeface="UniCredit"/>
                <a:ea typeface="+mn-ea"/>
                <a:cs typeface="+mn-cs"/>
              </a:rPr>
              <a:t>MyCredit – </a:t>
            </a:r>
            <a:r>
              <a:rPr kumimoji="0" lang="it-IT" sz="800" b="1" i="0" u="none" strike="noStrike" kern="1200" cap="none" spc="0" normalizeH="0" baseline="0" noProof="0" dirty="0" err="1">
                <a:ln>
                  <a:noFill/>
                </a:ln>
                <a:solidFill>
                  <a:prstClr val="black"/>
                </a:solidFill>
                <a:effectLst/>
                <a:uLnTx/>
                <a:uFillTx/>
                <a:latin typeface="UniCredit"/>
                <a:ea typeface="+mn-ea"/>
                <a:cs typeface="+mn-cs"/>
              </a:rPr>
              <a:t>Italian</a:t>
            </a:r>
            <a:r>
              <a:rPr kumimoji="0" lang="it-IT" sz="800" b="1" i="0" u="none" strike="noStrike" kern="1200" cap="none" spc="0" normalizeH="0" baseline="0" noProof="0" dirty="0">
                <a:ln>
                  <a:noFill/>
                </a:ln>
                <a:solidFill>
                  <a:prstClr val="black"/>
                </a:solidFill>
                <a:effectLst/>
                <a:uLnTx/>
                <a:uFillTx/>
                <a:latin typeface="UniCredit"/>
                <a:ea typeface="+mn-ea"/>
                <a:cs typeface="+mn-cs"/>
              </a:rPr>
              <a:t> Credit Underwriting Platform</a:t>
            </a:r>
          </a:p>
        </p:txBody>
      </p:sp>
      <p:sp>
        <p:nvSpPr>
          <p:cNvPr id="2" name="Text Placeholder 1">
            <a:extLst>
              <a:ext uri="{FF2B5EF4-FFF2-40B4-BE49-F238E27FC236}">
                <a16:creationId xmlns:a16="http://schemas.microsoft.com/office/drawing/2014/main" id="{7341B67D-2C52-4ED5-BC5B-7B2FE936CA8E}"/>
              </a:ext>
            </a:extLst>
          </p:cNvPr>
          <p:cNvSpPr>
            <a:spLocks noGrp="1"/>
          </p:cNvSpPr>
          <p:nvPr>
            <p:ph type="body" sz="quarter" idx="12"/>
          </p:nvPr>
        </p:nvSpPr>
        <p:spPr/>
        <p:txBody>
          <a:bodyPr/>
          <a:lstStyle/>
          <a:p>
            <a:endParaRPr lang="en-US"/>
          </a:p>
        </p:txBody>
      </p:sp>
      <p:sp>
        <p:nvSpPr>
          <p:cNvPr id="3" name="Text Placeholder 2">
            <a:extLst>
              <a:ext uri="{FF2B5EF4-FFF2-40B4-BE49-F238E27FC236}">
                <a16:creationId xmlns:a16="http://schemas.microsoft.com/office/drawing/2014/main" id="{996226DE-7697-412C-B8E4-2AC5A6859EBF}"/>
              </a:ext>
            </a:extLst>
          </p:cNvPr>
          <p:cNvSpPr>
            <a:spLocks noGrp="1"/>
          </p:cNvSpPr>
          <p:nvPr>
            <p:ph type="body" sz="quarter" idx="16"/>
          </p:nvPr>
        </p:nvSpPr>
        <p:spPr/>
        <p:txBody>
          <a:bodyPr/>
          <a:lstStyle/>
          <a:p>
            <a:endParaRPr lang="en-US"/>
          </a:p>
        </p:txBody>
      </p:sp>
      <p:sp>
        <p:nvSpPr>
          <p:cNvPr id="4" name="Slide Number Placeholder 3">
            <a:extLst>
              <a:ext uri="{FF2B5EF4-FFF2-40B4-BE49-F238E27FC236}">
                <a16:creationId xmlns:a16="http://schemas.microsoft.com/office/drawing/2014/main" id="{4D412557-63F9-4C40-B630-A701FCC697F8}"/>
              </a:ext>
            </a:extLst>
          </p:cNvPr>
          <p:cNvSpPr>
            <a:spLocks noGrp="1"/>
          </p:cNvSpPr>
          <p:nvPr>
            <p:ph type="sldNum" sz="quarter" idx="11"/>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fld id="{9E8169F0-646E-455B-AF5A-6D6C02EAEAF6}" type="slidenum">
              <a:rPr kumimoji="0" lang="en-GB" sz="900" b="0" i="0" u="none" strike="noStrike" kern="1200" cap="none" spc="0" normalizeH="0" baseline="0" noProof="1" smtClean="0">
                <a:ln>
                  <a:noFill/>
                </a:ln>
                <a:solidFill>
                  <a:srgbClr val="00AFD0"/>
                </a:solidFill>
                <a:effectLst/>
                <a:uLnTx/>
                <a:uFillTx/>
                <a:latin typeface="UniCredit"/>
                <a:ea typeface="+mn-ea"/>
                <a:cs typeface="Arial" panose="020B0604020202020204" pitchFamily="34" charset="0"/>
              </a:rPr>
              <a:pPr marL="0" marR="0" lvl="0" indent="0" algn="l" defTabSz="685800" rtl="0" eaLnBrk="1" fontAlgn="auto" latinLnBrk="0" hangingPunct="1">
                <a:lnSpc>
                  <a:spcPct val="100000"/>
                </a:lnSpc>
                <a:spcBef>
                  <a:spcPts val="0"/>
                </a:spcBef>
                <a:spcAft>
                  <a:spcPts val="0"/>
                </a:spcAft>
                <a:buClrTx/>
                <a:buSzTx/>
                <a:buFontTx/>
                <a:buNone/>
                <a:tabLst/>
                <a:defRPr/>
              </a:pPr>
              <a:t>29</a:t>
            </a:fld>
            <a:endParaRPr kumimoji="0" lang="en-GB" sz="900" b="0" i="0" u="none" strike="noStrike" kern="1200" cap="none" spc="0" normalizeH="0" baseline="0" noProof="1">
              <a:ln>
                <a:noFill/>
              </a:ln>
              <a:solidFill>
                <a:srgbClr val="00AFD0"/>
              </a:solidFill>
              <a:effectLst/>
              <a:uLnTx/>
              <a:uFillTx/>
              <a:latin typeface="UniCredit"/>
              <a:ea typeface="+mn-ea"/>
              <a:cs typeface="Arial" panose="020B0604020202020204" pitchFamily="34" charset="0"/>
            </a:endParaRPr>
          </a:p>
        </p:txBody>
      </p:sp>
      <p:sp>
        <p:nvSpPr>
          <p:cNvPr id="6" name="Title 5">
            <a:extLst>
              <a:ext uri="{FF2B5EF4-FFF2-40B4-BE49-F238E27FC236}">
                <a16:creationId xmlns:a16="http://schemas.microsoft.com/office/drawing/2014/main" id="{8D7C420B-C08B-4B2D-811E-EBE8EAA2E0CE}"/>
              </a:ext>
            </a:extLst>
          </p:cNvPr>
          <p:cNvSpPr>
            <a:spLocks noGrp="1"/>
          </p:cNvSpPr>
          <p:nvPr>
            <p:ph type="title"/>
          </p:nvPr>
        </p:nvSpPr>
        <p:spPr>
          <a:xfrm>
            <a:off x="193985" y="-147378"/>
            <a:ext cx="8679600" cy="702000"/>
          </a:xfrm>
        </p:spPr>
        <p:txBody>
          <a:bodyPr/>
          <a:lstStyle/>
          <a:p>
            <a:r>
              <a:rPr lang="en-US" dirty="0" err="1"/>
              <a:t>MyCredits</a:t>
            </a:r>
            <a:r>
              <a:rPr lang="en-US" dirty="0"/>
              <a:t> Architecture – Complexity</a:t>
            </a:r>
          </a:p>
        </p:txBody>
      </p:sp>
      <p:grpSp>
        <p:nvGrpSpPr>
          <p:cNvPr id="17" name="Group 16">
            <a:extLst>
              <a:ext uri="{FF2B5EF4-FFF2-40B4-BE49-F238E27FC236}">
                <a16:creationId xmlns:a16="http://schemas.microsoft.com/office/drawing/2014/main" id="{E01B62F6-3A0F-4D51-BC89-4C790997FEB9}"/>
              </a:ext>
            </a:extLst>
          </p:cNvPr>
          <p:cNvGrpSpPr/>
          <p:nvPr/>
        </p:nvGrpSpPr>
        <p:grpSpPr>
          <a:xfrm>
            <a:off x="173577" y="741125"/>
            <a:ext cx="914606" cy="3537383"/>
            <a:chOff x="4936809" y="740767"/>
            <a:chExt cx="914606" cy="4259366"/>
          </a:xfrm>
        </p:grpSpPr>
        <p:sp>
          <p:nvSpPr>
            <p:cNvPr id="18" name="Rettangolo 27">
              <a:extLst>
                <a:ext uri="{FF2B5EF4-FFF2-40B4-BE49-F238E27FC236}">
                  <a16:creationId xmlns:a16="http://schemas.microsoft.com/office/drawing/2014/main" id="{D8AC1ACA-11CD-4375-A35D-F41E202CB826}"/>
                </a:ext>
              </a:extLst>
            </p:cNvPr>
            <p:cNvSpPr/>
            <p:nvPr/>
          </p:nvSpPr>
          <p:spPr>
            <a:xfrm>
              <a:off x="4936809" y="740767"/>
              <a:ext cx="914606" cy="4259366"/>
            </a:xfrm>
            <a:prstGeom prst="rect">
              <a:avLst/>
            </a:prstGeom>
            <a:solidFill>
              <a:schemeClr val="bg1">
                <a:lumMod val="85000"/>
              </a:schemeClr>
            </a:solid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t-IT" sz="800" b="0" i="0" u="none" strike="noStrike" kern="1200" cap="none" spc="0" normalizeH="0" baseline="0" noProof="0">
                <a:ln>
                  <a:noFill/>
                </a:ln>
                <a:solidFill>
                  <a:prstClr val="white"/>
                </a:solidFill>
                <a:effectLst/>
                <a:uLnTx/>
                <a:uFillTx/>
                <a:latin typeface="UniCredit"/>
                <a:ea typeface="+mn-ea"/>
                <a:cs typeface="+mn-cs"/>
              </a:endParaRPr>
            </a:p>
          </p:txBody>
        </p:sp>
        <p:sp>
          <p:nvSpPr>
            <p:cNvPr id="19" name="Rettangolo 4">
              <a:extLst>
                <a:ext uri="{FF2B5EF4-FFF2-40B4-BE49-F238E27FC236}">
                  <a16:creationId xmlns:a16="http://schemas.microsoft.com/office/drawing/2014/main" id="{8A7C4ABF-7C9B-400B-AEDA-70624494452E}"/>
                </a:ext>
              </a:extLst>
            </p:cNvPr>
            <p:cNvSpPr/>
            <p:nvPr/>
          </p:nvSpPr>
          <p:spPr>
            <a:xfrm>
              <a:off x="5077471" y="802352"/>
              <a:ext cx="288000" cy="2160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800" b="0" i="0" u="none" strike="noStrike" kern="1200" cap="none" spc="0" normalizeH="0" baseline="0" noProof="0" dirty="0">
                  <a:ln>
                    <a:noFill/>
                  </a:ln>
                  <a:solidFill>
                    <a:prstClr val="white"/>
                  </a:solidFill>
                  <a:effectLst/>
                  <a:uLnTx/>
                  <a:uFillTx/>
                  <a:latin typeface="UniCredit"/>
                  <a:ea typeface="+mn-ea"/>
                  <a:cs typeface="+mn-cs"/>
                </a:rPr>
                <a:t>AFA</a:t>
              </a:r>
            </a:p>
          </p:txBody>
        </p:sp>
        <p:sp>
          <p:nvSpPr>
            <p:cNvPr id="20" name="Rettangolo 86">
              <a:extLst>
                <a:ext uri="{FF2B5EF4-FFF2-40B4-BE49-F238E27FC236}">
                  <a16:creationId xmlns:a16="http://schemas.microsoft.com/office/drawing/2014/main" id="{E766526F-916D-4B49-AAEB-F2570CB100A4}"/>
                </a:ext>
              </a:extLst>
            </p:cNvPr>
            <p:cNvSpPr/>
            <p:nvPr/>
          </p:nvSpPr>
          <p:spPr>
            <a:xfrm>
              <a:off x="5077471" y="1063383"/>
              <a:ext cx="288000" cy="2160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800" b="0" i="0" u="none" strike="noStrike" kern="1200" cap="none" spc="0" normalizeH="0" baseline="0" noProof="0" dirty="0">
                  <a:ln>
                    <a:noFill/>
                  </a:ln>
                  <a:solidFill>
                    <a:prstClr val="white"/>
                  </a:solidFill>
                  <a:effectLst/>
                  <a:uLnTx/>
                  <a:uFillTx/>
                  <a:latin typeface="UniCredit"/>
                  <a:ea typeface="+mn-ea"/>
                  <a:cs typeface="+mn-cs"/>
                </a:rPr>
                <a:t>CRD</a:t>
              </a:r>
            </a:p>
          </p:txBody>
        </p:sp>
        <p:sp>
          <p:nvSpPr>
            <p:cNvPr id="21" name="Rettangolo 87">
              <a:extLst>
                <a:ext uri="{FF2B5EF4-FFF2-40B4-BE49-F238E27FC236}">
                  <a16:creationId xmlns:a16="http://schemas.microsoft.com/office/drawing/2014/main" id="{C596347C-4993-446E-BE79-D8F2D70ADA23}"/>
                </a:ext>
              </a:extLst>
            </p:cNvPr>
            <p:cNvSpPr/>
            <p:nvPr/>
          </p:nvSpPr>
          <p:spPr>
            <a:xfrm>
              <a:off x="5474614" y="1063383"/>
              <a:ext cx="288000" cy="2160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800" b="0" i="0" u="none" strike="noStrike" kern="1200" cap="none" spc="0" normalizeH="0" baseline="0" noProof="0" dirty="0">
                  <a:ln>
                    <a:noFill/>
                  </a:ln>
                  <a:solidFill>
                    <a:prstClr val="white"/>
                  </a:solidFill>
                  <a:effectLst/>
                  <a:uLnTx/>
                  <a:uFillTx/>
                  <a:latin typeface="UniCredit"/>
                  <a:ea typeface="+mn-ea"/>
                  <a:cs typeface="+mn-cs"/>
                </a:rPr>
                <a:t>FM1 (FIN)</a:t>
              </a:r>
            </a:p>
          </p:txBody>
        </p:sp>
        <p:sp>
          <p:nvSpPr>
            <p:cNvPr id="22" name="Rettangolo 88">
              <a:extLst>
                <a:ext uri="{FF2B5EF4-FFF2-40B4-BE49-F238E27FC236}">
                  <a16:creationId xmlns:a16="http://schemas.microsoft.com/office/drawing/2014/main" id="{6D84BB46-948A-4ED2-AC81-087B3602415B}"/>
                </a:ext>
              </a:extLst>
            </p:cNvPr>
            <p:cNvSpPr/>
            <p:nvPr/>
          </p:nvSpPr>
          <p:spPr>
            <a:xfrm>
              <a:off x="5077471" y="1324414"/>
              <a:ext cx="288000" cy="2160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800" b="0" i="0" u="none" strike="noStrike" kern="1200" cap="none" spc="0" normalizeH="0" baseline="0" noProof="0" dirty="0">
                  <a:ln>
                    <a:noFill/>
                  </a:ln>
                  <a:solidFill>
                    <a:prstClr val="white"/>
                  </a:solidFill>
                  <a:effectLst/>
                  <a:uLnTx/>
                  <a:uFillTx/>
                  <a:latin typeface="UniCredit"/>
                  <a:ea typeface="+mn-ea"/>
                  <a:cs typeface="+mn-cs"/>
                </a:rPr>
                <a:t>GMO</a:t>
              </a:r>
            </a:p>
          </p:txBody>
        </p:sp>
        <p:sp>
          <p:nvSpPr>
            <p:cNvPr id="23" name="Rettangolo 92">
              <a:extLst>
                <a:ext uri="{FF2B5EF4-FFF2-40B4-BE49-F238E27FC236}">
                  <a16:creationId xmlns:a16="http://schemas.microsoft.com/office/drawing/2014/main" id="{E94D82CF-797D-45C0-99CA-03F64BF2C0B6}"/>
                </a:ext>
              </a:extLst>
            </p:cNvPr>
            <p:cNvSpPr/>
            <p:nvPr/>
          </p:nvSpPr>
          <p:spPr>
            <a:xfrm>
              <a:off x="5474614" y="1324414"/>
              <a:ext cx="288000" cy="2160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800" b="0" i="0" u="none" strike="noStrike" kern="1200" cap="none" spc="0" normalizeH="0" baseline="0" noProof="0" dirty="0">
                  <a:ln>
                    <a:noFill/>
                  </a:ln>
                  <a:solidFill>
                    <a:prstClr val="white"/>
                  </a:solidFill>
                  <a:effectLst/>
                  <a:uLnTx/>
                  <a:uFillTx/>
                  <a:latin typeface="UniCredit"/>
                  <a:ea typeface="+mn-ea"/>
                  <a:cs typeface="+mn-cs"/>
                </a:rPr>
                <a:t>GWC</a:t>
              </a:r>
            </a:p>
          </p:txBody>
        </p:sp>
        <p:sp>
          <p:nvSpPr>
            <p:cNvPr id="24" name="Rettangolo 94">
              <a:extLst>
                <a:ext uri="{FF2B5EF4-FFF2-40B4-BE49-F238E27FC236}">
                  <a16:creationId xmlns:a16="http://schemas.microsoft.com/office/drawing/2014/main" id="{DA8E8944-636D-40B3-A659-B75D5623C89D}"/>
                </a:ext>
              </a:extLst>
            </p:cNvPr>
            <p:cNvSpPr/>
            <p:nvPr/>
          </p:nvSpPr>
          <p:spPr>
            <a:xfrm>
              <a:off x="5077471" y="1585445"/>
              <a:ext cx="288000" cy="2160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800" b="0" i="0" u="none" strike="noStrike" kern="1200" cap="none" spc="0" normalizeH="0" baseline="0" noProof="0" dirty="0">
                  <a:ln>
                    <a:noFill/>
                  </a:ln>
                  <a:solidFill>
                    <a:prstClr val="white"/>
                  </a:solidFill>
                  <a:effectLst/>
                  <a:uLnTx/>
                  <a:uFillTx/>
                  <a:latin typeface="UniCredit"/>
                  <a:ea typeface="+mn-ea"/>
                  <a:cs typeface="+mn-cs"/>
                </a:rPr>
                <a:t>PGE</a:t>
              </a:r>
            </a:p>
          </p:txBody>
        </p:sp>
        <p:sp>
          <p:nvSpPr>
            <p:cNvPr id="25" name="Rettangolo 95">
              <a:extLst>
                <a:ext uri="{FF2B5EF4-FFF2-40B4-BE49-F238E27FC236}">
                  <a16:creationId xmlns:a16="http://schemas.microsoft.com/office/drawing/2014/main" id="{4FB01DF6-DDAF-4A9F-85A1-8B2A5761A6F7}"/>
                </a:ext>
              </a:extLst>
            </p:cNvPr>
            <p:cNvSpPr/>
            <p:nvPr/>
          </p:nvSpPr>
          <p:spPr>
            <a:xfrm>
              <a:off x="5474614" y="1585445"/>
              <a:ext cx="288000" cy="2160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800" b="0" i="0" u="none" strike="noStrike" kern="1200" cap="none" spc="0" normalizeH="0" baseline="0" noProof="0" dirty="0">
                  <a:ln>
                    <a:noFill/>
                  </a:ln>
                  <a:solidFill>
                    <a:prstClr val="white"/>
                  </a:solidFill>
                  <a:effectLst/>
                  <a:uLnTx/>
                  <a:uFillTx/>
                  <a:latin typeface="UniCredit"/>
                  <a:ea typeface="+mn-ea"/>
                  <a:cs typeface="+mn-cs"/>
                </a:rPr>
                <a:t>PRE</a:t>
              </a:r>
            </a:p>
          </p:txBody>
        </p:sp>
        <p:sp>
          <p:nvSpPr>
            <p:cNvPr id="26" name="Rettangolo 96">
              <a:extLst>
                <a:ext uri="{FF2B5EF4-FFF2-40B4-BE49-F238E27FC236}">
                  <a16:creationId xmlns:a16="http://schemas.microsoft.com/office/drawing/2014/main" id="{FBE37AC8-8BF6-4135-A25A-F620204802BD}"/>
                </a:ext>
              </a:extLst>
            </p:cNvPr>
            <p:cNvSpPr/>
            <p:nvPr/>
          </p:nvSpPr>
          <p:spPr>
            <a:xfrm>
              <a:off x="5077471" y="1846476"/>
              <a:ext cx="288000" cy="2160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800" b="0" i="0" u="none" strike="noStrike" kern="1200" cap="none" spc="0" normalizeH="0" baseline="0" noProof="0" dirty="0">
                  <a:ln>
                    <a:noFill/>
                  </a:ln>
                  <a:solidFill>
                    <a:prstClr val="white"/>
                  </a:solidFill>
                  <a:effectLst/>
                  <a:uLnTx/>
                  <a:uFillTx/>
                  <a:latin typeface="UniCredit"/>
                  <a:ea typeface="+mn-ea"/>
                  <a:cs typeface="+mn-cs"/>
                </a:rPr>
                <a:t>XPI</a:t>
              </a:r>
            </a:p>
          </p:txBody>
        </p:sp>
        <p:sp>
          <p:nvSpPr>
            <p:cNvPr id="27" name="Rettangolo 97">
              <a:extLst>
                <a:ext uri="{FF2B5EF4-FFF2-40B4-BE49-F238E27FC236}">
                  <a16:creationId xmlns:a16="http://schemas.microsoft.com/office/drawing/2014/main" id="{9E10B850-5B4B-4AFC-B7C3-4C125EA6E4F7}"/>
                </a:ext>
              </a:extLst>
            </p:cNvPr>
            <p:cNvSpPr/>
            <p:nvPr/>
          </p:nvSpPr>
          <p:spPr>
            <a:xfrm>
              <a:off x="5474614" y="1846476"/>
              <a:ext cx="288000" cy="2160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800" b="0" i="0" u="none" strike="noStrike" kern="1200" cap="none" spc="0" normalizeH="0" baseline="0" noProof="0" dirty="0">
                  <a:ln>
                    <a:noFill/>
                  </a:ln>
                  <a:solidFill>
                    <a:prstClr val="white"/>
                  </a:solidFill>
                  <a:effectLst/>
                  <a:uLnTx/>
                  <a:uFillTx/>
                  <a:latin typeface="UniCredit"/>
                  <a:ea typeface="+mn-ea"/>
                  <a:cs typeface="+mn-cs"/>
                </a:rPr>
                <a:t>XPW</a:t>
              </a:r>
            </a:p>
          </p:txBody>
        </p:sp>
        <p:sp>
          <p:nvSpPr>
            <p:cNvPr id="28" name="Rettangolo 98">
              <a:extLst>
                <a:ext uri="{FF2B5EF4-FFF2-40B4-BE49-F238E27FC236}">
                  <a16:creationId xmlns:a16="http://schemas.microsoft.com/office/drawing/2014/main" id="{FB89FC0C-FE9C-4512-8D75-77A986618F79}"/>
                </a:ext>
              </a:extLst>
            </p:cNvPr>
            <p:cNvSpPr/>
            <p:nvPr/>
          </p:nvSpPr>
          <p:spPr>
            <a:xfrm>
              <a:off x="5077471" y="2107507"/>
              <a:ext cx="288000" cy="2160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800" b="0" i="0" u="none" strike="noStrike" kern="1200" cap="none" spc="0" normalizeH="0" baseline="0" noProof="0" dirty="0">
                  <a:ln>
                    <a:noFill/>
                  </a:ln>
                  <a:solidFill>
                    <a:prstClr val="white"/>
                  </a:solidFill>
                  <a:effectLst/>
                  <a:uLnTx/>
                  <a:uFillTx/>
                  <a:latin typeface="UniCredit"/>
                  <a:ea typeface="+mn-ea"/>
                  <a:cs typeface="+mn-cs"/>
                </a:rPr>
                <a:t>PGA</a:t>
              </a:r>
            </a:p>
          </p:txBody>
        </p:sp>
        <p:sp>
          <p:nvSpPr>
            <p:cNvPr id="29" name="Rettangolo 100">
              <a:extLst>
                <a:ext uri="{FF2B5EF4-FFF2-40B4-BE49-F238E27FC236}">
                  <a16:creationId xmlns:a16="http://schemas.microsoft.com/office/drawing/2014/main" id="{C0722FCB-6437-4B77-BAD3-22F8F72054E3}"/>
                </a:ext>
              </a:extLst>
            </p:cNvPr>
            <p:cNvSpPr/>
            <p:nvPr/>
          </p:nvSpPr>
          <p:spPr>
            <a:xfrm>
              <a:off x="5474614" y="2107507"/>
              <a:ext cx="288000" cy="2160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800" b="0" i="0" u="none" strike="noStrike" kern="1200" cap="none" spc="0" normalizeH="0" baseline="0" noProof="0" dirty="0">
                  <a:ln>
                    <a:noFill/>
                  </a:ln>
                  <a:solidFill>
                    <a:prstClr val="white"/>
                  </a:solidFill>
                  <a:effectLst/>
                  <a:uLnTx/>
                  <a:uFillTx/>
                  <a:latin typeface="UniCredit"/>
                  <a:ea typeface="+mn-ea"/>
                  <a:cs typeface="+mn-cs"/>
                </a:rPr>
                <a:t>FM0</a:t>
              </a:r>
            </a:p>
          </p:txBody>
        </p:sp>
        <p:sp>
          <p:nvSpPr>
            <p:cNvPr id="30" name="Rettangolo 104">
              <a:extLst>
                <a:ext uri="{FF2B5EF4-FFF2-40B4-BE49-F238E27FC236}">
                  <a16:creationId xmlns:a16="http://schemas.microsoft.com/office/drawing/2014/main" id="{21223107-3151-4F24-8EEE-C431A5F70C2E}"/>
                </a:ext>
              </a:extLst>
            </p:cNvPr>
            <p:cNvSpPr/>
            <p:nvPr/>
          </p:nvSpPr>
          <p:spPr>
            <a:xfrm>
              <a:off x="5077471" y="2368538"/>
              <a:ext cx="288000" cy="2160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800" b="0" i="0" u="none" strike="noStrike" kern="1200" cap="none" spc="0" normalizeH="0" baseline="0" noProof="0" dirty="0">
                  <a:ln>
                    <a:noFill/>
                  </a:ln>
                  <a:solidFill>
                    <a:prstClr val="white"/>
                  </a:solidFill>
                  <a:effectLst/>
                  <a:uLnTx/>
                  <a:uFillTx/>
                  <a:latin typeface="UniCredit"/>
                  <a:ea typeface="+mn-ea"/>
                  <a:cs typeface="+mn-cs"/>
                </a:rPr>
                <a:t>XP0</a:t>
              </a:r>
            </a:p>
          </p:txBody>
        </p:sp>
        <p:sp>
          <p:nvSpPr>
            <p:cNvPr id="31" name="Rettangolo 105">
              <a:extLst>
                <a:ext uri="{FF2B5EF4-FFF2-40B4-BE49-F238E27FC236}">
                  <a16:creationId xmlns:a16="http://schemas.microsoft.com/office/drawing/2014/main" id="{41AF668C-C27D-4308-8C45-211FFA20691B}"/>
                </a:ext>
              </a:extLst>
            </p:cNvPr>
            <p:cNvSpPr/>
            <p:nvPr/>
          </p:nvSpPr>
          <p:spPr>
            <a:xfrm>
              <a:off x="5474614" y="2368538"/>
              <a:ext cx="288000" cy="2160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800" b="0" i="0" u="none" strike="noStrike" kern="1200" cap="none" spc="0" normalizeH="0" baseline="0" noProof="0" dirty="0">
                  <a:ln>
                    <a:noFill/>
                  </a:ln>
                  <a:solidFill>
                    <a:prstClr val="white"/>
                  </a:solidFill>
                  <a:effectLst/>
                  <a:uLnTx/>
                  <a:uFillTx/>
                  <a:latin typeface="UniCredit"/>
                  <a:ea typeface="+mn-ea"/>
                  <a:cs typeface="+mn-cs"/>
                </a:rPr>
                <a:t>BIN</a:t>
              </a:r>
            </a:p>
          </p:txBody>
        </p:sp>
        <p:sp>
          <p:nvSpPr>
            <p:cNvPr id="32" name="Rettangolo 106">
              <a:extLst>
                <a:ext uri="{FF2B5EF4-FFF2-40B4-BE49-F238E27FC236}">
                  <a16:creationId xmlns:a16="http://schemas.microsoft.com/office/drawing/2014/main" id="{DDC56F7A-5BBE-447D-B503-E6EC1168F6A5}"/>
                </a:ext>
              </a:extLst>
            </p:cNvPr>
            <p:cNvSpPr/>
            <p:nvPr/>
          </p:nvSpPr>
          <p:spPr>
            <a:xfrm>
              <a:off x="5077471" y="2629569"/>
              <a:ext cx="288000" cy="2160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800" b="0" i="0" u="none" strike="noStrike" kern="1200" cap="none" spc="0" normalizeH="0" baseline="0" noProof="0" dirty="0">
                  <a:ln>
                    <a:noFill/>
                  </a:ln>
                  <a:solidFill>
                    <a:prstClr val="white"/>
                  </a:solidFill>
                  <a:effectLst/>
                  <a:uLnTx/>
                  <a:uFillTx/>
                  <a:latin typeface="UniCredit"/>
                  <a:ea typeface="+mn-ea"/>
                  <a:cs typeface="+mn-cs"/>
                </a:rPr>
                <a:t>UWM</a:t>
              </a:r>
            </a:p>
          </p:txBody>
        </p:sp>
        <p:sp>
          <p:nvSpPr>
            <p:cNvPr id="33" name="Rettangolo 107">
              <a:extLst>
                <a:ext uri="{FF2B5EF4-FFF2-40B4-BE49-F238E27FC236}">
                  <a16:creationId xmlns:a16="http://schemas.microsoft.com/office/drawing/2014/main" id="{23233627-6949-48ED-8C38-146BA11E9481}"/>
                </a:ext>
              </a:extLst>
            </p:cNvPr>
            <p:cNvSpPr/>
            <p:nvPr/>
          </p:nvSpPr>
          <p:spPr>
            <a:xfrm>
              <a:off x="5474614" y="2629569"/>
              <a:ext cx="288000" cy="2160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800" b="0" i="0" u="none" strike="noStrike" kern="1200" cap="none" spc="0" normalizeH="0" baseline="0" noProof="0" dirty="0">
                  <a:ln>
                    <a:noFill/>
                  </a:ln>
                  <a:solidFill>
                    <a:prstClr val="white"/>
                  </a:solidFill>
                  <a:effectLst/>
                  <a:uLnTx/>
                  <a:uFillTx/>
                  <a:latin typeface="UniCredit"/>
                  <a:ea typeface="+mn-ea"/>
                  <a:cs typeface="+mn-cs"/>
                </a:rPr>
                <a:t>UWC</a:t>
              </a:r>
            </a:p>
          </p:txBody>
        </p:sp>
        <p:sp>
          <p:nvSpPr>
            <p:cNvPr id="34" name="Rettangolo 108">
              <a:extLst>
                <a:ext uri="{FF2B5EF4-FFF2-40B4-BE49-F238E27FC236}">
                  <a16:creationId xmlns:a16="http://schemas.microsoft.com/office/drawing/2014/main" id="{3BBA90AE-442D-48F7-B615-ECF55344AF14}"/>
                </a:ext>
              </a:extLst>
            </p:cNvPr>
            <p:cNvSpPr/>
            <p:nvPr/>
          </p:nvSpPr>
          <p:spPr>
            <a:xfrm>
              <a:off x="5077471" y="2890600"/>
              <a:ext cx="288000" cy="2160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800" b="0" i="0" u="none" strike="noStrike" kern="1200" cap="none" spc="0" normalizeH="0" baseline="0" noProof="0" dirty="0">
                  <a:ln>
                    <a:noFill/>
                  </a:ln>
                  <a:solidFill>
                    <a:prstClr val="white"/>
                  </a:solidFill>
                  <a:effectLst/>
                  <a:uLnTx/>
                  <a:uFillTx/>
                  <a:latin typeface="UniCredit"/>
                  <a:ea typeface="+mn-ea"/>
                  <a:cs typeface="+mn-cs"/>
                </a:rPr>
                <a:t>Clienti </a:t>
              </a:r>
              <a:r>
                <a:rPr kumimoji="0" lang="it-IT" sz="800" b="0" i="0" u="none" strike="noStrike" kern="1200" cap="none" spc="0" normalizeH="0" baseline="0" noProof="0" dirty="0" err="1">
                  <a:ln>
                    <a:noFill/>
                  </a:ln>
                  <a:solidFill>
                    <a:prstClr val="white"/>
                  </a:solidFill>
                  <a:effectLst/>
                  <a:uLnTx/>
                  <a:uFillTx/>
                  <a:latin typeface="UniCredit"/>
                  <a:ea typeface="+mn-ea"/>
                  <a:cs typeface="+mn-cs"/>
                </a:rPr>
                <a:t>Condiv</a:t>
              </a:r>
              <a:endParaRPr kumimoji="0" lang="it-IT" sz="800" b="0" i="0" u="none" strike="noStrike" kern="1200" cap="none" spc="0" normalizeH="0" baseline="0" noProof="0" dirty="0">
                <a:ln>
                  <a:noFill/>
                </a:ln>
                <a:solidFill>
                  <a:prstClr val="white"/>
                </a:solidFill>
                <a:effectLst/>
                <a:uLnTx/>
                <a:uFillTx/>
                <a:latin typeface="UniCredit"/>
                <a:ea typeface="+mn-ea"/>
                <a:cs typeface="+mn-cs"/>
              </a:endParaRPr>
            </a:p>
          </p:txBody>
        </p:sp>
        <p:sp>
          <p:nvSpPr>
            <p:cNvPr id="35" name="Rettangolo 110">
              <a:extLst>
                <a:ext uri="{FF2B5EF4-FFF2-40B4-BE49-F238E27FC236}">
                  <a16:creationId xmlns:a16="http://schemas.microsoft.com/office/drawing/2014/main" id="{C1C9F8C3-92BB-4542-B13A-4BFFC6FF6251}"/>
                </a:ext>
              </a:extLst>
            </p:cNvPr>
            <p:cNvSpPr/>
            <p:nvPr/>
          </p:nvSpPr>
          <p:spPr>
            <a:xfrm>
              <a:off x="5474614" y="2890600"/>
              <a:ext cx="288000" cy="2160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800" b="0" i="0" u="none" strike="noStrike" kern="1200" cap="none" spc="0" normalizeH="0" baseline="0" noProof="0" dirty="0">
                  <a:ln>
                    <a:noFill/>
                  </a:ln>
                  <a:solidFill>
                    <a:prstClr val="white"/>
                  </a:solidFill>
                  <a:effectLst/>
                  <a:uLnTx/>
                  <a:uFillTx/>
                  <a:latin typeface="UniCredit"/>
                  <a:ea typeface="+mn-ea"/>
                  <a:cs typeface="+mn-cs"/>
                </a:rPr>
                <a:t>GECA</a:t>
              </a:r>
            </a:p>
          </p:txBody>
        </p:sp>
        <p:sp>
          <p:nvSpPr>
            <p:cNvPr id="36" name="Rettangolo 111">
              <a:extLst>
                <a:ext uri="{FF2B5EF4-FFF2-40B4-BE49-F238E27FC236}">
                  <a16:creationId xmlns:a16="http://schemas.microsoft.com/office/drawing/2014/main" id="{44ECC24C-C358-430C-A856-102FE2E0EF8A}"/>
                </a:ext>
              </a:extLst>
            </p:cNvPr>
            <p:cNvSpPr/>
            <p:nvPr/>
          </p:nvSpPr>
          <p:spPr>
            <a:xfrm>
              <a:off x="5077471" y="3151631"/>
              <a:ext cx="288000" cy="2160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800" b="0" i="0" u="none" strike="noStrike" kern="1200" cap="none" spc="0" normalizeH="0" baseline="0" noProof="0" dirty="0">
                  <a:ln>
                    <a:noFill/>
                  </a:ln>
                  <a:solidFill>
                    <a:prstClr val="white"/>
                  </a:solidFill>
                  <a:effectLst/>
                  <a:uLnTx/>
                  <a:uFillTx/>
                  <a:latin typeface="UniCredit"/>
                  <a:ea typeface="+mn-ea"/>
                  <a:cs typeface="+mn-cs"/>
                </a:rPr>
                <a:t>FSD</a:t>
              </a:r>
            </a:p>
          </p:txBody>
        </p:sp>
        <p:sp>
          <p:nvSpPr>
            <p:cNvPr id="37" name="Rettangolo 112">
              <a:extLst>
                <a:ext uri="{FF2B5EF4-FFF2-40B4-BE49-F238E27FC236}">
                  <a16:creationId xmlns:a16="http://schemas.microsoft.com/office/drawing/2014/main" id="{007546A7-002C-4BC0-8C60-614820167D3E}"/>
                </a:ext>
              </a:extLst>
            </p:cNvPr>
            <p:cNvSpPr/>
            <p:nvPr/>
          </p:nvSpPr>
          <p:spPr>
            <a:xfrm>
              <a:off x="5474614" y="3151631"/>
              <a:ext cx="288000" cy="2160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800" b="0" i="0" u="none" strike="noStrike" kern="1200" cap="none" spc="0" normalizeH="0" baseline="0" noProof="0" dirty="0">
                  <a:ln>
                    <a:noFill/>
                  </a:ln>
                  <a:solidFill>
                    <a:prstClr val="white"/>
                  </a:solidFill>
                  <a:effectLst/>
                  <a:uLnTx/>
                  <a:uFillTx/>
                  <a:latin typeface="UniCredit"/>
                  <a:ea typeface="+mn-ea"/>
                  <a:cs typeface="+mn-cs"/>
                </a:rPr>
                <a:t>CTB</a:t>
              </a:r>
            </a:p>
          </p:txBody>
        </p:sp>
        <p:sp>
          <p:nvSpPr>
            <p:cNvPr id="38" name="Rettangolo 113">
              <a:extLst>
                <a:ext uri="{FF2B5EF4-FFF2-40B4-BE49-F238E27FC236}">
                  <a16:creationId xmlns:a16="http://schemas.microsoft.com/office/drawing/2014/main" id="{8DFB78CE-6E78-40F9-8641-246C9C00DD5F}"/>
                </a:ext>
              </a:extLst>
            </p:cNvPr>
            <p:cNvSpPr/>
            <p:nvPr/>
          </p:nvSpPr>
          <p:spPr>
            <a:xfrm>
              <a:off x="5077471" y="3412662"/>
              <a:ext cx="288000" cy="2160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800" b="0" i="0" u="none" strike="noStrike" kern="1200" cap="none" spc="0" normalizeH="0" baseline="0" noProof="0" dirty="0">
                  <a:ln>
                    <a:noFill/>
                  </a:ln>
                  <a:solidFill>
                    <a:prstClr val="white"/>
                  </a:solidFill>
                  <a:effectLst/>
                  <a:uLnTx/>
                  <a:uFillTx/>
                  <a:latin typeface="UniCredit"/>
                  <a:ea typeface="+mn-ea"/>
                  <a:cs typeface="+mn-cs"/>
                </a:rPr>
                <a:t>CS0</a:t>
              </a:r>
            </a:p>
          </p:txBody>
        </p:sp>
        <p:sp>
          <p:nvSpPr>
            <p:cNvPr id="39" name="Rettangolo 114">
              <a:extLst>
                <a:ext uri="{FF2B5EF4-FFF2-40B4-BE49-F238E27FC236}">
                  <a16:creationId xmlns:a16="http://schemas.microsoft.com/office/drawing/2014/main" id="{636E0716-8C5A-4A96-B9CD-1E9C6F31BB03}"/>
                </a:ext>
              </a:extLst>
            </p:cNvPr>
            <p:cNvSpPr/>
            <p:nvPr/>
          </p:nvSpPr>
          <p:spPr>
            <a:xfrm>
              <a:off x="5474614" y="3412662"/>
              <a:ext cx="288000" cy="2160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800" b="0" i="0" u="none" strike="noStrike" kern="1200" cap="none" spc="0" normalizeH="0" baseline="0" noProof="0" dirty="0">
                  <a:ln>
                    <a:noFill/>
                  </a:ln>
                  <a:solidFill>
                    <a:prstClr val="white"/>
                  </a:solidFill>
                  <a:effectLst/>
                  <a:uLnTx/>
                  <a:uFillTx/>
                  <a:latin typeface="UniCredit"/>
                  <a:ea typeface="+mn-ea"/>
                  <a:cs typeface="+mn-cs"/>
                </a:rPr>
                <a:t>TMP</a:t>
              </a:r>
            </a:p>
          </p:txBody>
        </p:sp>
        <p:sp>
          <p:nvSpPr>
            <p:cNvPr id="40" name="Rettangolo 115">
              <a:extLst>
                <a:ext uri="{FF2B5EF4-FFF2-40B4-BE49-F238E27FC236}">
                  <a16:creationId xmlns:a16="http://schemas.microsoft.com/office/drawing/2014/main" id="{DCECA472-FAD9-43DB-BF91-4FE042F068EF}"/>
                </a:ext>
              </a:extLst>
            </p:cNvPr>
            <p:cNvSpPr/>
            <p:nvPr/>
          </p:nvSpPr>
          <p:spPr>
            <a:xfrm>
              <a:off x="5077471" y="3673693"/>
              <a:ext cx="288000" cy="2160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800" b="0" i="0" u="none" strike="noStrike" kern="1200" cap="none" spc="0" normalizeH="0" baseline="0" noProof="0" dirty="0">
                  <a:ln>
                    <a:noFill/>
                  </a:ln>
                  <a:solidFill>
                    <a:prstClr val="white"/>
                  </a:solidFill>
                  <a:effectLst/>
                  <a:uLnTx/>
                  <a:uFillTx/>
                  <a:latin typeface="UniCredit"/>
                  <a:ea typeface="+mn-ea"/>
                  <a:cs typeface="+mn-cs"/>
                </a:rPr>
                <a:t>SBA</a:t>
              </a:r>
            </a:p>
          </p:txBody>
        </p:sp>
        <p:sp>
          <p:nvSpPr>
            <p:cNvPr id="41" name="Rettangolo 116">
              <a:extLst>
                <a:ext uri="{FF2B5EF4-FFF2-40B4-BE49-F238E27FC236}">
                  <a16:creationId xmlns:a16="http://schemas.microsoft.com/office/drawing/2014/main" id="{AA985356-10EC-421A-ADE4-AB7E96976CF7}"/>
                </a:ext>
              </a:extLst>
            </p:cNvPr>
            <p:cNvSpPr/>
            <p:nvPr/>
          </p:nvSpPr>
          <p:spPr>
            <a:xfrm>
              <a:off x="5474614" y="3673693"/>
              <a:ext cx="288000" cy="2160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800" b="0" i="0" u="none" strike="noStrike" kern="1200" cap="none" spc="0" normalizeH="0" baseline="0" noProof="0" dirty="0">
                  <a:ln>
                    <a:noFill/>
                  </a:ln>
                  <a:solidFill>
                    <a:prstClr val="white"/>
                  </a:solidFill>
                  <a:effectLst/>
                  <a:uLnTx/>
                  <a:uFillTx/>
                  <a:latin typeface="UniCredit"/>
                  <a:ea typeface="+mn-ea"/>
                  <a:cs typeface="+mn-cs"/>
                </a:rPr>
                <a:t>UBZ</a:t>
              </a:r>
            </a:p>
          </p:txBody>
        </p:sp>
        <p:sp>
          <p:nvSpPr>
            <p:cNvPr id="42" name="Rettangolo 117">
              <a:extLst>
                <a:ext uri="{FF2B5EF4-FFF2-40B4-BE49-F238E27FC236}">
                  <a16:creationId xmlns:a16="http://schemas.microsoft.com/office/drawing/2014/main" id="{5B0BFB34-A88B-4EBB-AFF9-44BC4170E4EB}"/>
                </a:ext>
              </a:extLst>
            </p:cNvPr>
            <p:cNvSpPr/>
            <p:nvPr/>
          </p:nvSpPr>
          <p:spPr>
            <a:xfrm>
              <a:off x="5077471" y="3934724"/>
              <a:ext cx="288000" cy="2160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800" b="0" i="0" u="none" strike="noStrike" kern="1200" cap="none" spc="0" normalizeH="0" baseline="0" noProof="0" dirty="0">
                  <a:ln>
                    <a:noFill/>
                  </a:ln>
                  <a:solidFill>
                    <a:prstClr val="white"/>
                  </a:solidFill>
                  <a:effectLst/>
                  <a:uLnTx/>
                  <a:uFillTx/>
                  <a:latin typeface="UniCredit"/>
                  <a:ea typeface="+mn-ea"/>
                  <a:cs typeface="+mn-cs"/>
                </a:rPr>
                <a:t>BOE</a:t>
              </a:r>
            </a:p>
          </p:txBody>
        </p:sp>
        <p:sp>
          <p:nvSpPr>
            <p:cNvPr id="43" name="Rettangolo 119">
              <a:extLst>
                <a:ext uri="{FF2B5EF4-FFF2-40B4-BE49-F238E27FC236}">
                  <a16:creationId xmlns:a16="http://schemas.microsoft.com/office/drawing/2014/main" id="{E4BDC828-3F82-48B0-BF0C-260C0291FA62}"/>
                </a:ext>
              </a:extLst>
            </p:cNvPr>
            <p:cNvSpPr/>
            <p:nvPr/>
          </p:nvSpPr>
          <p:spPr>
            <a:xfrm>
              <a:off x="5474614" y="3934724"/>
              <a:ext cx="288000" cy="2160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800" b="0" i="0" u="none" strike="noStrike" kern="1200" cap="none" spc="0" normalizeH="0" baseline="0" noProof="0" dirty="0">
                  <a:ln>
                    <a:noFill/>
                  </a:ln>
                  <a:solidFill>
                    <a:prstClr val="white"/>
                  </a:solidFill>
                  <a:effectLst/>
                  <a:uLnTx/>
                  <a:uFillTx/>
                  <a:latin typeface="UniCredit"/>
                  <a:ea typeface="+mn-ea"/>
                  <a:cs typeface="+mn-cs"/>
                </a:rPr>
                <a:t>OS0</a:t>
              </a:r>
            </a:p>
          </p:txBody>
        </p:sp>
        <p:sp>
          <p:nvSpPr>
            <p:cNvPr id="44" name="Rettangolo 120">
              <a:extLst>
                <a:ext uri="{FF2B5EF4-FFF2-40B4-BE49-F238E27FC236}">
                  <a16:creationId xmlns:a16="http://schemas.microsoft.com/office/drawing/2014/main" id="{19D400E2-9D8D-469E-8656-7BACF41B7AFB}"/>
                </a:ext>
              </a:extLst>
            </p:cNvPr>
            <p:cNvSpPr/>
            <p:nvPr/>
          </p:nvSpPr>
          <p:spPr>
            <a:xfrm>
              <a:off x="5077471" y="4195755"/>
              <a:ext cx="288000" cy="2160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800" b="0" i="0" u="none" strike="noStrike" kern="1200" cap="none" spc="0" normalizeH="0" baseline="0" noProof="0" dirty="0">
                  <a:ln>
                    <a:noFill/>
                  </a:ln>
                  <a:solidFill>
                    <a:prstClr val="white"/>
                  </a:solidFill>
                  <a:effectLst/>
                  <a:uLnTx/>
                  <a:uFillTx/>
                  <a:latin typeface="UniCredit"/>
                  <a:ea typeface="+mn-ea"/>
                  <a:cs typeface="+mn-cs"/>
                </a:rPr>
                <a:t>ATD WEB</a:t>
              </a:r>
            </a:p>
          </p:txBody>
        </p:sp>
        <p:sp>
          <p:nvSpPr>
            <p:cNvPr id="45" name="Rettangolo 121">
              <a:extLst>
                <a:ext uri="{FF2B5EF4-FFF2-40B4-BE49-F238E27FC236}">
                  <a16:creationId xmlns:a16="http://schemas.microsoft.com/office/drawing/2014/main" id="{968B33BC-3DC7-4205-8C42-4DF4AF9C4512}"/>
                </a:ext>
              </a:extLst>
            </p:cNvPr>
            <p:cNvSpPr/>
            <p:nvPr/>
          </p:nvSpPr>
          <p:spPr>
            <a:xfrm>
              <a:off x="5474614" y="4195755"/>
              <a:ext cx="288000" cy="2160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800" b="0" i="0" u="none" strike="noStrike" kern="1200" cap="none" spc="0" normalizeH="0" baseline="0" noProof="0" dirty="0">
                  <a:ln>
                    <a:noFill/>
                  </a:ln>
                  <a:solidFill>
                    <a:prstClr val="white"/>
                  </a:solidFill>
                  <a:effectLst/>
                  <a:uLnTx/>
                  <a:uFillTx/>
                  <a:latin typeface="UniCredit"/>
                  <a:ea typeface="+mn-ea"/>
                  <a:cs typeface="+mn-cs"/>
                </a:rPr>
                <a:t>CERI</a:t>
              </a:r>
            </a:p>
          </p:txBody>
        </p:sp>
        <p:sp>
          <p:nvSpPr>
            <p:cNvPr id="46" name="Rettangolo 122">
              <a:extLst>
                <a:ext uri="{FF2B5EF4-FFF2-40B4-BE49-F238E27FC236}">
                  <a16:creationId xmlns:a16="http://schemas.microsoft.com/office/drawing/2014/main" id="{F5FC61CA-8CB6-423E-B409-A4E45665AFB0}"/>
                </a:ext>
              </a:extLst>
            </p:cNvPr>
            <p:cNvSpPr/>
            <p:nvPr/>
          </p:nvSpPr>
          <p:spPr>
            <a:xfrm>
              <a:off x="5077471" y="4456786"/>
              <a:ext cx="288000" cy="2160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800" b="0" i="0" u="none" strike="noStrike" kern="1200" cap="none" spc="0" normalizeH="0" baseline="0" noProof="0" dirty="0">
                  <a:ln>
                    <a:noFill/>
                  </a:ln>
                  <a:solidFill>
                    <a:prstClr val="white"/>
                  </a:solidFill>
                  <a:effectLst/>
                  <a:uLnTx/>
                  <a:uFillTx/>
                  <a:latin typeface="UniCredit"/>
                  <a:ea typeface="+mn-ea"/>
                  <a:cs typeface="+mn-cs"/>
                </a:rPr>
                <a:t>CEBI</a:t>
              </a:r>
            </a:p>
          </p:txBody>
        </p:sp>
        <p:sp>
          <p:nvSpPr>
            <p:cNvPr id="47" name="Rettangolo 123">
              <a:extLst>
                <a:ext uri="{FF2B5EF4-FFF2-40B4-BE49-F238E27FC236}">
                  <a16:creationId xmlns:a16="http://schemas.microsoft.com/office/drawing/2014/main" id="{732A21B3-7506-426D-BC24-4A27D818F8A9}"/>
                </a:ext>
              </a:extLst>
            </p:cNvPr>
            <p:cNvSpPr/>
            <p:nvPr/>
          </p:nvSpPr>
          <p:spPr>
            <a:xfrm>
              <a:off x="5474614" y="4456786"/>
              <a:ext cx="288000" cy="2160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800" b="0" i="0" u="none" strike="noStrike" kern="1200" cap="none" spc="0" normalizeH="0" baseline="0" noProof="0" dirty="0">
                  <a:ln>
                    <a:noFill/>
                  </a:ln>
                  <a:solidFill>
                    <a:prstClr val="white"/>
                  </a:solidFill>
                  <a:effectLst/>
                  <a:uLnTx/>
                  <a:uFillTx/>
                  <a:latin typeface="UniCredit"/>
                  <a:ea typeface="+mn-ea"/>
                  <a:cs typeface="+mn-cs"/>
                </a:rPr>
                <a:t>CLC</a:t>
              </a:r>
            </a:p>
          </p:txBody>
        </p:sp>
        <p:sp>
          <p:nvSpPr>
            <p:cNvPr id="48" name="Rettangolo 124">
              <a:extLst>
                <a:ext uri="{FF2B5EF4-FFF2-40B4-BE49-F238E27FC236}">
                  <a16:creationId xmlns:a16="http://schemas.microsoft.com/office/drawing/2014/main" id="{7A091C30-383C-444C-A05A-90A2765ED4A5}"/>
                </a:ext>
              </a:extLst>
            </p:cNvPr>
            <p:cNvSpPr/>
            <p:nvPr/>
          </p:nvSpPr>
          <p:spPr>
            <a:xfrm>
              <a:off x="5077471" y="4717814"/>
              <a:ext cx="288000" cy="2160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800" b="0" i="0" u="none" strike="noStrike" kern="1200" cap="none" spc="0" normalizeH="0" baseline="0" noProof="0" dirty="0" err="1">
                  <a:ln>
                    <a:noFill/>
                  </a:ln>
                  <a:solidFill>
                    <a:prstClr val="white"/>
                  </a:solidFill>
                  <a:effectLst/>
                  <a:uLnTx/>
                  <a:uFillTx/>
                  <a:latin typeface="UniCredit"/>
                  <a:ea typeface="+mn-ea"/>
                  <a:cs typeface="+mn-cs"/>
                </a:rPr>
                <a:t>Glanos</a:t>
              </a:r>
              <a:endParaRPr kumimoji="0" lang="it-IT" sz="800" b="0" i="0" u="none" strike="noStrike" kern="1200" cap="none" spc="0" normalizeH="0" baseline="0" noProof="0" dirty="0">
                <a:ln>
                  <a:noFill/>
                </a:ln>
                <a:solidFill>
                  <a:prstClr val="white"/>
                </a:solidFill>
                <a:effectLst/>
                <a:uLnTx/>
                <a:uFillTx/>
                <a:latin typeface="UniCredit"/>
                <a:ea typeface="+mn-ea"/>
                <a:cs typeface="+mn-cs"/>
              </a:endParaRPr>
            </a:p>
          </p:txBody>
        </p:sp>
        <p:sp>
          <p:nvSpPr>
            <p:cNvPr id="49" name="Rettangolo 127">
              <a:extLst>
                <a:ext uri="{FF2B5EF4-FFF2-40B4-BE49-F238E27FC236}">
                  <a16:creationId xmlns:a16="http://schemas.microsoft.com/office/drawing/2014/main" id="{10446A36-0CC4-4574-96EF-AF0172854965}"/>
                </a:ext>
              </a:extLst>
            </p:cNvPr>
            <p:cNvSpPr/>
            <p:nvPr/>
          </p:nvSpPr>
          <p:spPr>
            <a:xfrm>
              <a:off x="5474614" y="4717814"/>
              <a:ext cx="288000" cy="2160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800" b="0" i="0" u="none" strike="noStrike" kern="1200" cap="none" spc="0" normalizeH="0" baseline="0" noProof="0" dirty="0">
                  <a:ln>
                    <a:noFill/>
                  </a:ln>
                  <a:solidFill>
                    <a:prstClr val="white"/>
                  </a:solidFill>
                  <a:effectLst/>
                  <a:uLnTx/>
                  <a:uFillTx/>
                  <a:latin typeface="UniCredit"/>
                  <a:ea typeface="+mn-ea"/>
                  <a:cs typeface="+mn-cs"/>
                </a:rPr>
                <a:t>4BE</a:t>
              </a:r>
            </a:p>
          </p:txBody>
        </p:sp>
        <p:sp>
          <p:nvSpPr>
            <p:cNvPr id="50" name="Rettangolo 128">
              <a:extLst>
                <a:ext uri="{FF2B5EF4-FFF2-40B4-BE49-F238E27FC236}">
                  <a16:creationId xmlns:a16="http://schemas.microsoft.com/office/drawing/2014/main" id="{C5A4B192-BF51-4897-9D0D-123DA3EB6CDC}"/>
                </a:ext>
              </a:extLst>
            </p:cNvPr>
            <p:cNvSpPr/>
            <p:nvPr/>
          </p:nvSpPr>
          <p:spPr>
            <a:xfrm>
              <a:off x="5474614" y="802352"/>
              <a:ext cx="288000" cy="2160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800" b="0" i="0" u="none" strike="noStrike" kern="1200" cap="none" spc="0" normalizeH="0" baseline="0" noProof="0" dirty="0">
                  <a:ln>
                    <a:noFill/>
                  </a:ln>
                  <a:solidFill>
                    <a:prstClr val="white"/>
                  </a:solidFill>
                  <a:effectLst/>
                  <a:uLnTx/>
                  <a:uFillTx/>
                  <a:latin typeface="UniCredit"/>
                  <a:ea typeface="+mn-ea"/>
                  <a:cs typeface="+mn-cs"/>
                </a:rPr>
                <a:t>ANW</a:t>
              </a:r>
            </a:p>
          </p:txBody>
        </p:sp>
      </p:grpSp>
      <p:grpSp>
        <p:nvGrpSpPr>
          <p:cNvPr id="5" name="Group 4">
            <a:extLst>
              <a:ext uri="{FF2B5EF4-FFF2-40B4-BE49-F238E27FC236}">
                <a16:creationId xmlns:a16="http://schemas.microsoft.com/office/drawing/2014/main" id="{8C549460-FD4A-45B4-B3E4-B77506A02EDB}"/>
              </a:ext>
            </a:extLst>
          </p:cNvPr>
          <p:cNvGrpSpPr/>
          <p:nvPr/>
        </p:nvGrpSpPr>
        <p:grpSpPr>
          <a:xfrm>
            <a:off x="4504694" y="754287"/>
            <a:ext cx="934769" cy="3543704"/>
            <a:chOff x="162761" y="816128"/>
            <a:chExt cx="934769" cy="3543704"/>
          </a:xfrm>
        </p:grpSpPr>
        <p:sp>
          <p:nvSpPr>
            <p:cNvPr id="51" name="Rettangolo 2">
              <a:extLst>
                <a:ext uri="{FF2B5EF4-FFF2-40B4-BE49-F238E27FC236}">
                  <a16:creationId xmlns:a16="http://schemas.microsoft.com/office/drawing/2014/main" id="{9CDA676D-9EE4-47ED-B942-FCE7D5606994}"/>
                </a:ext>
              </a:extLst>
            </p:cNvPr>
            <p:cNvSpPr/>
            <p:nvPr/>
          </p:nvSpPr>
          <p:spPr>
            <a:xfrm>
              <a:off x="162761" y="2900057"/>
              <a:ext cx="914606" cy="1459775"/>
            </a:xfrm>
            <a:prstGeom prst="rect">
              <a:avLst/>
            </a:prstGeom>
            <a:solidFill>
              <a:schemeClr val="accent3">
                <a:lumMod val="20000"/>
                <a:lumOff val="80000"/>
              </a:schemeClr>
            </a:solidFill>
            <a:ln w="12700">
              <a:solidFill>
                <a:schemeClr val="accent3">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800" b="1" i="0" u="none" strike="noStrike" kern="1200" cap="none" spc="0" normalizeH="0" baseline="0" noProof="0" dirty="0" err="1">
                  <a:ln>
                    <a:noFill/>
                  </a:ln>
                  <a:solidFill>
                    <a:prstClr val="black"/>
                  </a:solidFill>
                  <a:effectLst/>
                  <a:uLnTx/>
                  <a:uFillTx/>
                  <a:latin typeface="UniCredit"/>
                  <a:ea typeface="+mn-ea"/>
                  <a:cs typeface="+mn-cs"/>
                </a:rPr>
                <a:t>Channels</a:t>
              </a:r>
              <a:endParaRPr kumimoji="0" lang="it-IT" sz="800" b="1" i="0" u="none" strike="noStrike" kern="1200" cap="none" spc="0" normalizeH="0" baseline="0" noProof="0" dirty="0">
                <a:ln>
                  <a:noFill/>
                </a:ln>
                <a:solidFill>
                  <a:prstClr val="black"/>
                </a:solidFill>
                <a:effectLst/>
                <a:uLnTx/>
                <a:uFillTx/>
                <a:latin typeface="UniCredit"/>
                <a:ea typeface="+mn-ea"/>
                <a:cs typeface="+mn-cs"/>
              </a:endParaRPr>
            </a:p>
          </p:txBody>
        </p:sp>
        <p:sp>
          <p:nvSpPr>
            <p:cNvPr id="52" name="Rettangolo 2">
              <a:extLst>
                <a:ext uri="{FF2B5EF4-FFF2-40B4-BE49-F238E27FC236}">
                  <a16:creationId xmlns:a16="http://schemas.microsoft.com/office/drawing/2014/main" id="{14166824-FE94-4D17-9DDC-30734A119ED6}"/>
                </a:ext>
              </a:extLst>
            </p:cNvPr>
            <p:cNvSpPr/>
            <p:nvPr/>
          </p:nvSpPr>
          <p:spPr>
            <a:xfrm>
              <a:off x="182924" y="816128"/>
              <a:ext cx="914606" cy="1989049"/>
            </a:xfrm>
            <a:prstGeom prst="rect">
              <a:avLst/>
            </a:prstGeom>
            <a:solidFill>
              <a:schemeClr val="accent3">
                <a:lumMod val="20000"/>
                <a:lumOff val="80000"/>
              </a:schemeClr>
            </a:solidFill>
            <a:ln w="12700">
              <a:solidFill>
                <a:schemeClr val="accent3">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800" b="1" i="0" u="none" strike="noStrike" kern="1200" cap="none" spc="0" normalizeH="0" baseline="0" noProof="0" dirty="0" err="1">
                  <a:ln>
                    <a:noFill/>
                  </a:ln>
                  <a:solidFill>
                    <a:prstClr val="black"/>
                  </a:solidFill>
                  <a:effectLst/>
                  <a:uLnTx/>
                  <a:uFillTx/>
                  <a:latin typeface="UniCredit"/>
                  <a:ea typeface="+mn-ea"/>
                  <a:cs typeface="+mn-cs"/>
                </a:rPr>
                <a:t>External</a:t>
              </a:r>
              <a:r>
                <a:rPr kumimoji="0" lang="it-IT" sz="800" b="1" i="0" u="none" strike="noStrike" kern="1200" cap="none" spc="0" normalizeH="0" baseline="0" noProof="0" dirty="0">
                  <a:ln>
                    <a:noFill/>
                  </a:ln>
                  <a:solidFill>
                    <a:prstClr val="black"/>
                  </a:solidFill>
                  <a:effectLst/>
                  <a:uLnTx/>
                  <a:uFillTx/>
                  <a:latin typeface="UniCredit"/>
                  <a:ea typeface="+mn-ea"/>
                  <a:cs typeface="+mn-cs"/>
                </a:rPr>
                <a:t> partner networks</a:t>
              </a:r>
            </a:p>
          </p:txBody>
        </p:sp>
        <p:sp>
          <p:nvSpPr>
            <p:cNvPr id="53" name="Rettangolo 18">
              <a:extLst>
                <a:ext uri="{FF2B5EF4-FFF2-40B4-BE49-F238E27FC236}">
                  <a16:creationId xmlns:a16="http://schemas.microsoft.com/office/drawing/2014/main" id="{CE890E13-86A3-4C35-B22B-BDAD313749AE}"/>
                </a:ext>
              </a:extLst>
            </p:cNvPr>
            <p:cNvSpPr/>
            <p:nvPr/>
          </p:nvSpPr>
          <p:spPr>
            <a:xfrm>
              <a:off x="290934" y="935986"/>
              <a:ext cx="653209" cy="324000"/>
            </a:xfrm>
            <a:prstGeom prst="rect">
              <a:avLst/>
            </a:prstGeom>
            <a:solidFill>
              <a:schemeClr val="tx2"/>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800" b="1" i="0" u="none" strike="noStrike" kern="1200" cap="none" spc="0" normalizeH="0" baseline="0" noProof="0" dirty="0">
                  <a:ln>
                    <a:noFill/>
                  </a:ln>
                  <a:solidFill>
                    <a:prstClr val="white"/>
                  </a:solidFill>
                  <a:effectLst/>
                  <a:uLnTx/>
                  <a:uFillTx/>
                  <a:latin typeface="UniCredit"/>
                  <a:ea typeface="+mn-ea"/>
                  <a:cs typeface="+mn-cs"/>
                </a:rPr>
                <a:t>Afrodite</a:t>
              </a:r>
            </a:p>
          </p:txBody>
        </p:sp>
        <p:sp>
          <p:nvSpPr>
            <p:cNvPr id="54" name="Rettangolo 19">
              <a:extLst>
                <a:ext uri="{FF2B5EF4-FFF2-40B4-BE49-F238E27FC236}">
                  <a16:creationId xmlns:a16="http://schemas.microsoft.com/office/drawing/2014/main" id="{ADBC16E0-0942-4AFF-B320-CE594F244631}"/>
                </a:ext>
              </a:extLst>
            </p:cNvPr>
            <p:cNvSpPr/>
            <p:nvPr/>
          </p:nvSpPr>
          <p:spPr>
            <a:xfrm>
              <a:off x="290934" y="1321418"/>
              <a:ext cx="653209" cy="324000"/>
            </a:xfrm>
            <a:prstGeom prst="rect">
              <a:avLst/>
            </a:prstGeom>
            <a:solidFill>
              <a:schemeClr val="tx2"/>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800" b="1" i="0" u="none" strike="noStrike" kern="1200" cap="none" spc="0" normalizeH="0" baseline="0" noProof="0" dirty="0">
                  <a:ln>
                    <a:noFill/>
                  </a:ln>
                  <a:solidFill>
                    <a:prstClr val="white"/>
                  </a:solidFill>
                  <a:effectLst/>
                  <a:uLnTx/>
                  <a:uFillTx/>
                  <a:latin typeface="UniCredit"/>
                  <a:ea typeface="+mn-ea"/>
                  <a:cs typeface="+mn-cs"/>
                </a:rPr>
                <a:t>CTC farm</a:t>
              </a:r>
            </a:p>
          </p:txBody>
        </p:sp>
        <p:sp>
          <p:nvSpPr>
            <p:cNvPr id="56" name="Rettangolo 22">
              <a:extLst>
                <a:ext uri="{FF2B5EF4-FFF2-40B4-BE49-F238E27FC236}">
                  <a16:creationId xmlns:a16="http://schemas.microsoft.com/office/drawing/2014/main" id="{B87A4BA6-22A9-4C98-8994-C12A165EB1B0}"/>
                </a:ext>
              </a:extLst>
            </p:cNvPr>
            <p:cNvSpPr/>
            <p:nvPr/>
          </p:nvSpPr>
          <p:spPr>
            <a:xfrm>
              <a:off x="290934" y="1742589"/>
              <a:ext cx="653209" cy="324000"/>
            </a:xfrm>
            <a:prstGeom prst="rect">
              <a:avLst/>
            </a:prstGeom>
            <a:solidFill>
              <a:schemeClr val="tx2"/>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800" b="1" i="0" u="none" strike="noStrike" kern="1200" cap="none" spc="0" normalizeH="0" baseline="0" noProof="0" dirty="0" err="1">
                  <a:ln>
                    <a:noFill/>
                  </a:ln>
                  <a:solidFill>
                    <a:prstClr val="white"/>
                  </a:solidFill>
                  <a:effectLst/>
                  <a:uLnTx/>
                  <a:uFillTx/>
                  <a:latin typeface="UniCredit"/>
                  <a:ea typeface="+mn-ea"/>
                  <a:cs typeface="+mn-cs"/>
                </a:rPr>
                <a:t>Experlan</a:t>
              </a:r>
              <a:endParaRPr kumimoji="0" lang="it-IT" sz="800" b="1" i="0" u="none" strike="noStrike" kern="1200" cap="none" spc="0" normalizeH="0" baseline="0" noProof="0" dirty="0">
                <a:ln>
                  <a:noFill/>
                </a:ln>
                <a:solidFill>
                  <a:prstClr val="white"/>
                </a:solidFill>
                <a:effectLst/>
                <a:uLnTx/>
                <a:uFillTx/>
                <a:latin typeface="UniCredit"/>
                <a:ea typeface="+mn-ea"/>
                <a:cs typeface="+mn-cs"/>
              </a:endParaRPr>
            </a:p>
          </p:txBody>
        </p:sp>
        <p:sp>
          <p:nvSpPr>
            <p:cNvPr id="57" name="Rettangolo 23">
              <a:extLst>
                <a:ext uri="{FF2B5EF4-FFF2-40B4-BE49-F238E27FC236}">
                  <a16:creationId xmlns:a16="http://schemas.microsoft.com/office/drawing/2014/main" id="{4150B8F9-784A-408E-A7D8-ACB27443DB59}"/>
                </a:ext>
              </a:extLst>
            </p:cNvPr>
            <p:cNvSpPr/>
            <p:nvPr/>
          </p:nvSpPr>
          <p:spPr>
            <a:xfrm>
              <a:off x="290934" y="2161469"/>
              <a:ext cx="653209" cy="324000"/>
            </a:xfrm>
            <a:prstGeom prst="rect">
              <a:avLst/>
            </a:prstGeom>
            <a:solidFill>
              <a:schemeClr val="tx2"/>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800" b="1" i="0" u="none" strike="noStrike" kern="1200" cap="none" spc="0" normalizeH="0" baseline="0" noProof="0" dirty="0">
                  <a:ln>
                    <a:noFill/>
                  </a:ln>
                  <a:solidFill>
                    <a:prstClr val="white"/>
                  </a:solidFill>
                  <a:effectLst/>
                  <a:uLnTx/>
                  <a:uFillTx/>
                  <a:latin typeface="UniCredit"/>
                  <a:ea typeface="+mn-ea"/>
                  <a:cs typeface="+mn-cs"/>
                </a:rPr>
                <a:t>CERVED </a:t>
              </a:r>
              <a:r>
                <a:rPr kumimoji="0" lang="it-IT" sz="800" b="1" i="0" u="none" strike="noStrike" kern="1200" cap="none" spc="0" normalizeH="0" baseline="0" noProof="0" dirty="0" err="1">
                  <a:ln>
                    <a:noFill/>
                  </a:ln>
                  <a:solidFill>
                    <a:prstClr val="white"/>
                  </a:solidFill>
                  <a:effectLst/>
                  <a:uLnTx/>
                  <a:uFillTx/>
                  <a:latin typeface="UniCredit"/>
                  <a:ea typeface="+mn-ea"/>
                  <a:cs typeface="+mn-cs"/>
                </a:rPr>
                <a:t>Blos</a:t>
              </a:r>
              <a:endParaRPr kumimoji="0" lang="it-IT" sz="800" b="1" i="0" u="none" strike="noStrike" kern="1200" cap="none" spc="0" normalizeH="0" baseline="0" noProof="0" dirty="0">
                <a:ln>
                  <a:noFill/>
                </a:ln>
                <a:solidFill>
                  <a:prstClr val="white"/>
                </a:solidFill>
                <a:effectLst/>
                <a:uLnTx/>
                <a:uFillTx/>
                <a:latin typeface="UniCredit"/>
                <a:ea typeface="+mn-ea"/>
                <a:cs typeface="+mn-cs"/>
              </a:endParaRPr>
            </a:p>
          </p:txBody>
        </p:sp>
        <p:sp>
          <p:nvSpPr>
            <p:cNvPr id="58" name="Rettangolo 210">
              <a:extLst>
                <a:ext uri="{FF2B5EF4-FFF2-40B4-BE49-F238E27FC236}">
                  <a16:creationId xmlns:a16="http://schemas.microsoft.com/office/drawing/2014/main" id="{27A9E058-CDF3-4BD8-B3B5-F36D8B50606D}"/>
                </a:ext>
              </a:extLst>
            </p:cNvPr>
            <p:cNvSpPr/>
            <p:nvPr/>
          </p:nvSpPr>
          <p:spPr>
            <a:xfrm>
              <a:off x="290934" y="3369758"/>
              <a:ext cx="653209" cy="324000"/>
            </a:xfrm>
            <a:prstGeom prst="rect">
              <a:avLst/>
            </a:prstGeom>
            <a:solidFill>
              <a:schemeClr val="accent1"/>
            </a:solidFill>
            <a:ln w="12700">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800" b="1" i="0" u="none" strike="noStrike" kern="1200" cap="none" spc="0" normalizeH="0" baseline="0" noProof="0" dirty="0">
                  <a:ln>
                    <a:noFill/>
                  </a:ln>
                  <a:solidFill>
                    <a:prstClr val="white"/>
                  </a:solidFill>
                  <a:effectLst/>
                  <a:uLnTx/>
                  <a:uFillTx/>
                  <a:latin typeface="UniCredit"/>
                  <a:ea typeface="+mn-ea"/>
                  <a:cs typeface="+mn-cs"/>
                </a:rPr>
                <a:t>GIMB</a:t>
              </a:r>
            </a:p>
          </p:txBody>
        </p:sp>
        <p:sp>
          <p:nvSpPr>
            <p:cNvPr id="59" name="Rettangolo 211">
              <a:extLst>
                <a:ext uri="{FF2B5EF4-FFF2-40B4-BE49-F238E27FC236}">
                  <a16:creationId xmlns:a16="http://schemas.microsoft.com/office/drawing/2014/main" id="{B6F9663A-CDA9-4EA4-91DA-A5F185F83F99}"/>
                </a:ext>
              </a:extLst>
            </p:cNvPr>
            <p:cNvSpPr/>
            <p:nvPr/>
          </p:nvSpPr>
          <p:spPr>
            <a:xfrm>
              <a:off x="290934" y="3752834"/>
              <a:ext cx="653209" cy="360000"/>
            </a:xfrm>
            <a:prstGeom prst="rect">
              <a:avLst/>
            </a:prstGeom>
            <a:solidFill>
              <a:schemeClr val="accent1"/>
            </a:solidFill>
            <a:ln w="12700">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800" b="1" i="0" u="none" strike="noStrike" kern="1200" cap="none" spc="0" normalizeH="0" baseline="0" noProof="0" dirty="0">
                  <a:ln>
                    <a:noFill/>
                  </a:ln>
                  <a:solidFill>
                    <a:prstClr val="white"/>
                  </a:solidFill>
                  <a:effectLst/>
                  <a:uLnTx/>
                  <a:uFillTx/>
                  <a:latin typeface="UniCredit"/>
                  <a:ea typeface="+mn-ea"/>
                  <a:cs typeface="+mn-cs"/>
                </a:rPr>
                <a:t>Buddy Bank</a:t>
              </a:r>
            </a:p>
          </p:txBody>
        </p:sp>
      </p:grpSp>
      <p:grpSp>
        <p:nvGrpSpPr>
          <p:cNvPr id="114" name="Group 113">
            <a:extLst>
              <a:ext uri="{FF2B5EF4-FFF2-40B4-BE49-F238E27FC236}">
                <a16:creationId xmlns:a16="http://schemas.microsoft.com/office/drawing/2014/main" id="{44E916DA-1CC5-4301-9B32-170A5419D390}"/>
              </a:ext>
            </a:extLst>
          </p:cNvPr>
          <p:cNvGrpSpPr/>
          <p:nvPr/>
        </p:nvGrpSpPr>
        <p:grpSpPr>
          <a:xfrm>
            <a:off x="5832000" y="868429"/>
            <a:ext cx="3166270" cy="3491403"/>
            <a:chOff x="6791237" y="901694"/>
            <a:chExt cx="2189760" cy="3354225"/>
          </a:xfrm>
        </p:grpSpPr>
        <p:sp>
          <p:nvSpPr>
            <p:cNvPr id="115" name="Rettangolo con angoli arrotondati in diagonale 102">
              <a:extLst>
                <a:ext uri="{FF2B5EF4-FFF2-40B4-BE49-F238E27FC236}">
                  <a16:creationId xmlns:a16="http://schemas.microsoft.com/office/drawing/2014/main" id="{3E92A9A1-EF04-4D04-979D-2554B684F352}"/>
                </a:ext>
              </a:extLst>
            </p:cNvPr>
            <p:cNvSpPr/>
            <p:nvPr/>
          </p:nvSpPr>
          <p:spPr>
            <a:xfrm>
              <a:off x="6791237" y="901694"/>
              <a:ext cx="2189760" cy="3354225"/>
            </a:xfrm>
            <a:prstGeom prst="round2DiagRect">
              <a:avLst>
                <a:gd name="adj1" fmla="val 1950"/>
                <a:gd name="adj2" fmla="val 0"/>
              </a:avLst>
            </a:prstGeom>
            <a:solidFill>
              <a:schemeClr val="bg1"/>
            </a:solidFill>
            <a:ln w="12700">
              <a:solidFill>
                <a:srgbClr val="C0E4ED"/>
              </a:solidFill>
            </a:ln>
          </p:spPr>
          <p:style>
            <a:lnRef idx="2">
              <a:schemeClr val="accent1">
                <a:shade val="50000"/>
              </a:schemeClr>
            </a:lnRef>
            <a:fillRef idx="1">
              <a:schemeClr val="accent1"/>
            </a:fillRef>
            <a:effectRef idx="0">
              <a:schemeClr val="accent1"/>
            </a:effectRef>
            <a:fontRef idx="minor">
              <a:schemeClr val="lt1"/>
            </a:fontRef>
          </p:style>
          <p:txBody>
            <a:bodyPr tIns="360000" rtlCol="0" anchor="t" anchorCtr="0">
              <a:noAutofit/>
            </a:bodyPr>
            <a:lstStyle/>
            <a:p>
              <a:pPr marL="0" marR="0" lvl="0" indent="0" algn="l" defTabSz="685800" rtl="0" eaLnBrk="1" fontAlgn="auto" latinLnBrk="0" hangingPunct="1">
                <a:lnSpc>
                  <a:spcPct val="8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UniCredit"/>
                  <a:ea typeface="+mn-ea"/>
                  <a:cs typeface="+mn-cs"/>
                </a:rPr>
                <a:t>SOA architecture </a:t>
              </a:r>
              <a:r>
                <a:rPr kumimoji="0" lang="en-US" sz="1200" b="0" i="0" u="none" strike="noStrike" kern="1200" cap="none" spc="0" normalizeH="0" baseline="0" noProof="0" dirty="0">
                  <a:ln>
                    <a:noFill/>
                  </a:ln>
                  <a:solidFill>
                    <a:prstClr val="black"/>
                  </a:solidFill>
                  <a:effectLst/>
                  <a:uLnTx/>
                  <a:uFillTx/>
                  <a:latin typeface="UniCredit"/>
                  <a:ea typeface="+mn-ea"/>
                  <a:cs typeface="+mn-cs"/>
                </a:rPr>
                <a:t>tightly coupled with an high number of legacies</a:t>
              </a:r>
            </a:p>
            <a:p>
              <a:pPr marL="0" marR="0" lvl="0" indent="0" algn="l" defTabSz="685800" rtl="0" eaLnBrk="1" fontAlgn="auto" latinLnBrk="0" hangingPunct="1">
                <a:lnSpc>
                  <a:spcPct val="8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UniCredit"/>
                <a:ea typeface="+mn-ea"/>
                <a:cs typeface="+mn-cs"/>
              </a:endParaRPr>
            </a:p>
            <a:p>
              <a:pPr marL="0" marR="0" lvl="0" indent="0" algn="l" defTabSz="685800" rtl="0" eaLnBrk="1" fontAlgn="auto" latinLnBrk="0" hangingPunct="1">
                <a:lnSpc>
                  <a:spcPct val="8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UniCredit"/>
                  <a:ea typeface="+mn-ea"/>
                  <a:cs typeface="+mn-cs"/>
                </a:rPr>
                <a:t>Several UB* </a:t>
              </a:r>
              <a:r>
                <a:rPr kumimoji="0" lang="en-US" sz="1200" b="1" i="1" u="none" strike="noStrike" kern="1200" cap="none" spc="0" normalizeH="0" baseline="0" noProof="0" dirty="0">
                  <a:ln>
                    <a:noFill/>
                  </a:ln>
                  <a:solidFill>
                    <a:prstClr val="black"/>
                  </a:solidFill>
                  <a:effectLst/>
                  <a:uLnTx/>
                  <a:uFillTx/>
                  <a:latin typeface="UniCredit"/>
                  <a:ea typeface="+mn-ea"/>
                  <a:cs typeface="+mn-cs"/>
                </a:rPr>
                <a:t>Verticals</a:t>
              </a:r>
              <a:r>
                <a:rPr kumimoji="0" lang="en-US" sz="1200" b="1" i="0" u="none" strike="noStrike" kern="1200" cap="none" spc="0" normalizeH="0" baseline="0" noProof="0" dirty="0">
                  <a:ln>
                    <a:noFill/>
                  </a:ln>
                  <a:solidFill>
                    <a:prstClr val="black"/>
                  </a:solidFill>
                  <a:effectLst/>
                  <a:uLnTx/>
                  <a:uFillTx/>
                  <a:latin typeface="UniCredit"/>
                  <a:ea typeface="+mn-ea"/>
                  <a:cs typeface="+mn-cs"/>
                </a:rPr>
                <a:t> web app </a:t>
              </a:r>
              <a:r>
                <a:rPr kumimoji="0" lang="en-US" sz="1200" b="0" i="0" u="none" strike="noStrike" kern="1200" cap="none" spc="0" normalizeH="0" baseline="0" noProof="0" dirty="0">
                  <a:ln>
                    <a:noFill/>
                  </a:ln>
                  <a:solidFill>
                    <a:prstClr val="black"/>
                  </a:solidFill>
                  <a:effectLst/>
                  <a:uLnTx/>
                  <a:uFillTx/>
                  <a:latin typeface="UniCredit"/>
                  <a:ea typeface="+mn-ea"/>
                  <a:cs typeface="+mn-cs"/>
                </a:rPr>
                <a:t>applications with functional specialization (Loans, Credit Cards, </a:t>
              </a:r>
              <a:r>
                <a:rPr kumimoji="0" lang="en-US" sz="1200" b="0" i="0" u="none" strike="noStrike" kern="1200" cap="none" spc="0" normalizeH="0" baseline="0" noProof="0" dirty="0" err="1">
                  <a:ln>
                    <a:noFill/>
                  </a:ln>
                  <a:solidFill>
                    <a:prstClr val="black"/>
                  </a:solidFill>
                  <a:effectLst/>
                  <a:uLnTx/>
                  <a:uFillTx/>
                  <a:latin typeface="UniCredit"/>
                  <a:ea typeface="+mn-ea"/>
                  <a:cs typeface="+mn-cs"/>
                </a:rPr>
                <a:t>Morgages</a:t>
              </a:r>
              <a:r>
                <a:rPr kumimoji="0" lang="en-US" sz="1200" b="0" i="0" u="none" strike="noStrike" kern="1200" cap="none" spc="0" normalizeH="0" baseline="0" noProof="0" dirty="0">
                  <a:ln>
                    <a:noFill/>
                  </a:ln>
                  <a:solidFill>
                    <a:prstClr val="black"/>
                  </a:solidFill>
                  <a:effectLst/>
                  <a:uLnTx/>
                  <a:uFillTx/>
                  <a:latin typeface="UniCredit"/>
                  <a:ea typeface="+mn-ea"/>
                  <a:cs typeface="+mn-cs"/>
                </a:rPr>
                <a:t>, etc. ):</a:t>
              </a:r>
            </a:p>
            <a:p>
              <a:pPr marL="171450" marR="0" lvl="0" indent="-171450" algn="l" defTabSz="685800" rtl="0" eaLnBrk="1" fontAlgn="auto" latinLnBrk="0" hangingPunct="1">
                <a:lnSpc>
                  <a:spcPct val="8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prstClr val="black"/>
                  </a:solidFill>
                  <a:effectLst/>
                  <a:uLnTx/>
                  <a:uFillTx/>
                  <a:latin typeface="UniCredit"/>
                  <a:ea typeface="+mn-ea"/>
                  <a:cs typeface="+mn-cs"/>
                </a:rPr>
                <a:t>UB4 SME multi-product</a:t>
              </a:r>
            </a:p>
            <a:p>
              <a:pPr marL="171450" marR="0" lvl="0" indent="-171450" algn="l" defTabSz="685800" rtl="0" eaLnBrk="1" fontAlgn="auto" latinLnBrk="0" hangingPunct="1">
                <a:lnSpc>
                  <a:spcPct val="8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prstClr val="black"/>
                  </a:solidFill>
                  <a:effectLst/>
                  <a:uLnTx/>
                  <a:uFillTx/>
                  <a:latin typeface="UniCredit"/>
                  <a:ea typeface="+mn-ea"/>
                  <a:cs typeface="+mn-cs"/>
                </a:rPr>
                <a:t>UB5 Easy Loan – pre sales tool</a:t>
              </a:r>
            </a:p>
            <a:p>
              <a:pPr marL="171450" marR="0" lvl="0" indent="-171450" algn="l" defTabSz="685800" rtl="0" eaLnBrk="1" fontAlgn="auto" latinLnBrk="0" hangingPunct="1">
                <a:lnSpc>
                  <a:spcPct val="8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UniCredit"/>
                  <a:ea typeface="+mn-ea"/>
                  <a:cs typeface="+mn-cs"/>
                </a:rPr>
                <a:t>UMF and </a:t>
              </a:r>
              <a:r>
                <a:rPr kumimoji="0" lang="en-US" sz="1200" b="1" i="0" u="none" strike="noStrike" kern="1200" cap="none" spc="0" normalizeH="0" baseline="0" noProof="0" dirty="0">
                  <a:ln>
                    <a:noFill/>
                  </a:ln>
                  <a:solidFill>
                    <a:prstClr val="black"/>
                  </a:solidFill>
                  <a:effectLst/>
                  <a:uLnTx/>
                  <a:uFillTx/>
                  <a:latin typeface="UniCredit"/>
                  <a:ea typeface="+mn-ea"/>
                  <a:cs typeface="+mn-cs"/>
                </a:rPr>
                <a:t>UB1</a:t>
              </a:r>
              <a:r>
                <a:rPr kumimoji="0" lang="en-US" sz="1200" b="0" i="0" u="none" strike="noStrike" kern="1200" cap="none" spc="0" normalizeH="0" baseline="0" noProof="0" dirty="0">
                  <a:ln>
                    <a:noFill/>
                  </a:ln>
                  <a:solidFill>
                    <a:prstClr val="black"/>
                  </a:solidFill>
                  <a:effectLst/>
                  <a:uLnTx/>
                  <a:uFillTx/>
                  <a:latin typeface="UniCredit"/>
                  <a:ea typeface="+mn-ea"/>
                  <a:cs typeface="+mn-cs"/>
                </a:rPr>
                <a:t> are common Java components</a:t>
              </a:r>
            </a:p>
            <a:p>
              <a:pPr marL="0" marR="0" lvl="0" indent="0" algn="l" defTabSz="685800" rtl="0" eaLnBrk="1" fontAlgn="auto" latinLnBrk="0" hangingPunct="1">
                <a:lnSpc>
                  <a:spcPct val="8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UniCredit"/>
                <a:ea typeface="+mn-ea"/>
                <a:cs typeface="+mn-cs"/>
              </a:endParaRPr>
            </a:p>
            <a:p>
              <a:pPr marL="0" marR="0" lvl="0" indent="0" algn="l" defTabSz="685800" rtl="0" eaLnBrk="1" fontAlgn="auto" latinLnBrk="0" hangingPunct="1">
                <a:lnSpc>
                  <a:spcPct val="8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UniCredit"/>
                <a:ea typeface="+mn-ea"/>
                <a:cs typeface="+mn-cs"/>
              </a:endParaRPr>
            </a:p>
            <a:p>
              <a:pPr marL="0" marR="0" lvl="0" indent="0" algn="l" defTabSz="685800" rtl="0" eaLnBrk="1" fontAlgn="auto" latinLnBrk="0" hangingPunct="1">
                <a:lnSpc>
                  <a:spcPct val="8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UniCredit"/>
                <a:ea typeface="+mn-ea"/>
                <a:cs typeface="+mn-cs"/>
              </a:endParaRPr>
            </a:p>
            <a:p>
              <a:pPr marL="0" marR="0" lvl="0" indent="0" algn="l" defTabSz="685800" rtl="0" eaLnBrk="1" fontAlgn="auto" latinLnBrk="0" hangingPunct="1">
                <a:lnSpc>
                  <a:spcPct val="8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UniCredit"/>
                <a:ea typeface="+mn-ea"/>
                <a:cs typeface="+mn-cs"/>
              </a:endParaRPr>
            </a:p>
            <a:p>
              <a:pPr marL="0" marR="0" lvl="0" indent="0" algn="l" defTabSz="685800" rtl="0" eaLnBrk="1" fontAlgn="auto" latinLnBrk="0" hangingPunct="1">
                <a:lnSpc>
                  <a:spcPct val="8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UniCredit"/>
                <a:ea typeface="+mn-ea"/>
                <a:cs typeface="+mn-cs"/>
              </a:endParaRPr>
            </a:p>
            <a:p>
              <a:pPr marL="0" marR="0" lvl="0" indent="0" algn="l" defTabSz="685800" rtl="0" eaLnBrk="1" fontAlgn="auto" latinLnBrk="0" hangingPunct="1">
                <a:lnSpc>
                  <a:spcPct val="8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UniCredit"/>
                <a:ea typeface="+mn-ea"/>
                <a:cs typeface="+mn-cs"/>
              </a:endParaRPr>
            </a:p>
            <a:p>
              <a:pPr marL="0" marR="0" lvl="0" indent="0" algn="l" defTabSz="685800" rtl="0" eaLnBrk="1" fontAlgn="auto" latinLnBrk="0" hangingPunct="1">
                <a:lnSpc>
                  <a:spcPct val="8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UniCredit"/>
                <a:ea typeface="+mn-ea"/>
                <a:cs typeface="+mn-cs"/>
              </a:endParaRPr>
            </a:p>
            <a:p>
              <a:pPr marL="0" marR="0" lvl="0" indent="0" algn="l" defTabSz="685800" rtl="0" eaLnBrk="1" fontAlgn="auto" latinLnBrk="0" hangingPunct="1">
                <a:lnSpc>
                  <a:spcPct val="8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UniCredit"/>
                <a:ea typeface="+mn-ea"/>
                <a:cs typeface="+mn-cs"/>
              </a:endParaRPr>
            </a:p>
            <a:p>
              <a:pPr marL="0" marR="0" lvl="0" indent="0" algn="l" defTabSz="685800" rtl="0" eaLnBrk="1" fontAlgn="auto" latinLnBrk="0" hangingPunct="1">
                <a:lnSpc>
                  <a:spcPct val="8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UniCredit"/>
                  <a:ea typeface="+mn-ea"/>
                  <a:cs typeface="+mn-cs"/>
                </a:rPr>
                <a:t>Front-end: Angular </a:t>
              </a:r>
              <a:r>
                <a:rPr kumimoji="0" lang="en-US" sz="1200" b="0" i="0" u="none" strike="noStrike" kern="1200" cap="none" spc="0" normalizeH="0" baseline="0" noProof="0" dirty="0">
                  <a:ln>
                    <a:noFill/>
                  </a:ln>
                  <a:solidFill>
                    <a:prstClr val="black"/>
                  </a:solidFill>
                  <a:effectLst/>
                  <a:uLnTx/>
                  <a:uFillTx/>
                  <a:latin typeface="UniCredit"/>
                  <a:ea typeface="+mn-ea"/>
                  <a:cs typeface="+mn-cs"/>
                </a:rPr>
                <a:t>JS and Angular 4+</a:t>
              </a:r>
            </a:p>
            <a:p>
              <a:pPr marL="0" marR="0" lvl="0" indent="0" algn="l" defTabSz="685800" rtl="0" eaLnBrk="1" fontAlgn="auto" latinLnBrk="0" hangingPunct="1">
                <a:lnSpc>
                  <a:spcPct val="8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UniCredit"/>
                  <a:ea typeface="+mn-ea"/>
                  <a:cs typeface="+mn-cs"/>
                </a:rPr>
                <a:t>Back-end: </a:t>
              </a:r>
              <a:r>
                <a:rPr kumimoji="0" lang="en-US" sz="1200" b="1" i="0" u="none" strike="noStrike" kern="1200" cap="none" spc="0" normalizeH="0" baseline="0" noProof="0" dirty="0" err="1">
                  <a:ln>
                    <a:noFill/>
                  </a:ln>
                  <a:solidFill>
                    <a:prstClr val="black"/>
                  </a:solidFill>
                  <a:effectLst/>
                  <a:uLnTx/>
                  <a:uFillTx/>
                  <a:latin typeface="UniCredit"/>
                  <a:ea typeface="+mn-ea"/>
                  <a:cs typeface="+mn-cs"/>
                </a:rPr>
                <a:t>XFrame</a:t>
              </a:r>
              <a:r>
                <a:rPr kumimoji="0" lang="en-US" sz="1200" b="1" i="0" u="none" strike="noStrike" kern="1200" cap="none" spc="0" normalizeH="0" baseline="0" noProof="0" dirty="0">
                  <a:ln>
                    <a:noFill/>
                  </a:ln>
                  <a:solidFill>
                    <a:prstClr val="black"/>
                  </a:solidFill>
                  <a:effectLst/>
                  <a:uLnTx/>
                  <a:uFillTx/>
                  <a:latin typeface="UniCredit"/>
                  <a:ea typeface="+mn-ea"/>
                  <a:cs typeface="+mn-cs"/>
                </a:rPr>
                <a:t> </a:t>
              </a:r>
              <a:r>
                <a:rPr kumimoji="0" lang="en-US" sz="1200" b="0" i="0" u="none" strike="noStrike" kern="1200" cap="none" spc="0" normalizeH="0" baseline="0" noProof="0" dirty="0">
                  <a:ln>
                    <a:noFill/>
                  </a:ln>
                  <a:solidFill>
                    <a:prstClr val="black"/>
                  </a:solidFill>
                  <a:effectLst/>
                  <a:uLnTx/>
                  <a:uFillTx/>
                  <a:latin typeface="UniCredit"/>
                  <a:ea typeface="+mn-ea"/>
                  <a:cs typeface="+mn-cs"/>
                </a:rPr>
                <a:t>2.1 and 2.2 , Java 6,7 and 8</a:t>
              </a:r>
            </a:p>
            <a:p>
              <a:pPr marL="0" marR="0" lvl="0" indent="0" algn="l" defTabSz="685800" rtl="0" eaLnBrk="1" fontAlgn="auto" latinLnBrk="0" hangingPunct="1">
                <a:lnSpc>
                  <a:spcPct val="8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UniCredit"/>
                  <a:ea typeface="+mn-ea"/>
                  <a:cs typeface="+mn-cs"/>
                </a:rPr>
                <a:t>Modern Batch</a:t>
              </a:r>
            </a:p>
          </p:txBody>
        </p:sp>
        <p:sp>
          <p:nvSpPr>
            <p:cNvPr id="116" name="Rettangolo con angoli arrotondati in diagonale 102">
              <a:extLst>
                <a:ext uri="{FF2B5EF4-FFF2-40B4-BE49-F238E27FC236}">
                  <a16:creationId xmlns:a16="http://schemas.microsoft.com/office/drawing/2014/main" id="{0F3632A8-FA0F-4148-ABDA-2292B202AB89}"/>
                </a:ext>
              </a:extLst>
            </p:cNvPr>
            <p:cNvSpPr/>
            <p:nvPr/>
          </p:nvSpPr>
          <p:spPr>
            <a:xfrm>
              <a:off x="6793096" y="901695"/>
              <a:ext cx="2187899" cy="271995"/>
            </a:xfrm>
            <a:prstGeom prst="round2DiagRect">
              <a:avLst/>
            </a:prstGeom>
            <a:solidFill>
              <a:srgbClr val="C0E4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80000"/>
                </a:lnSpc>
                <a:spcBef>
                  <a:spcPts val="0"/>
                </a:spcBef>
                <a:spcAft>
                  <a:spcPts val="0"/>
                </a:spcAft>
                <a:buClrTx/>
                <a:buSzTx/>
                <a:buFontTx/>
                <a:buNone/>
                <a:tabLst/>
                <a:defRPr/>
              </a:pPr>
              <a:r>
                <a:rPr kumimoji="0" lang="it-IT" sz="1350" b="0" i="0" u="none" strike="noStrike" kern="1200" cap="none" spc="0" normalizeH="0" baseline="0" noProof="0" dirty="0">
                  <a:ln>
                    <a:noFill/>
                  </a:ln>
                  <a:solidFill>
                    <a:prstClr val="black"/>
                  </a:solidFill>
                  <a:effectLst/>
                  <a:uLnTx/>
                  <a:uFillTx/>
                  <a:latin typeface="UniCredit"/>
                  <a:ea typeface="+mn-ea"/>
                  <a:cs typeface="+mn-cs"/>
                </a:rPr>
                <a:t>MyCredit </a:t>
              </a:r>
              <a:r>
                <a:rPr kumimoji="0" lang="it-IT" sz="1350" b="0" i="0" u="none" strike="noStrike" kern="1200" cap="none" spc="0" normalizeH="0" baseline="0" noProof="0" dirty="0" err="1">
                  <a:ln>
                    <a:noFill/>
                  </a:ln>
                  <a:solidFill>
                    <a:prstClr val="black"/>
                  </a:solidFill>
                  <a:effectLst/>
                  <a:uLnTx/>
                  <a:uFillTx/>
                  <a:latin typeface="UniCredit"/>
                  <a:ea typeface="+mn-ea"/>
                  <a:cs typeface="+mn-cs"/>
                </a:rPr>
                <a:t>Context</a:t>
              </a:r>
              <a:endParaRPr kumimoji="0" lang="it-IT" sz="1350" b="0" i="0" u="none" strike="noStrike" kern="1200" cap="none" spc="0" normalizeH="0" baseline="0" noProof="0" dirty="0">
                <a:ln>
                  <a:noFill/>
                </a:ln>
                <a:solidFill>
                  <a:prstClr val="black"/>
                </a:solidFill>
                <a:effectLst/>
                <a:uLnTx/>
                <a:uFillTx/>
                <a:latin typeface="UniCredit"/>
                <a:ea typeface="+mn-ea"/>
                <a:cs typeface="+mn-cs"/>
              </a:endParaRPr>
            </a:p>
          </p:txBody>
        </p:sp>
      </p:grpSp>
      <p:graphicFrame>
        <p:nvGraphicFramePr>
          <p:cNvPr id="119" name="Table 118">
            <a:extLst>
              <a:ext uri="{FF2B5EF4-FFF2-40B4-BE49-F238E27FC236}">
                <a16:creationId xmlns:a16="http://schemas.microsoft.com/office/drawing/2014/main" id="{7034778A-5392-4C6A-9D31-B1A93A799A26}"/>
              </a:ext>
            </a:extLst>
          </p:cNvPr>
          <p:cNvGraphicFramePr>
            <a:graphicFrameLocks noGrp="1"/>
          </p:cNvGraphicFramePr>
          <p:nvPr/>
        </p:nvGraphicFramePr>
        <p:xfrm>
          <a:off x="5947698" y="2634640"/>
          <a:ext cx="2828400" cy="1012192"/>
        </p:xfrm>
        <a:graphic>
          <a:graphicData uri="http://schemas.openxmlformats.org/drawingml/2006/table">
            <a:tbl>
              <a:tblPr>
                <a:tableStyleId>{5C22544A-7EE6-4342-B048-85BDC9FD1C3A}</a:tableStyleId>
              </a:tblPr>
              <a:tblGrid>
                <a:gridCol w="582325">
                  <a:extLst>
                    <a:ext uri="{9D8B030D-6E8A-4147-A177-3AD203B41FA5}">
                      <a16:colId xmlns:a16="http://schemas.microsoft.com/office/drawing/2014/main" val="73009414"/>
                    </a:ext>
                  </a:extLst>
                </a:gridCol>
                <a:gridCol w="472252">
                  <a:extLst>
                    <a:ext uri="{9D8B030D-6E8A-4147-A177-3AD203B41FA5}">
                      <a16:colId xmlns:a16="http://schemas.microsoft.com/office/drawing/2014/main" val="1392589540"/>
                    </a:ext>
                  </a:extLst>
                </a:gridCol>
                <a:gridCol w="595622">
                  <a:extLst>
                    <a:ext uri="{9D8B030D-6E8A-4147-A177-3AD203B41FA5}">
                      <a16:colId xmlns:a16="http://schemas.microsoft.com/office/drawing/2014/main" val="17616705"/>
                    </a:ext>
                  </a:extLst>
                </a:gridCol>
                <a:gridCol w="553336">
                  <a:extLst>
                    <a:ext uri="{9D8B030D-6E8A-4147-A177-3AD203B41FA5}">
                      <a16:colId xmlns:a16="http://schemas.microsoft.com/office/drawing/2014/main" val="320971123"/>
                    </a:ext>
                  </a:extLst>
                </a:gridCol>
                <a:gridCol w="624865">
                  <a:extLst>
                    <a:ext uri="{9D8B030D-6E8A-4147-A177-3AD203B41FA5}">
                      <a16:colId xmlns:a16="http://schemas.microsoft.com/office/drawing/2014/main" val="1506086544"/>
                    </a:ext>
                  </a:extLst>
                </a:gridCol>
              </a:tblGrid>
              <a:tr h="0">
                <a:tc>
                  <a:txBody>
                    <a:bodyPr/>
                    <a:lstStyle/>
                    <a:p>
                      <a:pPr>
                        <a:lnSpc>
                          <a:spcPct val="107000"/>
                        </a:lnSpc>
                        <a:spcAft>
                          <a:spcPts val="800"/>
                        </a:spcAft>
                      </a:pPr>
                      <a:r>
                        <a:rPr lang="it-IT" sz="1100" dirty="0">
                          <a:solidFill>
                            <a:schemeClr val="bg1"/>
                          </a:solidFill>
                          <a:effectLst/>
                          <a:latin typeface="+mj-lt"/>
                        </a:rPr>
                        <a:t> </a:t>
                      </a:r>
                      <a:endParaRPr lang="en-US" sz="1100" dirty="0">
                        <a:solidFill>
                          <a:schemeClr val="bg1"/>
                        </a:solidFill>
                        <a:effectLst/>
                        <a:latin typeface="+mj-lt"/>
                        <a:ea typeface="Calibri" panose="020F0502020204030204" pitchFamily="34" charset="0"/>
                        <a:cs typeface="Times New Roman" panose="02020603050405020304" pitchFamily="18" charset="0"/>
                      </a:endParaRPr>
                    </a:p>
                  </a:txBody>
                  <a:tcPr marL="68580" marR="68580" marT="0" marB="0" anchor="ctr">
                    <a:solidFill>
                      <a:schemeClr val="accent1"/>
                    </a:solidFill>
                  </a:tcPr>
                </a:tc>
                <a:tc>
                  <a:txBody>
                    <a:bodyPr/>
                    <a:lstStyle/>
                    <a:p>
                      <a:pPr algn="ctr">
                        <a:lnSpc>
                          <a:spcPct val="107000"/>
                        </a:lnSpc>
                        <a:spcAft>
                          <a:spcPts val="800"/>
                        </a:spcAft>
                      </a:pPr>
                      <a:r>
                        <a:rPr lang="it-IT" sz="1100" dirty="0">
                          <a:solidFill>
                            <a:schemeClr val="bg1"/>
                          </a:solidFill>
                          <a:effectLst/>
                          <a:latin typeface="+mj-lt"/>
                        </a:rPr>
                        <a:t>DAO</a:t>
                      </a:r>
                      <a:endParaRPr lang="en-US" sz="1100" dirty="0">
                        <a:solidFill>
                          <a:schemeClr val="bg1"/>
                        </a:solidFill>
                        <a:effectLst/>
                        <a:latin typeface="+mj-lt"/>
                        <a:ea typeface="Calibri" panose="020F0502020204030204" pitchFamily="34" charset="0"/>
                        <a:cs typeface="Times New Roman" panose="02020603050405020304" pitchFamily="18" charset="0"/>
                      </a:endParaRPr>
                    </a:p>
                  </a:txBody>
                  <a:tcPr marL="68580" marR="68580" marT="0" marB="0" anchor="ctr">
                    <a:solidFill>
                      <a:schemeClr val="accent1"/>
                    </a:solidFill>
                  </a:tcPr>
                </a:tc>
                <a:tc>
                  <a:txBody>
                    <a:bodyPr/>
                    <a:lstStyle/>
                    <a:p>
                      <a:pPr algn="ctr">
                        <a:lnSpc>
                          <a:spcPct val="107000"/>
                        </a:lnSpc>
                        <a:spcAft>
                          <a:spcPts val="800"/>
                        </a:spcAft>
                      </a:pPr>
                      <a:r>
                        <a:rPr lang="it-IT" sz="1100" dirty="0">
                          <a:solidFill>
                            <a:schemeClr val="bg1"/>
                          </a:solidFill>
                          <a:effectLst/>
                          <a:latin typeface="+mj-lt"/>
                        </a:rPr>
                        <a:t>REST</a:t>
                      </a:r>
                      <a:endParaRPr lang="en-US" sz="1100" dirty="0">
                        <a:solidFill>
                          <a:schemeClr val="bg1"/>
                        </a:solidFill>
                        <a:effectLst/>
                        <a:latin typeface="+mj-lt"/>
                        <a:ea typeface="Calibri" panose="020F0502020204030204" pitchFamily="34" charset="0"/>
                        <a:cs typeface="Times New Roman" panose="02020603050405020304" pitchFamily="18" charset="0"/>
                      </a:endParaRPr>
                    </a:p>
                  </a:txBody>
                  <a:tcPr marL="68580" marR="68580" marT="0" marB="0" anchor="ctr">
                    <a:solidFill>
                      <a:schemeClr val="accent1"/>
                    </a:solidFill>
                  </a:tcPr>
                </a:tc>
                <a:tc>
                  <a:txBody>
                    <a:bodyPr/>
                    <a:lstStyle/>
                    <a:p>
                      <a:pPr algn="ctr">
                        <a:lnSpc>
                          <a:spcPct val="107000"/>
                        </a:lnSpc>
                        <a:spcAft>
                          <a:spcPts val="800"/>
                        </a:spcAft>
                      </a:pPr>
                      <a:r>
                        <a:rPr lang="it-IT" sz="1100" dirty="0">
                          <a:solidFill>
                            <a:schemeClr val="bg1"/>
                          </a:solidFill>
                          <a:effectLst/>
                          <a:latin typeface="+mj-lt"/>
                        </a:rPr>
                        <a:t>WS CLIENT</a:t>
                      </a:r>
                      <a:endParaRPr lang="en-US" sz="1100" dirty="0">
                        <a:solidFill>
                          <a:schemeClr val="bg1"/>
                        </a:solidFill>
                        <a:effectLst/>
                        <a:latin typeface="+mj-lt"/>
                        <a:ea typeface="Calibri" panose="020F0502020204030204" pitchFamily="34" charset="0"/>
                        <a:cs typeface="Times New Roman" panose="02020603050405020304" pitchFamily="18" charset="0"/>
                      </a:endParaRPr>
                    </a:p>
                  </a:txBody>
                  <a:tcPr marL="68580" marR="68580" marT="0" marB="0" anchor="ctr">
                    <a:solidFill>
                      <a:schemeClr val="accent1"/>
                    </a:solidFill>
                  </a:tcPr>
                </a:tc>
                <a:tc>
                  <a:txBody>
                    <a:bodyPr/>
                    <a:lstStyle/>
                    <a:p>
                      <a:pPr algn="ctr">
                        <a:lnSpc>
                          <a:spcPct val="107000"/>
                        </a:lnSpc>
                        <a:spcAft>
                          <a:spcPts val="800"/>
                        </a:spcAft>
                      </a:pPr>
                      <a:r>
                        <a:rPr lang="it-IT" sz="1100" dirty="0">
                          <a:solidFill>
                            <a:schemeClr val="bg1"/>
                          </a:solidFill>
                          <a:effectLst/>
                          <a:latin typeface="+mj-lt"/>
                        </a:rPr>
                        <a:t>WS SERVER</a:t>
                      </a:r>
                      <a:endParaRPr lang="en-US" sz="1100" dirty="0">
                        <a:solidFill>
                          <a:schemeClr val="bg1"/>
                        </a:solidFill>
                        <a:effectLst/>
                        <a:latin typeface="+mj-lt"/>
                        <a:ea typeface="Calibri" panose="020F0502020204030204" pitchFamily="34" charset="0"/>
                        <a:cs typeface="Times New Roman" panose="02020603050405020304" pitchFamily="18" charset="0"/>
                      </a:endParaRPr>
                    </a:p>
                  </a:txBody>
                  <a:tcPr marL="68580" marR="68580" marT="0" marB="0" anchor="ctr">
                    <a:solidFill>
                      <a:schemeClr val="accent1"/>
                    </a:solidFill>
                  </a:tcPr>
                </a:tc>
                <a:extLst>
                  <a:ext uri="{0D108BD9-81ED-4DB2-BD59-A6C34878D82A}">
                    <a16:rowId xmlns:a16="http://schemas.microsoft.com/office/drawing/2014/main" val="3200762886"/>
                  </a:ext>
                </a:extLst>
              </a:tr>
              <a:tr h="0">
                <a:tc>
                  <a:txBody>
                    <a:bodyPr/>
                    <a:lstStyle/>
                    <a:p>
                      <a:pPr algn="ctr">
                        <a:lnSpc>
                          <a:spcPct val="107000"/>
                        </a:lnSpc>
                        <a:spcAft>
                          <a:spcPts val="800"/>
                        </a:spcAft>
                      </a:pPr>
                      <a:r>
                        <a:rPr lang="it-IT" sz="1100" dirty="0">
                          <a:effectLst/>
                          <a:latin typeface="+mj-lt"/>
                          <a:ea typeface="Calibri" panose="020F0502020204030204" pitchFamily="34" charset="0"/>
                          <a:cs typeface="Times New Roman" panose="02020603050405020304" pitchFamily="18" charset="0"/>
                        </a:rPr>
                        <a:t>UB5</a:t>
                      </a:r>
                      <a:endParaRPr lang="en-US" sz="1100" dirty="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gn="r">
                        <a:lnSpc>
                          <a:spcPct val="107000"/>
                        </a:lnSpc>
                        <a:spcAft>
                          <a:spcPts val="800"/>
                        </a:spcAft>
                      </a:pPr>
                      <a:r>
                        <a:rPr lang="it-IT" sz="1100" dirty="0">
                          <a:effectLst/>
                          <a:latin typeface="+mj-lt"/>
                        </a:rPr>
                        <a:t>232</a:t>
                      </a:r>
                      <a:endParaRPr lang="en-US" sz="1100" dirty="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gn="r">
                        <a:lnSpc>
                          <a:spcPct val="107000"/>
                        </a:lnSpc>
                        <a:spcAft>
                          <a:spcPts val="800"/>
                        </a:spcAft>
                      </a:pPr>
                      <a:r>
                        <a:rPr lang="it-IT" sz="1100" dirty="0">
                          <a:effectLst/>
                          <a:latin typeface="+mj-lt"/>
                        </a:rPr>
                        <a:t>103</a:t>
                      </a:r>
                      <a:endParaRPr lang="en-US" sz="1100" dirty="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gn="r">
                        <a:lnSpc>
                          <a:spcPct val="107000"/>
                        </a:lnSpc>
                        <a:spcAft>
                          <a:spcPts val="800"/>
                        </a:spcAft>
                      </a:pPr>
                      <a:r>
                        <a:rPr lang="it-IT" sz="1100" dirty="0">
                          <a:effectLst/>
                          <a:latin typeface="+mj-lt"/>
                        </a:rPr>
                        <a:t>39</a:t>
                      </a:r>
                      <a:endParaRPr lang="en-US" sz="1100" dirty="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gn="r">
                        <a:lnSpc>
                          <a:spcPct val="107000"/>
                        </a:lnSpc>
                        <a:spcAft>
                          <a:spcPts val="800"/>
                        </a:spcAft>
                      </a:pPr>
                      <a:r>
                        <a:rPr lang="it-IT" sz="1100" dirty="0">
                          <a:effectLst/>
                          <a:latin typeface="+mj-lt"/>
                        </a:rPr>
                        <a:t>15</a:t>
                      </a:r>
                      <a:endParaRPr lang="en-US" sz="1100" dirty="0">
                        <a:effectLst/>
                        <a:latin typeface="+mj-lt"/>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328217309"/>
                  </a:ext>
                </a:extLst>
              </a:tr>
              <a:tr h="120650">
                <a:tc>
                  <a:txBody>
                    <a:bodyPr/>
                    <a:lstStyle/>
                    <a:p>
                      <a:pPr algn="ctr">
                        <a:lnSpc>
                          <a:spcPct val="107000"/>
                        </a:lnSpc>
                        <a:spcAft>
                          <a:spcPts val="800"/>
                        </a:spcAft>
                      </a:pPr>
                      <a:r>
                        <a:rPr lang="it-IT" sz="1100" dirty="0">
                          <a:effectLst/>
                          <a:latin typeface="+mj-lt"/>
                        </a:rPr>
                        <a:t>UB4</a:t>
                      </a:r>
                      <a:endParaRPr lang="en-US" sz="1100" dirty="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gn="r">
                        <a:lnSpc>
                          <a:spcPct val="107000"/>
                        </a:lnSpc>
                        <a:spcAft>
                          <a:spcPts val="800"/>
                        </a:spcAft>
                      </a:pPr>
                      <a:r>
                        <a:rPr lang="it-IT" sz="1100" dirty="0">
                          <a:effectLst/>
                          <a:latin typeface="+mj-lt"/>
                        </a:rPr>
                        <a:t>1139</a:t>
                      </a:r>
                      <a:endParaRPr lang="en-US" sz="1100" dirty="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gn="r">
                        <a:lnSpc>
                          <a:spcPct val="107000"/>
                        </a:lnSpc>
                        <a:spcAft>
                          <a:spcPts val="800"/>
                        </a:spcAft>
                      </a:pPr>
                      <a:r>
                        <a:rPr lang="it-IT" sz="1100" dirty="0">
                          <a:effectLst/>
                          <a:latin typeface="+mj-lt"/>
                        </a:rPr>
                        <a:t>646</a:t>
                      </a:r>
                      <a:endParaRPr lang="en-US" sz="1100" dirty="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gn="r">
                        <a:lnSpc>
                          <a:spcPct val="107000"/>
                        </a:lnSpc>
                        <a:spcAft>
                          <a:spcPts val="800"/>
                        </a:spcAft>
                      </a:pPr>
                      <a:r>
                        <a:rPr lang="it-IT" sz="1100" dirty="0">
                          <a:effectLst/>
                          <a:latin typeface="+mj-lt"/>
                        </a:rPr>
                        <a:t>558</a:t>
                      </a:r>
                      <a:endParaRPr lang="en-US" sz="1100" dirty="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gn="r">
                        <a:lnSpc>
                          <a:spcPct val="107000"/>
                        </a:lnSpc>
                        <a:spcAft>
                          <a:spcPts val="800"/>
                        </a:spcAft>
                      </a:pPr>
                      <a:r>
                        <a:rPr lang="it-IT" sz="1100" dirty="0">
                          <a:effectLst/>
                          <a:latin typeface="+mj-lt"/>
                        </a:rPr>
                        <a:t>81</a:t>
                      </a:r>
                      <a:endParaRPr lang="en-US" sz="1100" dirty="0">
                        <a:effectLst/>
                        <a:latin typeface="+mj-lt"/>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4148301787"/>
                  </a:ext>
                </a:extLst>
              </a:tr>
              <a:tr h="120650">
                <a:tc>
                  <a:txBody>
                    <a:bodyPr/>
                    <a:lstStyle/>
                    <a:p>
                      <a:pPr algn="ctr">
                        <a:lnSpc>
                          <a:spcPct val="107000"/>
                        </a:lnSpc>
                        <a:spcAft>
                          <a:spcPts val="800"/>
                        </a:spcAft>
                      </a:pPr>
                      <a:r>
                        <a:rPr lang="en-US" sz="1100" dirty="0">
                          <a:effectLst/>
                          <a:latin typeface="+mj-lt"/>
                          <a:ea typeface="Calibri" panose="020F0502020204030204" pitchFamily="34" charset="0"/>
                          <a:cs typeface="Times New Roman" panose="02020603050405020304" pitchFamily="18" charset="0"/>
                        </a:rPr>
                        <a:t>UB1</a:t>
                      </a:r>
                    </a:p>
                  </a:txBody>
                  <a:tcPr marL="68580" marR="68580" marT="0" marB="0" anchor="ctr"/>
                </a:tc>
                <a:tc>
                  <a:txBody>
                    <a:bodyPr/>
                    <a:lstStyle/>
                    <a:p>
                      <a:pPr algn="r">
                        <a:lnSpc>
                          <a:spcPct val="107000"/>
                        </a:lnSpc>
                        <a:spcAft>
                          <a:spcPts val="800"/>
                        </a:spcAft>
                      </a:pPr>
                      <a:r>
                        <a:rPr lang="en-US" sz="1100" dirty="0">
                          <a:effectLst/>
                          <a:latin typeface="+mj-lt"/>
                        </a:rPr>
                        <a:t>1022</a:t>
                      </a:r>
                      <a:endParaRPr lang="en-US" sz="1100" dirty="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gn="r">
                        <a:lnSpc>
                          <a:spcPct val="107000"/>
                        </a:lnSpc>
                        <a:spcAft>
                          <a:spcPts val="800"/>
                        </a:spcAft>
                      </a:pPr>
                      <a:r>
                        <a:rPr lang="en-US" sz="1100" dirty="0">
                          <a:effectLst/>
                          <a:latin typeface="+mj-lt"/>
                        </a:rPr>
                        <a:t>275</a:t>
                      </a:r>
                      <a:endParaRPr lang="en-US" sz="1100" dirty="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gn="r">
                        <a:lnSpc>
                          <a:spcPct val="107000"/>
                        </a:lnSpc>
                        <a:spcAft>
                          <a:spcPts val="800"/>
                        </a:spcAft>
                      </a:pPr>
                      <a:r>
                        <a:rPr lang="en-US" sz="1100" dirty="0">
                          <a:effectLst/>
                          <a:latin typeface="+mj-lt"/>
                        </a:rPr>
                        <a:t>429</a:t>
                      </a:r>
                      <a:endParaRPr lang="en-US" sz="1100" dirty="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gn="r">
                        <a:lnSpc>
                          <a:spcPct val="107000"/>
                        </a:lnSpc>
                        <a:spcAft>
                          <a:spcPts val="800"/>
                        </a:spcAft>
                      </a:pPr>
                      <a:r>
                        <a:rPr lang="en-US" sz="1100" dirty="0">
                          <a:effectLst/>
                          <a:latin typeface="+mj-lt"/>
                        </a:rPr>
                        <a:t>255</a:t>
                      </a:r>
                      <a:endParaRPr lang="en-US" sz="1100" dirty="0">
                        <a:effectLst/>
                        <a:latin typeface="+mj-lt"/>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107767153"/>
                  </a:ext>
                </a:extLst>
              </a:tr>
              <a:tr h="120650">
                <a:tc>
                  <a:txBody>
                    <a:bodyPr/>
                    <a:lstStyle/>
                    <a:p>
                      <a:pPr algn="ctr">
                        <a:lnSpc>
                          <a:spcPct val="107000"/>
                        </a:lnSpc>
                        <a:spcAft>
                          <a:spcPts val="800"/>
                        </a:spcAft>
                      </a:pPr>
                      <a:r>
                        <a:rPr lang="en-US" sz="1100" b="1" dirty="0">
                          <a:effectLst/>
                          <a:latin typeface="+mj-lt"/>
                          <a:ea typeface="Calibri" panose="020F0502020204030204" pitchFamily="34" charset="0"/>
                          <a:cs typeface="Times New Roman" panose="02020603050405020304" pitchFamily="18" charset="0"/>
                        </a:rPr>
                        <a:t>Total</a:t>
                      </a:r>
                    </a:p>
                  </a:txBody>
                  <a:tcPr marL="68580" marR="68580" marT="0" marB="0" anchor="ctr"/>
                </a:tc>
                <a:tc>
                  <a:txBody>
                    <a:bodyPr/>
                    <a:lstStyle/>
                    <a:p>
                      <a:pPr algn="r">
                        <a:lnSpc>
                          <a:spcPct val="107000"/>
                        </a:lnSpc>
                        <a:spcAft>
                          <a:spcPts val="800"/>
                        </a:spcAft>
                      </a:pPr>
                      <a:r>
                        <a:rPr lang="en-US" sz="1100" b="1" dirty="0">
                          <a:effectLst/>
                          <a:latin typeface="+mj-lt"/>
                          <a:ea typeface="Calibri" panose="020F0502020204030204" pitchFamily="34" charset="0"/>
                          <a:cs typeface="Times New Roman" panose="02020603050405020304" pitchFamily="18" charset="0"/>
                        </a:rPr>
                        <a:t>2393</a:t>
                      </a:r>
                    </a:p>
                  </a:txBody>
                  <a:tcPr marL="68580" marR="68580" marT="0" marB="0" anchor="ctr"/>
                </a:tc>
                <a:tc>
                  <a:txBody>
                    <a:bodyPr/>
                    <a:lstStyle/>
                    <a:p>
                      <a:pPr algn="r">
                        <a:lnSpc>
                          <a:spcPct val="107000"/>
                        </a:lnSpc>
                        <a:spcAft>
                          <a:spcPts val="800"/>
                        </a:spcAft>
                      </a:pPr>
                      <a:r>
                        <a:rPr lang="en-US" sz="1100" b="1" dirty="0">
                          <a:effectLst/>
                          <a:latin typeface="+mj-lt"/>
                          <a:ea typeface="Calibri" panose="020F0502020204030204" pitchFamily="34" charset="0"/>
                          <a:cs typeface="Times New Roman" panose="02020603050405020304" pitchFamily="18" charset="0"/>
                        </a:rPr>
                        <a:t>1024</a:t>
                      </a:r>
                    </a:p>
                  </a:txBody>
                  <a:tcPr marL="68580" marR="68580" marT="0" marB="0" anchor="ctr"/>
                </a:tc>
                <a:tc>
                  <a:txBody>
                    <a:bodyPr/>
                    <a:lstStyle/>
                    <a:p>
                      <a:pPr algn="r">
                        <a:lnSpc>
                          <a:spcPct val="107000"/>
                        </a:lnSpc>
                        <a:spcAft>
                          <a:spcPts val="800"/>
                        </a:spcAft>
                      </a:pPr>
                      <a:r>
                        <a:rPr lang="en-US" sz="1100" b="1" dirty="0">
                          <a:effectLst/>
                          <a:latin typeface="+mj-lt"/>
                          <a:ea typeface="Calibri" panose="020F0502020204030204" pitchFamily="34" charset="0"/>
                          <a:cs typeface="Times New Roman" panose="02020603050405020304" pitchFamily="18" charset="0"/>
                        </a:rPr>
                        <a:t>1026</a:t>
                      </a:r>
                    </a:p>
                  </a:txBody>
                  <a:tcPr marL="68580" marR="68580" marT="0" marB="0" anchor="ctr"/>
                </a:tc>
                <a:tc>
                  <a:txBody>
                    <a:bodyPr/>
                    <a:lstStyle/>
                    <a:p>
                      <a:pPr algn="r">
                        <a:lnSpc>
                          <a:spcPct val="107000"/>
                        </a:lnSpc>
                        <a:spcAft>
                          <a:spcPts val="800"/>
                        </a:spcAft>
                      </a:pPr>
                      <a:r>
                        <a:rPr lang="en-US" sz="1100" b="1" dirty="0">
                          <a:effectLst/>
                          <a:latin typeface="+mj-lt"/>
                          <a:ea typeface="Calibri" panose="020F0502020204030204" pitchFamily="34" charset="0"/>
                          <a:cs typeface="Times New Roman" panose="02020603050405020304" pitchFamily="18" charset="0"/>
                        </a:rPr>
                        <a:t>351</a:t>
                      </a:r>
                    </a:p>
                  </a:txBody>
                  <a:tcPr marL="68580" marR="68580" marT="0" marB="0"/>
                </a:tc>
                <a:extLst>
                  <a:ext uri="{0D108BD9-81ED-4DB2-BD59-A6C34878D82A}">
                    <a16:rowId xmlns:a16="http://schemas.microsoft.com/office/drawing/2014/main" val="3859620939"/>
                  </a:ext>
                </a:extLst>
              </a:tr>
            </a:tbl>
          </a:graphicData>
        </a:graphic>
      </p:graphicFrame>
      <p:pic>
        <p:nvPicPr>
          <p:cNvPr id="79" name="Picture 6" descr="Oracle Database Logo Download - AI - All Vector Logo">
            <a:extLst>
              <a:ext uri="{FF2B5EF4-FFF2-40B4-BE49-F238E27FC236}">
                <a16:creationId xmlns:a16="http://schemas.microsoft.com/office/drawing/2014/main" id="{736302A2-7513-4805-942F-E0C05CA3FD6A}"/>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183530" y="144297"/>
            <a:ext cx="948445" cy="513093"/>
          </a:xfrm>
          <a:prstGeom prst="rect">
            <a:avLst/>
          </a:prstGeom>
          <a:noFill/>
          <a:extLst>
            <a:ext uri="{909E8E84-426E-40DD-AFC4-6F175D3DCCD1}">
              <a14:hiddenFill xmlns:a14="http://schemas.microsoft.com/office/drawing/2010/main">
                <a:solidFill>
                  <a:srgbClr val="FFFFFF"/>
                </a:solidFill>
              </a14:hiddenFill>
            </a:ext>
          </a:extLst>
        </p:spPr>
      </p:pic>
      <p:pic>
        <p:nvPicPr>
          <p:cNvPr id="80" name="Picture 14" descr="SRVE0190E on WebSphere 6.1 - the solution • my2cents">
            <a:extLst>
              <a:ext uri="{FF2B5EF4-FFF2-40B4-BE49-F238E27FC236}">
                <a16:creationId xmlns:a16="http://schemas.microsoft.com/office/drawing/2014/main" id="{F5B7942F-DB22-4C67-B802-4F9FCF7CE814}"/>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080859" y="150237"/>
            <a:ext cx="808999" cy="539333"/>
          </a:xfrm>
          <a:prstGeom prst="rect">
            <a:avLst/>
          </a:prstGeom>
          <a:noFill/>
          <a:extLst>
            <a:ext uri="{909E8E84-426E-40DD-AFC4-6F175D3DCCD1}">
              <a14:hiddenFill xmlns:a14="http://schemas.microsoft.com/office/drawing/2010/main">
                <a:solidFill>
                  <a:srgbClr val="FFFFFF"/>
                </a:solidFill>
              </a14:hiddenFill>
            </a:ext>
          </a:extLst>
        </p:spPr>
      </p:pic>
      <p:pic>
        <p:nvPicPr>
          <p:cNvPr id="26664" name="Picture 40">
            <a:extLst>
              <a:ext uri="{FF2B5EF4-FFF2-40B4-BE49-F238E27FC236}">
                <a16:creationId xmlns:a16="http://schemas.microsoft.com/office/drawing/2014/main" id="{77C2F91F-47FB-49E0-9A88-3B3443FBEEC0}"/>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5691201" y="32335"/>
            <a:ext cx="337503" cy="620695"/>
          </a:xfrm>
          <a:prstGeom prst="rect">
            <a:avLst/>
          </a:prstGeom>
          <a:noFill/>
          <a:extLst>
            <a:ext uri="{909E8E84-426E-40DD-AFC4-6F175D3DCCD1}">
              <a14:hiddenFill xmlns:a14="http://schemas.microsoft.com/office/drawing/2010/main">
                <a:solidFill>
                  <a:srgbClr val="FFFFFF"/>
                </a:solidFill>
              </a14:hiddenFill>
            </a:ext>
          </a:extLst>
        </p:spPr>
      </p:pic>
      <p:pic>
        <p:nvPicPr>
          <p:cNvPr id="26666" name="Picture 42" descr="Angular (web framework) - Wikipedia">
            <a:extLst>
              <a:ext uri="{FF2B5EF4-FFF2-40B4-BE49-F238E27FC236}">
                <a16:creationId xmlns:a16="http://schemas.microsoft.com/office/drawing/2014/main" id="{1C76B750-4C09-4258-A7C4-6D4E77444BEC}"/>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5037631" y="62371"/>
            <a:ext cx="619821" cy="619821"/>
          </a:xfrm>
          <a:prstGeom prst="rect">
            <a:avLst/>
          </a:prstGeom>
          <a:noFill/>
          <a:extLst>
            <a:ext uri="{909E8E84-426E-40DD-AFC4-6F175D3DCCD1}">
              <a14:hiddenFill xmlns:a14="http://schemas.microsoft.com/office/drawing/2010/main">
                <a:solidFill>
                  <a:srgbClr val="FFFFFF"/>
                </a:solidFill>
              </a14:hiddenFill>
            </a:ext>
          </a:extLst>
        </p:spPr>
      </p:pic>
      <p:pic>
        <p:nvPicPr>
          <p:cNvPr id="26668" name="Picture 44" descr="Dan Streetman è il nuovo CEO di TIBCO Software - BitMat">
            <a:extLst>
              <a:ext uri="{FF2B5EF4-FFF2-40B4-BE49-F238E27FC236}">
                <a16:creationId xmlns:a16="http://schemas.microsoft.com/office/drawing/2014/main" id="{40203F6B-CE09-4B98-978C-4004C85E40ED}"/>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7903528" y="98789"/>
            <a:ext cx="883659" cy="513093"/>
          </a:xfrm>
          <a:prstGeom prst="rect">
            <a:avLst/>
          </a:prstGeom>
          <a:noFill/>
          <a:extLst>
            <a:ext uri="{909E8E84-426E-40DD-AFC4-6F175D3DCCD1}">
              <a14:hiddenFill xmlns:a14="http://schemas.microsoft.com/office/drawing/2010/main">
                <a:solidFill>
                  <a:srgbClr val="FFFFFF"/>
                </a:solidFill>
              </a14:hiddenFill>
            </a:ext>
          </a:extLst>
        </p:spPr>
      </p:pic>
      <p:grpSp>
        <p:nvGrpSpPr>
          <p:cNvPr id="26657" name="Group 26656">
            <a:extLst>
              <a:ext uri="{FF2B5EF4-FFF2-40B4-BE49-F238E27FC236}">
                <a16:creationId xmlns:a16="http://schemas.microsoft.com/office/drawing/2014/main" id="{DBE267A6-1CE7-46AF-AA47-198F26184F30}"/>
              </a:ext>
            </a:extLst>
          </p:cNvPr>
          <p:cNvGrpSpPr/>
          <p:nvPr/>
        </p:nvGrpSpPr>
        <p:grpSpPr>
          <a:xfrm>
            <a:off x="1088183" y="792271"/>
            <a:ext cx="3226866" cy="3221665"/>
            <a:chOff x="1088183" y="792271"/>
            <a:chExt cx="3226866" cy="3221665"/>
          </a:xfrm>
        </p:grpSpPr>
        <p:grpSp>
          <p:nvGrpSpPr>
            <p:cNvPr id="26656" name="Group 26655">
              <a:extLst>
                <a:ext uri="{FF2B5EF4-FFF2-40B4-BE49-F238E27FC236}">
                  <a16:creationId xmlns:a16="http://schemas.microsoft.com/office/drawing/2014/main" id="{908266FE-17C0-46FB-8852-65D24707F003}"/>
                </a:ext>
              </a:extLst>
            </p:cNvPr>
            <p:cNvGrpSpPr/>
            <p:nvPr/>
          </p:nvGrpSpPr>
          <p:grpSpPr>
            <a:xfrm>
              <a:off x="1088183" y="792271"/>
              <a:ext cx="3226866" cy="3221665"/>
              <a:chOff x="2093744" y="883753"/>
              <a:chExt cx="3226866" cy="3221665"/>
            </a:xfrm>
          </p:grpSpPr>
          <p:sp>
            <p:nvSpPr>
              <p:cNvPr id="112" name="Rettangolo 2">
                <a:extLst>
                  <a:ext uri="{FF2B5EF4-FFF2-40B4-BE49-F238E27FC236}">
                    <a16:creationId xmlns:a16="http://schemas.microsoft.com/office/drawing/2014/main" id="{DF554256-3DF3-4F09-BEF4-D0C8FAB7A3C9}"/>
                  </a:ext>
                </a:extLst>
              </p:cNvPr>
              <p:cNvSpPr/>
              <p:nvPr/>
            </p:nvSpPr>
            <p:spPr>
              <a:xfrm>
                <a:off x="2259037" y="3122373"/>
                <a:ext cx="3059676" cy="628697"/>
              </a:xfrm>
              <a:prstGeom prst="rect">
                <a:avLst/>
              </a:prstGeom>
              <a:solidFill>
                <a:schemeClr val="tx2">
                  <a:lumMod val="20000"/>
                  <a:lumOff val="80000"/>
                </a:schemeClr>
              </a:solid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800" b="1" i="0" u="none" strike="noStrike" kern="1200" cap="none" spc="0" normalizeH="0" baseline="0" noProof="0" dirty="0">
                    <a:ln>
                      <a:noFill/>
                    </a:ln>
                    <a:solidFill>
                      <a:prstClr val="black"/>
                    </a:solidFill>
                    <a:effectLst/>
                    <a:uLnTx/>
                    <a:uFillTx/>
                    <a:latin typeface="UniCredit"/>
                    <a:ea typeface="+mn-ea"/>
                    <a:cs typeface="+mn-cs"/>
                  </a:rPr>
                  <a:t>~15 Oracle Schemas</a:t>
                </a:r>
              </a:p>
            </p:txBody>
          </p:sp>
          <p:sp>
            <p:nvSpPr>
              <p:cNvPr id="110" name="Rettangolo 2">
                <a:extLst>
                  <a:ext uri="{FF2B5EF4-FFF2-40B4-BE49-F238E27FC236}">
                    <a16:creationId xmlns:a16="http://schemas.microsoft.com/office/drawing/2014/main" id="{C0DA3A45-0CEF-4995-A987-47178568DB6A}"/>
                  </a:ext>
                </a:extLst>
              </p:cNvPr>
              <p:cNvSpPr/>
              <p:nvPr/>
            </p:nvSpPr>
            <p:spPr>
              <a:xfrm>
                <a:off x="2260934" y="2454925"/>
                <a:ext cx="3059676" cy="628697"/>
              </a:xfrm>
              <a:prstGeom prst="rect">
                <a:avLst/>
              </a:prstGeom>
              <a:solidFill>
                <a:schemeClr val="accent3">
                  <a:lumMod val="20000"/>
                  <a:lumOff val="80000"/>
                </a:schemeClr>
              </a:solidFill>
              <a:ln w="12700">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800" b="1" i="0" u="none" strike="noStrike" kern="1200" cap="none" spc="0" normalizeH="0" baseline="0" noProof="0" dirty="0">
                    <a:ln>
                      <a:noFill/>
                    </a:ln>
                    <a:solidFill>
                      <a:prstClr val="black"/>
                    </a:solidFill>
                    <a:effectLst/>
                    <a:uLnTx/>
                    <a:uFillTx/>
                    <a:latin typeface="UniCredit"/>
                    <a:ea typeface="+mn-ea"/>
                    <a:cs typeface="+mn-cs"/>
                  </a:rPr>
                  <a:t>TIBCO Middleware</a:t>
                </a:r>
              </a:p>
            </p:txBody>
          </p:sp>
          <p:sp>
            <p:nvSpPr>
              <p:cNvPr id="109" name="Rettangolo 2">
                <a:extLst>
                  <a:ext uri="{FF2B5EF4-FFF2-40B4-BE49-F238E27FC236}">
                    <a16:creationId xmlns:a16="http://schemas.microsoft.com/office/drawing/2014/main" id="{CC0D62C9-49B4-4434-8D69-6C22B426E9F7}"/>
                  </a:ext>
                </a:extLst>
              </p:cNvPr>
              <p:cNvSpPr/>
              <p:nvPr/>
            </p:nvSpPr>
            <p:spPr>
              <a:xfrm>
                <a:off x="2257913" y="883753"/>
                <a:ext cx="3059676" cy="1537691"/>
              </a:xfrm>
              <a:prstGeom prst="rect">
                <a:avLst/>
              </a:prstGeom>
              <a:solidFill>
                <a:srgbClr val="F6D6D6"/>
              </a:solid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800" b="1" i="0" u="none" strike="noStrike" kern="1200" cap="none" spc="0" normalizeH="0" baseline="0" noProof="0" dirty="0">
                    <a:ln>
                      <a:noFill/>
                    </a:ln>
                    <a:solidFill>
                      <a:prstClr val="black"/>
                    </a:solidFill>
                    <a:effectLst/>
                    <a:uLnTx/>
                    <a:uFillTx/>
                    <a:latin typeface="UniCredit"/>
                    <a:ea typeface="+mn-ea"/>
                    <a:cs typeface="+mn-cs"/>
                  </a:rPr>
                  <a:t> 2x </a:t>
                </a:r>
                <a:r>
                  <a:rPr kumimoji="0" lang="it-IT" sz="800" b="1" i="0" u="none" strike="noStrike" kern="1200" cap="none" spc="0" normalizeH="0" baseline="0" noProof="0" dirty="0" err="1">
                    <a:ln>
                      <a:noFill/>
                    </a:ln>
                    <a:solidFill>
                      <a:prstClr val="black"/>
                    </a:solidFill>
                    <a:effectLst/>
                    <a:uLnTx/>
                    <a:uFillTx/>
                    <a:latin typeface="UniCredit"/>
                    <a:ea typeface="+mn-ea"/>
                    <a:cs typeface="+mn-cs"/>
                  </a:rPr>
                  <a:t>WebSphere</a:t>
                </a:r>
                <a:r>
                  <a:rPr kumimoji="0" lang="it-IT" sz="800" b="1" i="0" u="none" strike="noStrike" kern="1200" cap="none" spc="0" normalizeH="0" baseline="0" noProof="0" dirty="0">
                    <a:ln>
                      <a:noFill/>
                    </a:ln>
                    <a:solidFill>
                      <a:prstClr val="black"/>
                    </a:solidFill>
                    <a:effectLst/>
                    <a:uLnTx/>
                    <a:uFillTx/>
                    <a:latin typeface="UniCredit"/>
                    <a:ea typeface="+mn-ea"/>
                    <a:cs typeface="+mn-cs"/>
                  </a:rPr>
                  <a:t> 8.5 Clusters</a:t>
                </a:r>
              </a:p>
            </p:txBody>
          </p:sp>
          <p:sp>
            <p:nvSpPr>
              <p:cNvPr id="9" name="Rectangle 8">
                <a:extLst>
                  <a:ext uri="{FF2B5EF4-FFF2-40B4-BE49-F238E27FC236}">
                    <a16:creationId xmlns:a16="http://schemas.microsoft.com/office/drawing/2014/main" id="{B4131B06-2EF5-45DB-AD97-11915B875FF2}"/>
                  </a:ext>
                </a:extLst>
              </p:cNvPr>
              <p:cNvSpPr/>
              <p:nvPr/>
            </p:nvSpPr>
            <p:spPr>
              <a:xfrm>
                <a:off x="3995224" y="1010362"/>
                <a:ext cx="576776" cy="360000"/>
              </a:xfrm>
              <a:prstGeom prst="rect">
                <a:avLst/>
              </a:prstGeom>
              <a:solidFill>
                <a:srgbClr val="F15959"/>
              </a:solid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white"/>
                    </a:solidFill>
                    <a:effectLst/>
                    <a:uLnTx/>
                    <a:uFillTx/>
                    <a:latin typeface="UniCredit"/>
                    <a:ea typeface="+mn-ea"/>
                    <a:cs typeface="+mn-cs"/>
                  </a:rPr>
                  <a:t>UB5-FE</a:t>
                </a:r>
              </a:p>
            </p:txBody>
          </p:sp>
          <p:sp>
            <p:nvSpPr>
              <p:cNvPr id="10" name="Rectangle 9">
                <a:extLst>
                  <a:ext uri="{FF2B5EF4-FFF2-40B4-BE49-F238E27FC236}">
                    <a16:creationId xmlns:a16="http://schemas.microsoft.com/office/drawing/2014/main" id="{D7A2111D-AB63-4D26-9097-2C2DA089DE6F}"/>
                  </a:ext>
                </a:extLst>
              </p:cNvPr>
              <p:cNvSpPr/>
              <p:nvPr/>
            </p:nvSpPr>
            <p:spPr>
              <a:xfrm>
                <a:off x="3995224" y="1416481"/>
                <a:ext cx="576776" cy="360000"/>
              </a:xfrm>
              <a:prstGeom prst="rect">
                <a:avLst/>
              </a:prstGeom>
              <a:solidFill>
                <a:srgbClr val="F15959"/>
              </a:solid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white"/>
                    </a:solidFill>
                    <a:effectLst/>
                    <a:uLnTx/>
                    <a:uFillTx/>
                    <a:latin typeface="UniCredit"/>
                    <a:ea typeface="+mn-ea"/>
                    <a:cs typeface="+mn-cs"/>
                  </a:rPr>
                  <a:t>UB5-BE</a:t>
                </a:r>
              </a:p>
            </p:txBody>
          </p:sp>
          <p:sp>
            <p:nvSpPr>
              <p:cNvPr id="11" name="Rectangle 10">
                <a:extLst>
                  <a:ext uri="{FF2B5EF4-FFF2-40B4-BE49-F238E27FC236}">
                    <a16:creationId xmlns:a16="http://schemas.microsoft.com/office/drawing/2014/main" id="{35119C7D-D426-49A2-8460-3EF465CC6B23}"/>
                  </a:ext>
                </a:extLst>
              </p:cNvPr>
              <p:cNvSpPr/>
              <p:nvPr/>
            </p:nvSpPr>
            <p:spPr>
              <a:xfrm>
                <a:off x="2331720" y="1827789"/>
                <a:ext cx="2859258" cy="360000"/>
              </a:xfrm>
              <a:prstGeom prst="rect">
                <a:avLst/>
              </a:prstGeom>
              <a:solidFill>
                <a:srgbClr val="F15959"/>
              </a:solid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white"/>
                    </a:solidFill>
                    <a:effectLst/>
                    <a:uLnTx/>
                    <a:uFillTx/>
                    <a:latin typeface="UniCredit"/>
                    <a:ea typeface="+mn-ea"/>
                    <a:cs typeface="+mn-cs"/>
                  </a:rPr>
                  <a:t>7x UMF-BE</a:t>
                </a:r>
              </a:p>
            </p:txBody>
          </p:sp>
          <p:sp>
            <p:nvSpPr>
              <p:cNvPr id="12" name="Rectangle 11">
                <a:extLst>
                  <a:ext uri="{FF2B5EF4-FFF2-40B4-BE49-F238E27FC236}">
                    <a16:creationId xmlns:a16="http://schemas.microsoft.com/office/drawing/2014/main" id="{2AA2F4D8-F7C1-43A6-9111-91DEDD73C40C}"/>
                  </a:ext>
                </a:extLst>
              </p:cNvPr>
              <p:cNvSpPr/>
              <p:nvPr/>
            </p:nvSpPr>
            <p:spPr>
              <a:xfrm>
                <a:off x="3089033" y="2491068"/>
                <a:ext cx="598122" cy="360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UniCredit"/>
                    <a:ea typeface="+mn-ea"/>
                    <a:cs typeface="+mn-cs"/>
                  </a:rPr>
                  <a:t>TIBCO BPM</a:t>
                </a:r>
              </a:p>
            </p:txBody>
          </p:sp>
          <p:sp>
            <p:nvSpPr>
              <p:cNvPr id="13" name="Rectangle 12">
                <a:extLst>
                  <a:ext uri="{FF2B5EF4-FFF2-40B4-BE49-F238E27FC236}">
                    <a16:creationId xmlns:a16="http://schemas.microsoft.com/office/drawing/2014/main" id="{A1CA5A84-5F85-43F5-9C4F-AE89EFDDAEF2}"/>
                  </a:ext>
                </a:extLst>
              </p:cNvPr>
              <p:cNvSpPr/>
              <p:nvPr/>
            </p:nvSpPr>
            <p:spPr>
              <a:xfrm>
                <a:off x="3333071" y="1010362"/>
                <a:ext cx="576776" cy="360000"/>
              </a:xfrm>
              <a:prstGeom prst="rect">
                <a:avLst/>
              </a:prstGeom>
              <a:solidFill>
                <a:srgbClr val="F15959"/>
              </a:solid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white"/>
                    </a:solidFill>
                    <a:effectLst/>
                    <a:uLnTx/>
                    <a:uFillTx/>
                    <a:latin typeface="UniCredit"/>
                    <a:ea typeface="+mn-ea"/>
                    <a:cs typeface="+mn-cs"/>
                  </a:rPr>
                  <a:t>2x</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white"/>
                    </a:solidFill>
                    <a:effectLst/>
                    <a:uLnTx/>
                    <a:uFillTx/>
                    <a:latin typeface="UniCredit"/>
                    <a:ea typeface="+mn-ea"/>
                    <a:cs typeface="+mn-cs"/>
                  </a:rPr>
                  <a:t>UB4-FE</a:t>
                </a:r>
              </a:p>
            </p:txBody>
          </p:sp>
          <p:sp>
            <p:nvSpPr>
              <p:cNvPr id="14" name="Rectangle 13">
                <a:extLst>
                  <a:ext uri="{FF2B5EF4-FFF2-40B4-BE49-F238E27FC236}">
                    <a16:creationId xmlns:a16="http://schemas.microsoft.com/office/drawing/2014/main" id="{A3A0360A-31D0-44FA-A192-26A9E0E9B439}"/>
                  </a:ext>
                </a:extLst>
              </p:cNvPr>
              <p:cNvSpPr/>
              <p:nvPr/>
            </p:nvSpPr>
            <p:spPr>
              <a:xfrm>
                <a:off x="3333071" y="1416481"/>
                <a:ext cx="576776" cy="360000"/>
              </a:xfrm>
              <a:prstGeom prst="rect">
                <a:avLst/>
              </a:prstGeom>
              <a:solidFill>
                <a:srgbClr val="F15959"/>
              </a:solid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white"/>
                    </a:solidFill>
                    <a:effectLst/>
                    <a:uLnTx/>
                    <a:uFillTx/>
                    <a:latin typeface="UniCredit"/>
                    <a:ea typeface="+mn-ea"/>
                    <a:cs typeface="+mn-cs"/>
                  </a:rPr>
                  <a:t>2x</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white"/>
                    </a:solidFill>
                    <a:effectLst/>
                    <a:uLnTx/>
                    <a:uFillTx/>
                    <a:latin typeface="UniCredit"/>
                    <a:ea typeface="+mn-ea"/>
                    <a:cs typeface="+mn-cs"/>
                  </a:rPr>
                  <a:t>UB4-BE</a:t>
                </a:r>
              </a:p>
            </p:txBody>
          </p:sp>
          <p:sp>
            <p:nvSpPr>
              <p:cNvPr id="15" name="Rectangle 14">
                <a:extLst>
                  <a:ext uri="{FF2B5EF4-FFF2-40B4-BE49-F238E27FC236}">
                    <a16:creationId xmlns:a16="http://schemas.microsoft.com/office/drawing/2014/main" id="{452FDAEF-A22E-4256-BCED-66242F0CF805}"/>
                  </a:ext>
                </a:extLst>
              </p:cNvPr>
              <p:cNvSpPr/>
              <p:nvPr/>
            </p:nvSpPr>
            <p:spPr>
              <a:xfrm>
                <a:off x="2331720" y="1010362"/>
                <a:ext cx="576776" cy="360000"/>
              </a:xfrm>
              <a:prstGeom prst="rect">
                <a:avLst/>
              </a:prstGeom>
              <a:solidFill>
                <a:srgbClr val="F15959"/>
              </a:solid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white"/>
                    </a:solidFill>
                    <a:effectLst/>
                    <a:uLnTx/>
                    <a:uFillTx/>
                    <a:latin typeface="UniCredit"/>
                    <a:ea typeface="+mn-ea"/>
                    <a:cs typeface="+mn-cs"/>
                  </a:rPr>
                  <a:t>UB1-Ser Layer</a:t>
                </a:r>
              </a:p>
            </p:txBody>
          </p:sp>
          <p:sp>
            <p:nvSpPr>
              <p:cNvPr id="16" name="Rectangle 15">
                <a:extLst>
                  <a:ext uri="{FF2B5EF4-FFF2-40B4-BE49-F238E27FC236}">
                    <a16:creationId xmlns:a16="http://schemas.microsoft.com/office/drawing/2014/main" id="{56C56543-5E1E-43AF-ADCF-EB6549A79DF1}"/>
                  </a:ext>
                </a:extLst>
              </p:cNvPr>
              <p:cNvSpPr/>
              <p:nvPr/>
            </p:nvSpPr>
            <p:spPr>
              <a:xfrm>
                <a:off x="2331720" y="1416481"/>
                <a:ext cx="576776" cy="360000"/>
              </a:xfrm>
              <a:prstGeom prst="rect">
                <a:avLst/>
              </a:prstGeom>
              <a:solidFill>
                <a:srgbClr val="F15959"/>
              </a:solid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white"/>
                    </a:solidFill>
                    <a:effectLst/>
                    <a:uLnTx/>
                    <a:uFillTx/>
                    <a:latin typeface="UniCredit"/>
                    <a:ea typeface="+mn-ea"/>
                    <a:cs typeface="+mn-cs"/>
                  </a:rPr>
                  <a:t>3x </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white"/>
                    </a:solidFill>
                    <a:effectLst/>
                    <a:uLnTx/>
                    <a:uFillTx/>
                    <a:latin typeface="UniCredit"/>
                    <a:ea typeface="+mn-ea"/>
                    <a:cs typeface="+mn-cs"/>
                  </a:rPr>
                  <a:t>UB1-BE</a:t>
                </a:r>
              </a:p>
            </p:txBody>
          </p:sp>
          <p:sp>
            <p:nvSpPr>
              <p:cNvPr id="60" name="Rectangle 59">
                <a:extLst>
                  <a:ext uri="{FF2B5EF4-FFF2-40B4-BE49-F238E27FC236}">
                    <a16:creationId xmlns:a16="http://schemas.microsoft.com/office/drawing/2014/main" id="{978DF1C2-370E-43E6-B792-F0DAB5E340E0}"/>
                  </a:ext>
                </a:extLst>
              </p:cNvPr>
              <p:cNvSpPr/>
              <p:nvPr/>
            </p:nvSpPr>
            <p:spPr>
              <a:xfrm>
                <a:off x="2830489" y="1110255"/>
                <a:ext cx="576776"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005095"/>
                    </a:solidFill>
                    <a:effectLst/>
                    <a:uLnTx/>
                    <a:uFillTx/>
                    <a:latin typeface="UniCredit"/>
                    <a:ea typeface="+mn-ea"/>
                    <a:cs typeface="+mn-cs"/>
                  </a:rPr>
                  <a:t>…</a:t>
                </a:r>
              </a:p>
            </p:txBody>
          </p:sp>
          <p:sp>
            <p:nvSpPr>
              <p:cNvPr id="61" name="Rectangle 60">
                <a:extLst>
                  <a:ext uri="{FF2B5EF4-FFF2-40B4-BE49-F238E27FC236}">
                    <a16:creationId xmlns:a16="http://schemas.microsoft.com/office/drawing/2014/main" id="{83357E60-5F38-44A9-91C5-F25ABA3368C7}"/>
                  </a:ext>
                </a:extLst>
              </p:cNvPr>
              <p:cNvSpPr/>
              <p:nvPr/>
            </p:nvSpPr>
            <p:spPr>
              <a:xfrm>
                <a:off x="4495166" y="1098428"/>
                <a:ext cx="576776"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005095"/>
                    </a:solidFill>
                    <a:effectLst/>
                    <a:uLnTx/>
                    <a:uFillTx/>
                    <a:latin typeface="UniCredit"/>
                    <a:ea typeface="+mn-ea"/>
                    <a:cs typeface="+mn-cs"/>
                  </a:rPr>
                  <a:t>…</a:t>
                </a:r>
              </a:p>
            </p:txBody>
          </p:sp>
          <p:sp>
            <p:nvSpPr>
              <p:cNvPr id="97" name="Rectangle 96">
                <a:extLst>
                  <a:ext uri="{FF2B5EF4-FFF2-40B4-BE49-F238E27FC236}">
                    <a16:creationId xmlns:a16="http://schemas.microsoft.com/office/drawing/2014/main" id="{749A4D61-268C-425B-8E6D-ED81C65D00FB}"/>
                  </a:ext>
                </a:extLst>
              </p:cNvPr>
              <p:cNvSpPr/>
              <p:nvPr/>
            </p:nvSpPr>
            <p:spPr>
              <a:xfrm>
                <a:off x="2360943" y="2491068"/>
                <a:ext cx="576660" cy="360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UniCredit"/>
                    <a:ea typeface="+mn-ea"/>
                    <a:cs typeface="+mn-cs"/>
                  </a:rPr>
                  <a:t>TIBCO ESB</a:t>
                </a:r>
              </a:p>
            </p:txBody>
          </p:sp>
          <p:sp>
            <p:nvSpPr>
              <p:cNvPr id="98" name="Rectangle 97">
                <a:extLst>
                  <a:ext uri="{FF2B5EF4-FFF2-40B4-BE49-F238E27FC236}">
                    <a16:creationId xmlns:a16="http://schemas.microsoft.com/office/drawing/2014/main" id="{E88F4460-5C57-4687-9F0F-898DB3876CE8}"/>
                  </a:ext>
                </a:extLst>
              </p:cNvPr>
              <p:cNvSpPr/>
              <p:nvPr/>
            </p:nvSpPr>
            <p:spPr>
              <a:xfrm>
                <a:off x="3838585" y="2491068"/>
                <a:ext cx="598123" cy="360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UniCredit"/>
                    <a:ea typeface="+mn-ea"/>
                    <a:cs typeface="+mn-cs"/>
                  </a:rPr>
                  <a:t>TIBCO RE</a:t>
                </a:r>
              </a:p>
            </p:txBody>
          </p:sp>
          <p:sp>
            <p:nvSpPr>
              <p:cNvPr id="99" name="Flowchart: Magnetic Disk 198">
                <a:extLst>
                  <a:ext uri="{FF2B5EF4-FFF2-40B4-BE49-F238E27FC236}">
                    <a16:creationId xmlns:a16="http://schemas.microsoft.com/office/drawing/2014/main" id="{75F06297-A0D9-4CD6-A316-BC0BCB928876}"/>
                  </a:ext>
                </a:extLst>
              </p:cNvPr>
              <p:cNvSpPr/>
              <p:nvPr/>
            </p:nvSpPr>
            <p:spPr bwMode="gray">
              <a:xfrm>
                <a:off x="2416359" y="3186191"/>
                <a:ext cx="347309" cy="357880"/>
              </a:xfrm>
              <a:prstGeom prst="flowChartMagneticDisk">
                <a:avLst/>
              </a:prstGeom>
              <a:solidFill>
                <a:schemeClr val="bg1">
                  <a:lumMod val="85000"/>
                </a:schemeClr>
              </a:solidFill>
              <a:ln>
                <a:solidFill>
                  <a:schemeClr val="tx1"/>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36000" rIns="0" bIns="0" rtlCol="0" anchor="t"/>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UniCredit" panose="02000506040000020004" pitchFamily="2" charset="0"/>
                    <a:ea typeface="+mn-ea"/>
                    <a:cs typeface="+mn-cs"/>
                  </a:rPr>
                  <a:t>Oracle</a:t>
                </a:r>
              </a:p>
            </p:txBody>
          </p:sp>
          <p:sp>
            <p:nvSpPr>
              <p:cNvPr id="100" name="Flowchart: Magnetic Disk 198">
                <a:extLst>
                  <a:ext uri="{FF2B5EF4-FFF2-40B4-BE49-F238E27FC236}">
                    <a16:creationId xmlns:a16="http://schemas.microsoft.com/office/drawing/2014/main" id="{79DE98B1-86F6-4D9D-AE39-F1A8B51F3262}"/>
                  </a:ext>
                </a:extLst>
              </p:cNvPr>
              <p:cNvSpPr/>
              <p:nvPr/>
            </p:nvSpPr>
            <p:spPr bwMode="gray">
              <a:xfrm>
                <a:off x="2804733" y="3186191"/>
                <a:ext cx="347309" cy="357880"/>
              </a:xfrm>
              <a:prstGeom prst="flowChartMagneticDisk">
                <a:avLst/>
              </a:prstGeom>
              <a:solidFill>
                <a:schemeClr val="bg1">
                  <a:lumMod val="85000"/>
                </a:schemeClr>
              </a:solidFill>
              <a:ln>
                <a:solidFill>
                  <a:schemeClr val="tx1"/>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36000" rIns="0" bIns="0" rtlCol="0" anchor="t"/>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UniCredit" panose="02000506040000020004" pitchFamily="2" charset="0"/>
                    <a:ea typeface="+mn-ea"/>
                    <a:cs typeface="+mn-cs"/>
                  </a:rPr>
                  <a:t>Oracle</a:t>
                </a:r>
              </a:p>
            </p:txBody>
          </p:sp>
          <p:sp>
            <p:nvSpPr>
              <p:cNvPr id="101" name="Flowchart: Magnetic Disk 198">
                <a:extLst>
                  <a:ext uri="{FF2B5EF4-FFF2-40B4-BE49-F238E27FC236}">
                    <a16:creationId xmlns:a16="http://schemas.microsoft.com/office/drawing/2014/main" id="{BE8A3533-9036-4E1B-87C9-DC6EC221B9D2}"/>
                  </a:ext>
                </a:extLst>
              </p:cNvPr>
              <p:cNvSpPr/>
              <p:nvPr/>
            </p:nvSpPr>
            <p:spPr bwMode="gray">
              <a:xfrm>
                <a:off x="3195266" y="3186191"/>
                <a:ext cx="347309" cy="357880"/>
              </a:xfrm>
              <a:prstGeom prst="flowChartMagneticDisk">
                <a:avLst/>
              </a:prstGeom>
              <a:solidFill>
                <a:schemeClr val="bg1">
                  <a:lumMod val="85000"/>
                </a:schemeClr>
              </a:solidFill>
              <a:ln>
                <a:solidFill>
                  <a:schemeClr val="tx1"/>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36000" rIns="0" bIns="0" rtlCol="0" anchor="t"/>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UniCredit" panose="02000506040000020004" pitchFamily="2" charset="0"/>
                    <a:ea typeface="+mn-ea"/>
                    <a:cs typeface="+mn-cs"/>
                  </a:rPr>
                  <a:t>Oracle</a:t>
                </a:r>
              </a:p>
            </p:txBody>
          </p:sp>
          <p:sp>
            <p:nvSpPr>
              <p:cNvPr id="102" name="Flowchart: Magnetic Disk 198">
                <a:extLst>
                  <a:ext uri="{FF2B5EF4-FFF2-40B4-BE49-F238E27FC236}">
                    <a16:creationId xmlns:a16="http://schemas.microsoft.com/office/drawing/2014/main" id="{97FD86AE-9263-4FA4-923F-1D311491C427}"/>
                  </a:ext>
                </a:extLst>
              </p:cNvPr>
              <p:cNvSpPr/>
              <p:nvPr/>
            </p:nvSpPr>
            <p:spPr bwMode="gray">
              <a:xfrm>
                <a:off x="3583640" y="3186191"/>
                <a:ext cx="347309" cy="357880"/>
              </a:xfrm>
              <a:prstGeom prst="flowChartMagneticDisk">
                <a:avLst/>
              </a:prstGeom>
              <a:solidFill>
                <a:schemeClr val="bg1">
                  <a:lumMod val="85000"/>
                </a:schemeClr>
              </a:solidFill>
              <a:ln>
                <a:solidFill>
                  <a:schemeClr val="tx1"/>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36000" rIns="0" bIns="0" rtlCol="0" anchor="t"/>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UniCredit" panose="02000506040000020004" pitchFamily="2" charset="0"/>
                    <a:ea typeface="+mn-ea"/>
                    <a:cs typeface="+mn-cs"/>
                  </a:rPr>
                  <a:t>Oracle</a:t>
                </a:r>
              </a:p>
            </p:txBody>
          </p:sp>
          <p:sp>
            <p:nvSpPr>
              <p:cNvPr id="103" name="Flowchart: Magnetic Disk 198">
                <a:extLst>
                  <a:ext uri="{FF2B5EF4-FFF2-40B4-BE49-F238E27FC236}">
                    <a16:creationId xmlns:a16="http://schemas.microsoft.com/office/drawing/2014/main" id="{47713440-A215-4871-83B4-547ACA5E9F46}"/>
                  </a:ext>
                </a:extLst>
              </p:cNvPr>
              <p:cNvSpPr/>
              <p:nvPr/>
            </p:nvSpPr>
            <p:spPr bwMode="gray">
              <a:xfrm>
                <a:off x="3971757" y="3186191"/>
                <a:ext cx="347309" cy="357880"/>
              </a:xfrm>
              <a:prstGeom prst="flowChartMagneticDisk">
                <a:avLst/>
              </a:prstGeom>
              <a:solidFill>
                <a:schemeClr val="bg1">
                  <a:lumMod val="85000"/>
                </a:schemeClr>
              </a:solidFill>
              <a:ln>
                <a:solidFill>
                  <a:schemeClr val="tx1"/>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36000" rIns="0" bIns="0" rtlCol="0" anchor="t"/>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UniCredit" panose="02000506040000020004" pitchFamily="2" charset="0"/>
                    <a:ea typeface="+mn-ea"/>
                    <a:cs typeface="+mn-cs"/>
                  </a:rPr>
                  <a:t>Oracle</a:t>
                </a:r>
              </a:p>
            </p:txBody>
          </p:sp>
          <p:sp>
            <p:nvSpPr>
              <p:cNvPr id="104" name="Flowchart: Magnetic Disk 198">
                <a:extLst>
                  <a:ext uri="{FF2B5EF4-FFF2-40B4-BE49-F238E27FC236}">
                    <a16:creationId xmlns:a16="http://schemas.microsoft.com/office/drawing/2014/main" id="{8A3B7AC7-7A0B-41CD-9C23-4454703DE184}"/>
                  </a:ext>
                </a:extLst>
              </p:cNvPr>
              <p:cNvSpPr/>
              <p:nvPr/>
            </p:nvSpPr>
            <p:spPr bwMode="gray">
              <a:xfrm>
                <a:off x="4360131" y="3186191"/>
                <a:ext cx="347309" cy="357880"/>
              </a:xfrm>
              <a:prstGeom prst="flowChartMagneticDisk">
                <a:avLst/>
              </a:prstGeom>
              <a:solidFill>
                <a:schemeClr val="bg1">
                  <a:lumMod val="85000"/>
                </a:schemeClr>
              </a:solidFill>
              <a:ln>
                <a:solidFill>
                  <a:schemeClr val="tx1"/>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36000" rIns="0" bIns="0" rtlCol="0" anchor="t"/>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UniCredit" panose="02000506040000020004" pitchFamily="2" charset="0"/>
                    <a:ea typeface="+mn-ea"/>
                    <a:cs typeface="+mn-cs"/>
                  </a:rPr>
                  <a:t>Oracle</a:t>
                </a:r>
              </a:p>
            </p:txBody>
          </p:sp>
          <p:sp>
            <p:nvSpPr>
              <p:cNvPr id="105" name="Flowchart: Magnetic Disk 198">
                <a:extLst>
                  <a:ext uri="{FF2B5EF4-FFF2-40B4-BE49-F238E27FC236}">
                    <a16:creationId xmlns:a16="http://schemas.microsoft.com/office/drawing/2014/main" id="{B0AD4EFC-1B83-4E3E-BDEB-F552A676CEB1}"/>
                  </a:ext>
                </a:extLst>
              </p:cNvPr>
              <p:cNvSpPr/>
              <p:nvPr/>
            </p:nvSpPr>
            <p:spPr bwMode="gray">
              <a:xfrm>
                <a:off x="4745735" y="3186191"/>
                <a:ext cx="347309" cy="357880"/>
              </a:xfrm>
              <a:prstGeom prst="flowChartMagneticDisk">
                <a:avLst/>
              </a:prstGeom>
              <a:solidFill>
                <a:schemeClr val="bg1">
                  <a:lumMod val="85000"/>
                </a:schemeClr>
              </a:solidFill>
              <a:ln>
                <a:solidFill>
                  <a:schemeClr val="tx1"/>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36000" rIns="0" bIns="0" rtlCol="0" anchor="t"/>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UniCredit" panose="02000506040000020004" pitchFamily="2" charset="0"/>
                    <a:ea typeface="+mn-ea"/>
                    <a:cs typeface="+mn-cs"/>
                  </a:rPr>
                  <a:t>Oracle</a:t>
                </a:r>
              </a:p>
            </p:txBody>
          </p:sp>
          <p:cxnSp>
            <p:nvCxnSpPr>
              <p:cNvPr id="107" name="Connector: Elbow 106">
                <a:extLst>
                  <a:ext uri="{FF2B5EF4-FFF2-40B4-BE49-F238E27FC236}">
                    <a16:creationId xmlns:a16="http://schemas.microsoft.com/office/drawing/2014/main" id="{19681B1B-680D-493E-8C33-D09F2749FF68}"/>
                  </a:ext>
                </a:extLst>
              </p:cNvPr>
              <p:cNvCxnSpPr>
                <a:cxnSpLocks/>
                <a:stCxn id="96" idx="2"/>
              </p:cNvCxnSpPr>
              <p:nvPr/>
            </p:nvCxnSpPr>
            <p:spPr>
              <a:xfrm rot="5400000">
                <a:off x="2869508" y="3172926"/>
                <a:ext cx="156728" cy="1708256"/>
              </a:xfrm>
              <a:prstGeom prst="bentConnector2">
                <a:avLst/>
              </a:prstGeom>
              <a:ln w="19050">
                <a:headEnd type="triangle" w="med" len="lg"/>
                <a:tailEnd type="triangle" w="med" len="lg"/>
              </a:ln>
            </p:spPr>
            <p:style>
              <a:lnRef idx="1">
                <a:schemeClr val="accent1"/>
              </a:lnRef>
              <a:fillRef idx="0">
                <a:schemeClr val="accent1"/>
              </a:fillRef>
              <a:effectRef idx="0">
                <a:schemeClr val="accent1"/>
              </a:effectRef>
              <a:fontRef idx="minor">
                <a:schemeClr val="tx1"/>
              </a:fontRef>
            </p:style>
          </p:cxnSp>
        </p:grpSp>
        <p:sp>
          <p:nvSpPr>
            <p:cNvPr id="87" name="Rectangle 86">
              <a:extLst>
                <a:ext uri="{FF2B5EF4-FFF2-40B4-BE49-F238E27FC236}">
                  <a16:creationId xmlns:a16="http://schemas.microsoft.com/office/drawing/2014/main" id="{7AF40BCC-E501-425B-98BA-06660A0443D2}"/>
                </a:ext>
              </a:extLst>
            </p:cNvPr>
            <p:cNvSpPr/>
            <p:nvPr/>
          </p:nvSpPr>
          <p:spPr>
            <a:xfrm>
              <a:off x="3582578" y="2399586"/>
              <a:ext cx="598123" cy="360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UniCredit"/>
                  <a:ea typeface="+mn-ea"/>
                  <a:cs typeface="+mn-cs"/>
                </a:rPr>
                <a:t>TIBCO EMS</a:t>
              </a:r>
            </a:p>
          </p:txBody>
        </p:sp>
      </p:grpSp>
      <p:sp>
        <p:nvSpPr>
          <p:cNvPr id="88" name="Rettangolo 210">
            <a:extLst>
              <a:ext uri="{FF2B5EF4-FFF2-40B4-BE49-F238E27FC236}">
                <a16:creationId xmlns:a16="http://schemas.microsoft.com/office/drawing/2014/main" id="{08697C36-D66F-4E7C-8849-2AB6A79F0C4F}"/>
              </a:ext>
            </a:extLst>
          </p:cNvPr>
          <p:cNvSpPr/>
          <p:nvPr/>
        </p:nvSpPr>
        <p:spPr>
          <a:xfrm>
            <a:off x="4632866" y="2917282"/>
            <a:ext cx="653209" cy="324000"/>
          </a:xfrm>
          <a:prstGeom prst="rect">
            <a:avLst/>
          </a:prstGeom>
          <a:solidFill>
            <a:schemeClr val="accent1"/>
          </a:solidFill>
          <a:ln w="12700">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800" b="1" i="0" u="none" strike="noStrike" kern="1200" cap="none" spc="0" normalizeH="0" baseline="0" noProof="0" dirty="0">
                <a:ln>
                  <a:noFill/>
                </a:ln>
                <a:solidFill>
                  <a:prstClr val="white"/>
                </a:solidFill>
                <a:effectLst/>
                <a:uLnTx/>
                <a:uFillTx/>
                <a:latin typeface="UniCredit"/>
                <a:ea typeface="+mn-ea"/>
                <a:cs typeface="+mn-cs"/>
              </a:rPr>
              <a:t>GP</a:t>
            </a:r>
          </a:p>
        </p:txBody>
      </p:sp>
    </p:spTree>
    <p:extLst>
      <p:ext uri="{BB962C8B-B14F-4D97-AF65-F5344CB8AC3E}">
        <p14:creationId xmlns:p14="http://schemas.microsoft.com/office/powerpoint/2010/main" val="284153993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14313409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809"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47" name="Group 46"/>
          <p:cNvGrpSpPr/>
          <p:nvPr/>
        </p:nvGrpSpPr>
        <p:grpSpPr>
          <a:xfrm>
            <a:off x="0" y="757002"/>
            <a:ext cx="9144001" cy="3672591"/>
            <a:chOff x="0" y="-5137"/>
            <a:chExt cx="9144001" cy="5148637"/>
          </a:xfrm>
        </p:grpSpPr>
        <p:pic>
          <p:nvPicPr>
            <p:cNvPr id="45" name="Picture 2"/>
            <p:cNvPicPr>
              <a:picLocks noChangeAspect="1" noChangeArrowheads="1"/>
            </p:cNvPicPr>
            <p:nvPr/>
          </p:nvPicPr>
          <p:blipFill rotWithShape="1">
            <a:blip r:embed="rId6" cstate="email">
              <a:duotone>
                <a:schemeClr val="accent1">
                  <a:shade val="45000"/>
                  <a:satMod val="135000"/>
                </a:schemeClr>
                <a:prstClr val="white"/>
              </a:duotone>
              <a:extLst>
                <a:ext uri="{28A0092B-C50C-407E-A947-70E740481C1C}">
                  <a14:useLocalDpi xmlns:a14="http://schemas.microsoft.com/office/drawing/2010/main"/>
                </a:ext>
              </a:extLst>
            </a:blip>
            <a:srcRect/>
            <a:stretch/>
          </p:blipFill>
          <p:spPr bwMode="auto">
            <a:xfrm>
              <a:off x="0" y="0"/>
              <a:ext cx="9144001" cy="5143500"/>
            </a:xfrm>
            <a:prstGeom prst="rect">
              <a:avLst/>
            </a:prstGeom>
            <a:noFill/>
            <a:extLst>
              <a:ext uri="{909E8E84-426E-40DD-AFC4-6F175D3DCCD1}">
                <a14:hiddenFill xmlns:a14="http://schemas.microsoft.com/office/drawing/2010/main">
                  <a:solidFill>
                    <a:srgbClr val="FFFFFF"/>
                  </a:solidFill>
                </a14:hiddenFill>
              </a:ext>
            </a:extLst>
          </p:spPr>
        </p:pic>
        <p:sp>
          <p:nvSpPr>
            <p:cNvPr id="46" name="Scheda 10"/>
            <p:cNvSpPr/>
            <p:nvPr/>
          </p:nvSpPr>
          <p:spPr>
            <a:xfrm flipH="1">
              <a:off x="0" y="-5137"/>
              <a:ext cx="6462000" cy="5148637"/>
            </a:xfrm>
            <a:custGeom>
              <a:avLst/>
              <a:gdLst>
                <a:gd name="connsiteX0" fmla="*/ 0 w 10000"/>
                <a:gd name="connsiteY0" fmla="*/ 2000 h 10000"/>
                <a:gd name="connsiteX1" fmla="*/ 2000 w 10000"/>
                <a:gd name="connsiteY1" fmla="*/ 0 h 10000"/>
                <a:gd name="connsiteX2" fmla="*/ 10000 w 10000"/>
                <a:gd name="connsiteY2" fmla="*/ 0 h 10000"/>
                <a:gd name="connsiteX3" fmla="*/ 10000 w 10000"/>
                <a:gd name="connsiteY3" fmla="*/ 10000 h 10000"/>
                <a:gd name="connsiteX4" fmla="*/ 0 w 10000"/>
                <a:gd name="connsiteY4" fmla="*/ 10000 h 10000"/>
                <a:gd name="connsiteX5" fmla="*/ 0 w 10000"/>
                <a:gd name="connsiteY5" fmla="*/ 2000 h 10000"/>
                <a:gd name="connsiteX0" fmla="*/ 0 w 10000"/>
                <a:gd name="connsiteY0" fmla="*/ 5068 h 10000"/>
                <a:gd name="connsiteX1" fmla="*/ 2000 w 10000"/>
                <a:gd name="connsiteY1" fmla="*/ 0 h 10000"/>
                <a:gd name="connsiteX2" fmla="*/ 10000 w 10000"/>
                <a:gd name="connsiteY2" fmla="*/ 0 h 10000"/>
                <a:gd name="connsiteX3" fmla="*/ 10000 w 10000"/>
                <a:gd name="connsiteY3" fmla="*/ 10000 h 10000"/>
                <a:gd name="connsiteX4" fmla="*/ 0 w 10000"/>
                <a:gd name="connsiteY4" fmla="*/ 10000 h 10000"/>
                <a:gd name="connsiteX5" fmla="*/ 0 w 10000"/>
                <a:gd name="connsiteY5" fmla="*/ 5068 h 10000"/>
                <a:gd name="connsiteX0" fmla="*/ 0 w 10000"/>
                <a:gd name="connsiteY0" fmla="*/ 5068 h 10038"/>
                <a:gd name="connsiteX1" fmla="*/ 2000 w 10000"/>
                <a:gd name="connsiteY1" fmla="*/ 0 h 10038"/>
                <a:gd name="connsiteX2" fmla="*/ 10000 w 10000"/>
                <a:gd name="connsiteY2" fmla="*/ 0 h 10038"/>
                <a:gd name="connsiteX3" fmla="*/ 10000 w 10000"/>
                <a:gd name="connsiteY3" fmla="*/ 10000 h 10038"/>
                <a:gd name="connsiteX4" fmla="*/ 3289 w 10000"/>
                <a:gd name="connsiteY4" fmla="*/ 10038 h 10038"/>
                <a:gd name="connsiteX5" fmla="*/ 0 w 10000"/>
                <a:gd name="connsiteY5" fmla="*/ 5068 h 10038"/>
                <a:gd name="connsiteX0" fmla="*/ 0 w 11595"/>
                <a:gd name="connsiteY0" fmla="*/ 7602 h 10038"/>
                <a:gd name="connsiteX1" fmla="*/ 3595 w 11595"/>
                <a:gd name="connsiteY1" fmla="*/ 0 h 10038"/>
                <a:gd name="connsiteX2" fmla="*/ 11595 w 11595"/>
                <a:gd name="connsiteY2" fmla="*/ 0 h 10038"/>
                <a:gd name="connsiteX3" fmla="*/ 11595 w 11595"/>
                <a:gd name="connsiteY3" fmla="*/ 10000 h 10038"/>
                <a:gd name="connsiteX4" fmla="*/ 4884 w 11595"/>
                <a:gd name="connsiteY4" fmla="*/ 10038 h 10038"/>
                <a:gd name="connsiteX5" fmla="*/ 0 w 11595"/>
                <a:gd name="connsiteY5" fmla="*/ 7602 h 10038"/>
                <a:gd name="connsiteX0" fmla="*/ 0 w 11177"/>
                <a:gd name="connsiteY0" fmla="*/ 6725 h 10038"/>
                <a:gd name="connsiteX1" fmla="*/ 3177 w 11177"/>
                <a:gd name="connsiteY1" fmla="*/ 0 h 10038"/>
                <a:gd name="connsiteX2" fmla="*/ 11177 w 11177"/>
                <a:gd name="connsiteY2" fmla="*/ 0 h 10038"/>
                <a:gd name="connsiteX3" fmla="*/ 11177 w 11177"/>
                <a:gd name="connsiteY3" fmla="*/ 10000 h 10038"/>
                <a:gd name="connsiteX4" fmla="*/ 4466 w 11177"/>
                <a:gd name="connsiteY4" fmla="*/ 10038 h 10038"/>
                <a:gd name="connsiteX5" fmla="*/ 0 w 11177"/>
                <a:gd name="connsiteY5" fmla="*/ 6725 h 10038"/>
                <a:gd name="connsiteX0" fmla="*/ 0 w 11177"/>
                <a:gd name="connsiteY0" fmla="*/ 6725 h 10013"/>
                <a:gd name="connsiteX1" fmla="*/ 3177 w 11177"/>
                <a:gd name="connsiteY1" fmla="*/ 0 h 10013"/>
                <a:gd name="connsiteX2" fmla="*/ 11177 w 11177"/>
                <a:gd name="connsiteY2" fmla="*/ 0 h 10013"/>
                <a:gd name="connsiteX3" fmla="*/ 11177 w 11177"/>
                <a:gd name="connsiteY3" fmla="*/ 10000 h 10013"/>
                <a:gd name="connsiteX4" fmla="*/ 4466 w 11177"/>
                <a:gd name="connsiteY4" fmla="*/ 10013 h 10013"/>
                <a:gd name="connsiteX5" fmla="*/ 0 w 11177"/>
                <a:gd name="connsiteY5" fmla="*/ 6725 h 10013"/>
                <a:gd name="connsiteX0" fmla="*/ 0 w 11177"/>
                <a:gd name="connsiteY0" fmla="*/ 6725 h 10013"/>
                <a:gd name="connsiteX1" fmla="*/ 3177 w 11177"/>
                <a:gd name="connsiteY1" fmla="*/ 0 h 10013"/>
                <a:gd name="connsiteX2" fmla="*/ 11177 w 11177"/>
                <a:gd name="connsiteY2" fmla="*/ 0 h 10013"/>
                <a:gd name="connsiteX3" fmla="*/ 11177 w 11177"/>
                <a:gd name="connsiteY3" fmla="*/ 10006 h 10013"/>
                <a:gd name="connsiteX4" fmla="*/ 4466 w 11177"/>
                <a:gd name="connsiteY4" fmla="*/ 10013 h 10013"/>
                <a:gd name="connsiteX5" fmla="*/ 0 w 11177"/>
                <a:gd name="connsiteY5" fmla="*/ 6725 h 10013"/>
                <a:gd name="connsiteX0" fmla="*/ 0 w 11177"/>
                <a:gd name="connsiteY0" fmla="*/ 6735 h 10023"/>
                <a:gd name="connsiteX1" fmla="*/ 3282 w 11177"/>
                <a:gd name="connsiteY1" fmla="*/ 0 h 10023"/>
                <a:gd name="connsiteX2" fmla="*/ 11177 w 11177"/>
                <a:gd name="connsiteY2" fmla="*/ 10 h 10023"/>
                <a:gd name="connsiteX3" fmla="*/ 11177 w 11177"/>
                <a:gd name="connsiteY3" fmla="*/ 10016 h 10023"/>
                <a:gd name="connsiteX4" fmla="*/ 4466 w 11177"/>
                <a:gd name="connsiteY4" fmla="*/ 10023 h 10023"/>
                <a:gd name="connsiteX5" fmla="*/ 0 w 11177"/>
                <a:gd name="connsiteY5" fmla="*/ 6735 h 10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77" h="10023">
                  <a:moveTo>
                    <a:pt x="0" y="6735"/>
                  </a:moveTo>
                  <a:lnTo>
                    <a:pt x="3282" y="0"/>
                  </a:lnTo>
                  <a:lnTo>
                    <a:pt x="11177" y="10"/>
                  </a:lnTo>
                  <a:lnTo>
                    <a:pt x="11177" y="10016"/>
                  </a:lnTo>
                  <a:lnTo>
                    <a:pt x="4466" y="10023"/>
                  </a:lnTo>
                  <a:lnTo>
                    <a:pt x="0" y="6735"/>
                  </a:lnTo>
                  <a:close/>
                </a:path>
              </a:pathLst>
            </a:custGeom>
            <a:solidFill>
              <a:schemeClr val="bg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pSp>
      <p:sp>
        <p:nvSpPr>
          <p:cNvPr id="4" name="Slide Number Placeholder 3"/>
          <p:cNvSpPr>
            <a:spLocks noGrp="1"/>
          </p:cNvSpPr>
          <p:nvPr>
            <p:ph type="sldNum" sz="quarter" idx="11"/>
          </p:nvPr>
        </p:nvSpPr>
        <p:spPr/>
        <p:txBody>
          <a:bodyPr/>
          <a:lstStyle/>
          <a:p>
            <a:fld id="{9E8169F0-646E-455B-AF5A-6D6C02EAEAF6}" type="slidenum">
              <a:rPr lang="en-GB" noProof="1" smtClean="0"/>
              <a:t>3</a:t>
            </a:fld>
            <a:endParaRPr lang="en-GB" noProof="1"/>
          </a:p>
        </p:txBody>
      </p:sp>
      <p:sp>
        <p:nvSpPr>
          <p:cNvPr id="8" name="Round Diagonal Corner Rectangle 7"/>
          <p:cNvSpPr/>
          <p:nvPr/>
        </p:nvSpPr>
        <p:spPr>
          <a:xfrm>
            <a:off x="1099202" y="2221768"/>
            <a:ext cx="6116724" cy="282373"/>
          </a:xfrm>
          <a:prstGeom prst="round2Diag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24000" rtlCol="0" anchor="ctr"/>
          <a:lstStyle/>
          <a:p>
            <a:r>
              <a:rPr lang="en-GB" sz="1600" dirty="0">
                <a:solidFill>
                  <a:schemeClr val="tx1"/>
                </a:solidFill>
              </a:rPr>
              <a:t>OWASP and vulnerabilities resolution</a:t>
            </a:r>
            <a:endParaRPr lang="en-US" sz="1600" dirty="0">
              <a:solidFill>
                <a:schemeClr val="tx1"/>
              </a:solidFill>
            </a:endParaRPr>
          </a:p>
        </p:txBody>
      </p:sp>
      <p:sp>
        <p:nvSpPr>
          <p:cNvPr id="10" name="Round Diagonal Corner Rectangle 9"/>
          <p:cNvSpPr/>
          <p:nvPr/>
        </p:nvSpPr>
        <p:spPr>
          <a:xfrm>
            <a:off x="1099208" y="964660"/>
            <a:ext cx="6116724" cy="282210"/>
          </a:xfrm>
          <a:prstGeom prst="round2Diag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24000" rtlCol="0" anchor="ctr"/>
          <a:lstStyle/>
          <a:p>
            <a:r>
              <a:rPr lang="en-GB" sz="1600" dirty="0">
                <a:solidFill>
                  <a:schemeClr val="tx1"/>
                </a:solidFill>
              </a:rPr>
              <a:t>Introduction to DevOps and On boarding Project</a:t>
            </a:r>
            <a:endParaRPr lang="en-US" sz="1600" dirty="0">
              <a:solidFill>
                <a:schemeClr val="tx1"/>
              </a:solidFill>
            </a:endParaRPr>
          </a:p>
        </p:txBody>
      </p:sp>
      <p:sp>
        <p:nvSpPr>
          <p:cNvPr id="11" name="Round Diagonal Corner Rectangle 10"/>
          <p:cNvSpPr/>
          <p:nvPr/>
        </p:nvSpPr>
        <p:spPr>
          <a:xfrm>
            <a:off x="1099203" y="1383587"/>
            <a:ext cx="6116724" cy="282373"/>
          </a:xfrm>
          <a:prstGeom prst="round2Diag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24000" rtlCol="0" anchor="ctr"/>
          <a:lstStyle/>
          <a:p>
            <a:r>
              <a:rPr lang="en-GB" sz="1600" dirty="0">
                <a:solidFill>
                  <a:schemeClr val="tx1"/>
                </a:solidFill>
              </a:rPr>
              <a:t>GIT, pipeline and build automation</a:t>
            </a:r>
            <a:endParaRPr lang="en-US" sz="1600" dirty="0">
              <a:solidFill>
                <a:schemeClr val="tx1"/>
              </a:solidFill>
            </a:endParaRPr>
          </a:p>
        </p:txBody>
      </p:sp>
      <p:sp>
        <p:nvSpPr>
          <p:cNvPr id="12" name="Round Diagonal Corner Rectangle 11"/>
          <p:cNvSpPr/>
          <p:nvPr/>
        </p:nvSpPr>
        <p:spPr>
          <a:xfrm>
            <a:off x="1099202" y="1802678"/>
            <a:ext cx="6116724" cy="282373"/>
          </a:xfrm>
          <a:prstGeom prst="round2Diag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24000" rtlCol="0" anchor="ctr"/>
          <a:lstStyle/>
          <a:p>
            <a:r>
              <a:rPr lang="en-GB" sz="1600" dirty="0">
                <a:solidFill>
                  <a:schemeClr val="tx1"/>
                </a:solidFill>
              </a:rPr>
              <a:t>Test Automation principles and Unit Testing</a:t>
            </a:r>
            <a:endParaRPr lang="en-US" sz="1600" dirty="0">
              <a:solidFill>
                <a:schemeClr val="tx1"/>
              </a:solidFill>
            </a:endParaRPr>
          </a:p>
        </p:txBody>
      </p:sp>
      <p:sp>
        <p:nvSpPr>
          <p:cNvPr id="30" name="Round Diagonal Corner Rectangle 29"/>
          <p:cNvSpPr/>
          <p:nvPr/>
        </p:nvSpPr>
        <p:spPr>
          <a:xfrm>
            <a:off x="1099202" y="3891408"/>
            <a:ext cx="6116724" cy="282373"/>
          </a:xfrm>
          <a:prstGeom prst="round2Diag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24000" rtlCol="0" anchor="ctr"/>
          <a:lstStyle/>
          <a:p>
            <a:r>
              <a:rPr lang="en-GB" sz="1600" dirty="0">
                <a:solidFill>
                  <a:schemeClr val="tx1"/>
                </a:solidFill>
              </a:rPr>
              <a:t>Q&amp;A</a:t>
            </a:r>
            <a:endParaRPr lang="en-US" sz="1600" dirty="0">
              <a:solidFill>
                <a:schemeClr val="tx1"/>
              </a:solidFill>
            </a:endParaRPr>
          </a:p>
        </p:txBody>
      </p:sp>
      <p:sp>
        <p:nvSpPr>
          <p:cNvPr id="31" name="Round Diagonal Corner Rectangle 30"/>
          <p:cNvSpPr/>
          <p:nvPr/>
        </p:nvSpPr>
        <p:spPr>
          <a:xfrm>
            <a:off x="1099208" y="2634300"/>
            <a:ext cx="6116724" cy="282210"/>
          </a:xfrm>
          <a:prstGeom prst="round2Diag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24000" rtlCol="0" anchor="ctr"/>
          <a:lstStyle/>
          <a:p>
            <a:r>
              <a:rPr lang="en-GB" sz="1600" dirty="0">
                <a:solidFill>
                  <a:schemeClr val="tx1"/>
                </a:solidFill>
              </a:rPr>
              <a:t>Deploy, database automation and Service virtualisation</a:t>
            </a:r>
            <a:endParaRPr lang="en-US" sz="1600" dirty="0">
              <a:solidFill>
                <a:schemeClr val="tx1"/>
              </a:solidFill>
            </a:endParaRPr>
          </a:p>
        </p:txBody>
      </p:sp>
      <p:sp>
        <p:nvSpPr>
          <p:cNvPr id="32" name="Round Diagonal Corner Rectangle 31"/>
          <p:cNvSpPr/>
          <p:nvPr/>
        </p:nvSpPr>
        <p:spPr>
          <a:xfrm>
            <a:off x="1099203" y="3053227"/>
            <a:ext cx="6116724" cy="282373"/>
          </a:xfrm>
          <a:prstGeom prst="round2Diag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24000" rtlCol="0" anchor="ctr"/>
          <a:lstStyle/>
          <a:p>
            <a:r>
              <a:rPr lang="en-GB" sz="1600" dirty="0">
                <a:solidFill>
                  <a:schemeClr val="tx1"/>
                </a:solidFill>
              </a:rPr>
              <a:t>Integration and E2E Testing</a:t>
            </a:r>
            <a:endParaRPr lang="en-US" sz="1600" dirty="0">
              <a:solidFill>
                <a:schemeClr val="tx1"/>
              </a:solidFill>
            </a:endParaRPr>
          </a:p>
        </p:txBody>
      </p:sp>
      <p:sp>
        <p:nvSpPr>
          <p:cNvPr id="33" name="Round Diagonal Corner Rectangle 32"/>
          <p:cNvSpPr/>
          <p:nvPr/>
        </p:nvSpPr>
        <p:spPr>
          <a:xfrm>
            <a:off x="1099202" y="3472318"/>
            <a:ext cx="6116724" cy="282373"/>
          </a:xfrm>
          <a:prstGeom prst="round2Diag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24000" rtlCol="0" anchor="ctr"/>
          <a:lstStyle/>
          <a:p>
            <a:r>
              <a:rPr lang="en-GB" sz="1600" dirty="0">
                <a:solidFill>
                  <a:schemeClr val="tx1"/>
                </a:solidFill>
              </a:rPr>
              <a:t>Next steps</a:t>
            </a:r>
            <a:endParaRPr lang="en-US" sz="1600" dirty="0">
              <a:solidFill>
                <a:schemeClr val="tx1"/>
              </a:solidFill>
            </a:endParaRPr>
          </a:p>
        </p:txBody>
      </p:sp>
      <p:sp>
        <p:nvSpPr>
          <p:cNvPr id="43" name="Title 5">
            <a:extLst>
              <a:ext uri="{FF2B5EF4-FFF2-40B4-BE49-F238E27FC236}">
                <a16:creationId xmlns:a16="http://schemas.microsoft.com/office/drawing/2014/main" id="{AE405A7D-0957-4C9C-9717-0C220C38682F}"/>
              </a:ext>
            </a:extLst>
          </p:cNvPr>
          <p:cNvSpPr>
            <a:spLocks noGrp="1"/>
          </p:cNvSpPr>
          <p:nvPr>
            <p:ph type="title"/>
          </p:nvPr>
        </p:nvSpPr>
        <p:spPr>
          <a:xfrm>
            <a:off x="270000" y="0"/>
            <a:ext cx="8679600" cy="702000"/>
          </a:xfrm>
        </p:spPr>
        <p:txBody>
          <a:bodyPr/>
          <a:lstStyle/>
          <a:p>
            <a:r>
              <a:rPr lang="en-US" dirty="0"/>
              <a:t>Agenda</a:t>
            </a:r>
          </a:p>
        </p:txBody>
      </p:sp>
      <p:sp>
        <p:nvSpPr>
          <p:cNvPr id="48" name="Round Diagonal Corner Rectangle 47"/>
          <p:cNvSpPr/>
          <p:nvPr/>
        </p:nvSpPr>
        <p:spPr>
          <a:xfrm>
            <a:off x="585996" y="964660"/>
            <a:ext cx="418070" cy="282210"/>
          </a:xfrm>
          <a:prstGeom prst="round2DiagRect">
            <a:avLst/>
          </a:prstGeom>
          <a:solidFill>
            <a:srgbClr val="E2001A"/>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0000" rtlCol="0" anchor="ctr"/>
          <a:lstStyle/>
          <a:p>
            <a:pPr algn="ctr"/>
            <a:r>
              <a:rPr lang="it-IT" sz="1600" b="1" dirty="0">
                <a:solidFill>
                  <a:schemeClr val="bg1"/>
                </a:solidFill>
              </a:rPr>
              <a:t>1</a:t>
            </a:r>
            <a:endParaRPr lang="en-US" sz="1600" b="1" dirty="0">
              <a:solidFill>
                <a:schemeClr val="bg1"/>
              </a:solidFill>
            </a:endParaRPr>
          </a:p>
        </p:txBody>
      </p:sp>
      <p:sp>
        <p:nvSpPr>
          <p:cNvPr id="49" name="Round Diagonal Corner Rectangle 48"/>
          <p:cNvSpPr/>
          <p:nvPr/>
        </p:nvSpPr>
        <p:spPr>
          <a:xfrm>
            <a:off x="585996" y="1383750"/>
            <a:ext cx="418070" cy="282210"/>
          </a:xfrm>
          <a:prstGeom prst="round2DiagRect">
            <a:avLst/>
          </a:prstGeom>
          <a:solidFill>
            <a:srgbClr val="E2001A"/>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0000" rtlCol="0" anchor="ctr"/>
          <a:lstStyle/>
          <a:p>
            <a:pPr algn="ctr"/>
            <a:r>
              <a:rPr lang="it-IT" sz="1600" b="1" dirty="0">
                <a:solidFill>
                  <a:schemeClr val="bg1"/>
                </a:solidFill>
              </a:rPr>
              <a:t>2</a:t>
            </a:r>
            <a:endParaRPr lang="en-US" sz="1600" b="1" dirty="0">
              <a:solidFill>
                <a:schemeClr val="bg1"/>
              </a:solidFill>
            </a:endParaRPr>
          </a:p>
        </p:txBody>
      </p:sp>
      <p:sp>
        <p:nvSpPr>
          <p:cNvPr id="50" name="Round Diagonal Corner Rectangle 49"/>
          <p:cNvSpPr/>
          <p:nvPr/>
        </p:nvSpPr>
        <p:spPr>
          <a:xfrm>
            <a:off x="585996" y="1802678"/>
            <a:ext cx="418070" cy="282210"/>
          </a:xfrm>
          <a:prstGeom prst="round2DiagRect">
            <a:avLst/>
          </a:prstGeom>
          <a:solidFill>
            <a:srgbClr val="E2001A"/>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0000" rtlCol="0" anchor="ctr"/>
          <a:lstStyle/>
          <a:p>
            <a:pPr algn="ctr"/>
            <a:r>
              <a:rPr lang="it-IT" sz="1600" b="1" dirty="0">
                <a:solidFill>
                  <a:schemeClr val="bg1"/>
                </a:solidFill>
              </a:rPr>
              <a:t>3</a:t>
            </a:r>
            <a:endParaRPr lang="en-US" sz="1600" b="1" dirty="0">
              <a:solidFill>
                <a:schemeClr val="bg1"/>
              </a:solidFill>
            </a:endParaRPr>
          </a:p>
        </p:txBody>
      </p:sp>
      <p:sp>
        <p:nvSpPr>
          <p:cNvPr id="51" name="Round Diagonal Corner Rectangle 50"/>
          <p:cNvSpPr/>
          <p:nvPr/>
        </p:nvSpPr>
        <p:spPr>
          <a:xfrm>
            <a:off x="585996" y="2221768"/>
            <a:ext cx="418070" cy="282210"/>
          </a:xfrm>
          <a:prstGeom prst="round2DiagRect">
            <a:avLst/>
          </a:prstGeom>
          <a:solidFill>
            <a:srgbClr val="E2001A"/>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0000" rtlCol="0" anchor="ctr"/>
          <a:lstStyle/>
          <a:p>
            <a:pPr algn="ctr"/>
            <a:r>
              <a:rPr lang="it-IT" sz="1600" b="1" dirty="0">
                <a:solidFill>
                  <a:schemeClr val="bg1"/>
                </a:solidFill>
              </a:rPr>
              <a:t>4</a:t>
            </a:r>
            <a:endParaRPr lang="en-US" sz="1600" b="1" dirty="0">
              <a:solidFill>
                <a:schemeClr val="bg1"/>
              </a:solidFill>
            </a:endParaRPr>
          </a:p>
        </p:txBody>
      </p:sp>
      <p:sp>
        <p:nvSpPr>
          <p:cNvPr id="52" name="Round Diagonal Corner Rectangle 51"/>
          <p:cNvSpPr/>
          <p:nvPr/>
        </p:nvSpPr>
        <p:spPr>
          <a:xfrm>
            <a:off x="585996" y="2634300"/>
            <a:ext cx="418070" cy="282210"/>
          </a:xfrm>
          <a:prstGeom prst="round2DiagRect">
            <a:avLst/>
          </a:prstGeom>
          <a:solidFill>
            <a:srgbClr val="E2001A"/>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0000" rtlCol="0" anchor="ctr"/>
          <a:lstStyle/>
          <a:p>
            <a:pPr algn="ctr"/>
            <a:r>
              <a:rPr lang="it-IT" sz="1600" b="1" dirty="0">
                <a:solidFill>
                  <a:schemeClr val="bg1"/>
                </a:solidFill>
              </a:rPr>
              <a:t>5</a:t>
            </a:r>
            <a:endParaRPr lang="en-US" sz="1600" b="1" dirty="0">
              <a:solidFill>
                <a:schemeClr val="bg1"/>
              </a:solidFill>
            </a:endParaRPr>
          </a:p>
        </p:txBody>
      </p:sp>
      <p:sp>
        <p:nvSpPr>
          <p:cNvPr id="53" name="Round Diagonal Corner Rectangle 52"/>
          <p:cNvSpPr/>
          <p:nvPr/>
        </p:nvSpPr>
        <p:spPr>
          <a:xfrm>
            <a:off x="585996" y="3053390"/>
            <a:ext cx="418070" cy="282210"/>
          </a:xfrm>
          <a:prstGeom prst="round2DiagRect">
            <a:avLst/>
          </a:prstGeom>
          <a:solidFill>
            <a:srgbClr val="E2001A"/>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0000" rtlCol="0" anchor="ctr"/>
          <a:lstStyle/>
          <a:p>
            <a:pPr algn="ctr"/>
            <a:r>
              <a:rPr lang="it-IT" sz="1600" b="1" dirty="0">
                <a:solidFill>
                  <a:schemeClr val="bg1"/>
                </a:solidFill>
              </a:rPr>
              <a:t>6</a:t>
            </a:r>
            <a:endParaRPr lang="en-US" sz="1600" b="1" dirty="0">
              <a:solidFill>
                <a:schemeClr val="bg1"/>
              </a:solidFill>
            </a:endParaRPr>
          </a:p>
        </p:txBody>
      </p:sp>
      <p:sp>
        <p:nvSpPr>
          <p:cNvPr id="54" name="Round Diagonal Corner Rectangle 53"/>
          <p:cNvSpPr/>
          <p:nvPr/>
        </p:nvSpPr>
        <p:spPr>
          <a:xfrm>
            <a:off x="585996" y="3463765"/>
            <a:ext cx="418070" cy="282210"/>
          </a:xfrm>
          <a:prstGeom prst="round2DiagRect">
            <a:avLst/>
          </a:prstGeom>
          <a:solidFill>
            <a:srgbClr val="E2001A"/>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0000" rtlCol="0" anchor="ctr"/>
          <a:lstStyle/>
          <a:p>
            <a:pPr algn="ctr"/>
            <a:r>
              <a:rPr lang="it-IT" sz="1600" b="1" dirty="0">
                <a:solidFill>
                  <a:schemeClr val="bg1"/>
                </a:solidFill>
              </a:rPr>
              <a:t>7</a:t>
            </a:r>
            <a:endParaRPr lang="en-US" sz="1600" b="1" dirty="0">
              <a:solidFill>
                <a:schemeClr val="bg1"/>
              </a:solidFill>
            </a:endParaRPr>
          </a:p>
        </p:txBody>
      </p:sp>
      <p:sp>
        <p:nvSpPr>
          <p:cNvPr id="55" name="Round Diagonal Corner Rectangle 54"/>
          <p:cNvSpPr/>
          <p:nvPr/>
        </p:nvSpPr>
        <p:spPr>
          <a:xfrm>
            <a:off x="585996" y="3882855"/>
            <a:ext cx="418070" cy="282210"/>
          </a:xfrm>
          <a:prstGeom prst="round2DiagRect">
            <a:avLst/>
          </a:prstGeom>
          <a:solidFill>
            <a:srgbClr val="E2001A"/>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0000" rtlCol="0" anchor="ctr"/>
          <a:lstStyle/>
          <a:p>
            <a:pPr algn="ctr"/>
            <a:r>
              <a:rPr lang="it-IT" sz="1600" b="1" dirty="0">
                <a:solidFill>
                  <a:schemeClr val="bg1"/>
                </a:solidFill>
              </a:rPr>
              <a:t>8</a:t>
            </a:r>
            <a:endParaRPr lang="en-US" sz="1600" b="1" dirty="0">
              <a:solidFill>
                <a:schemeClr val="bg1"/>
              </a:solidFill>
            </a:endParaRPr>
          </a:p>
        </p:txBody>
      </p:sp>
    </p:spTree>
    <p:extLst>
      <p:ext uri="{BB962C8B-B14F-4D97-AF65-F5344CB8AC3E}">
        <p14:creationId xmlns:p14="http://schemas.microsoft.com/office/powerpoint/2010/main" val="128514302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5AA60F5-319D-4680-9232-506D53B4275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1391" name="think-cell Slide" r:id="rId5" imgW="360" imgH="360" progId="TCLayout.ActiveDocument.1">
                  <p:embed/>
                </p:oleObj>
              </mc:Choice>
              <mc:Fallback>
                <p:oleObj name="think-cell Slide" r:id="rId5" imgW="360" imgH="360" progId="TCLayout.ActiveDocument.1">
                  <p:embed/>
                  <p:pic>
                    <p:nvPicPr>
                      <p:cNvPr id="3" name="Object 2" hidden="1">
                        <a:extLst>
                          <a:ext uri="{FF2B5EF4-FFF2-40B4-BE49-F238E27FC236}">
                            <a16:creationId xmlns:a16="http://schemas.microsoft.com/office/drawing/2014/main" id="{75AA60F5-319D-4680-9232-506D53B4275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549B43-CC9F-4494-9C78-52F258B8ED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2400" b="1" i="0" u="none" strike="noStrike" kern="1200" cap="none" spc="0" normalizeH="0" baseline="0" noProof="0" dirty="0">
              <a:ln>
                <a:noFill/>
              </a:ln>
              <a:solidFill>
                <a:prstClr val="white"/>
              </a:solidFill>
              <a:effectLst/>
              <a:uLnTx/>
              <a:uFillTx/>
              <a:latin typeface="UniCredit" panose="02000506040000020004" pitchFamily="2" charset="0"/>
              <a:ea typeface="+mn-ea"/>
              <a:cs typeface="Arial" panose="020B0604020202020204" pitchFamily="34" charset="0"/>
              <a:sym typeface="UniCredit" panose="02000506040000020004" pitchFamily="2" charset="0"/>
            </a:endParaRPr>
          </a:p>
        </p:txBody>
      </p:sp>
      <p:sp>
        <p:nvSpPr>
          <p:cNvPr id="4" name="Slide Number Placeholder 3">
            <a:extLst>
              <a:ext uri="{FF2B5EF4-FFF2-40B4-BE49-F238E27FC236}">
                <a16:creationId xmlns:a16="http://schemas.microsoft.com/office/drawing/2014/main" id="{9391AFC5-AE70-43F9-9CBA-B84A011EF7D0}"/>
              </a:ext>
            </a:extLst>
          </p:cNvPr>
          <p:cNvSpPr>
            <a:spLocks noGrp="1"/>
          </p:cNvSpPr>
          <p:nvPr>
            <p:ph type="sldNum" sz="quarter" idx="11"/>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fld id="{1D1043DC-2681-49D5-9D69-158B3FA3398E}" type="slidenum">
              <a:rPr kumimoji="0" lang="en-GB" sz="900" b="0" i="0" u="none" strike="noStrike" kern="1200" cap="none" spc="0" normalizeH="0" baseline="0" noProof="1" smtClean="0">
                <a:ln>
                  <a:noFill/>
                </a:ln>
                <a:solidFill>
                  <a:srgbClr val="00AFD0"/>
                </a:solidFill>
                <a:effectLst/>
                <a:uLnTx/>
                <a:uFillTx/>
                <a:latin typeface="UniCredit"/>
                <a:ea typeface="+mn-ea"/>
                <a:cs typeface="Arial" panose="020B0604020202020204" pitchFamily="34" charset="0"/>
              </a:rPr>
              <a:pPr marL="0" marR="0" lvl="0" indent="0" algn="l" defTabSz="685800" rtl="0" eaLnBrk="1" fontAlgn="auto" latinLnBrk="0" hangingPunct="1">
                <a:lnSpc>
                  <a:spcPct val="100000"/>
                </a:lnSpc>
                <a:spcBef>
                  <a:spcPts val="0"/>
                </a:spcBef>
                <a:spcAft>
                  <a:spcPts val="0"/>
                </a:spcAft>
                <a:buClrTx/>
                <a:buSzTx/>
                <a:buFontTx/>
                <a:buNone/>
                <a:tabLst/>
                <a:defRPr/>
              </a:pPr>
              <a:t>30</a:t>
            </a:fld>
            <a:endParaRPr kumimoji="0" lang="en-GB" sz="900" b="0" i="0" u="none" strike="noStrike" kern="1200" cap="none" spc="0" normalizeH="0" baseline="0" noProof="1">
              <a:ln>
                <a:noFill/>
              </a:ln>
              <a:solidFill>
                <a:srgbClr val="00AFD0"/>
              </a:solidFill>
              <a:effectLst/>
              <a:uLnTx/>
              <a:uFillTx/>
              <a:latin typeface="UniCredit"/>
              <a:ea typeface="+mn-ea"/>
              <a:cs typeface="Arial" panose="020B0604020202020204" pitchFamily="34" charset="0"/>
            </a:endParaRPr>
          </a:p>
        </p:txBody>
      </p:sp>
      <p:pic>
        <p:nvPicPr>
          <p:cNvPr id="18" name="Content Placeholder 17">
            <a:extLst>
              <a:ext uri="{FF2B5EF4-FFF2-40B4-BE49-F238E27FC236}">
                <a16:creationId xmlns:a16="http://schemas.microsoft.com/office/drawing/2014/main" id="{92AAEDF1-7ACC-41AA-9794-AD0D4EA8A6D7}"/>
              </a:ext>
            </a:extLst>
          </p:cNvPr>
          <p:cNvPicPr>
            <a:picLocks noGrp="1" noChangeAspect="1"/>
          </p:cNvPicPr>
          <p:nvPr>
            <p:ph sz="quarter" idx="16"/>
          </p:nvPr>
        </p:nvPicPr>
        <p:blipFill>
          <a:blip r:embed="rId7">
            <a:extLst>
              <a:ext uri="{28A0092B-C50C-407E-A947-70E740481C1C}">
                <a14:useLocalDpi xmlns:a14="http://schemas.microsoft.com/office/drawing/2010/main" val="0"/>
              </a:ext>
            </a:extLst>
          </a:blip>
          <a:srcRect/>
          <a:stretch/>
        </p:blipFill>
        <p:spPr>
          <a:xfrm>
            <a:off x="5718273" y="1278002"/>
            <a:ext cx="1903498" cy="2133054"/>
          </a:xfrm>
        </p:spPr>
      </p:pic>
      <p:pic>
        <p:nvPicPr>
          <p:cNvPr id="22" name="Content Placeholder 21">
            <a:extLst>
              <a:ext uri="{FF2B5EF4-FFF2-40B4-BE49-F238E27FC236}">
                <a16:creationId xmlns:a16="http://schemas.microsoft.com/office/drawing/2014/main" id="{0B37C6F2-D048-4CDF-A929-0AF6E5A1AE30}"/>
              </a:ext>
            </a:extLst>
          </p:cNvPr>
          <p:cNvPicPr>
            <a:picLocks noGrp="1" noChangeAspect="1"/>
          </p:cNvPicPr>
          <p:nvPr>
            <p:ph sz="quarter" idx="15"/>
          </p:nvPr>
        </p:nvPicPr>
        <p:blipFill>
          <a:blip r:embed="rId8">
            <a:extLst>
              <a:ext uri="{28A0092B-C50C-407E-A947-70E740481C1C}">
                <a14:useLocalDpi xmlns:a14="http://schemas.microsoft.com/office/drawing/2010/main" val="0"/>
              </a:ext>
            </a:extLst>
          </a:blip>
          <a:srcRect/>
          <a:stretch/>
        </p:blipFill>
        <p:spPr>
          <a:xfrm>
            <a:off x="670729" y="1304014"/>
            <a:ext cx="3329369" cy="2107353"/>
          </a:xfrm>
        </p:spPr>
      </p:pic>
      <p:sp>
        <p:nvSpPr>
          <p:cNvPr id="8" name="Title 7">
            <a:extLst>
              <a:ext uri="{FF2B5EF4-FFF2-40B4-BE49-F238E27FC236}">
                <a16:creationId xmlns:a16="http://schemas.microsoft.com/office/drawing/2014/main" id="{45FCC703-4DF5-4345-8545-364716AF232A}"/>
              </a:ext>
            </a:extLst>
          </p:cNvPr>
          <p:cNvSpPr>
            <a:spLocks noGrp="1"/>
          </p:cNvSpPr>
          <p:nvPr>
            <p:ph type="title"/>
          </p:nvPr>
        </p:nvSpPr>
        <p:spPr>
          <a:xfrm>
            <a:off x="270000" y="243859"/>
            <a:ext cx="5816889" cy="298757"/>
          </a:xfrm>
        </p:spPr>
        <p:txBody>
          <a:bodyPr/>
          <a:lstStyle/>
          <a:p>
            <a:r>
              <a:rPr lang="en-GB" dirty="0"/>
              <a:t>New DevOps Environments – from Complexity to Isolation and Test Suite Portability</a:t>
            </a:r>
          </a:p>
        </p:txBody>
      </p:sp>
      <p:sp>
        <p:nvSpPr>
          <p:cNvPr id="34" name="Rectangle 33">
            <a:extLst>
              <a:ext uri="{FF2B5EF4-FFF2-40B4-BE49-F238E27FC236}">
                <a16:creationId xmlns:a16="http://schemas.microsoft.com/office/drawing/2014/main" id="{082A8805-361D-480D-8981-BFC70FF0DA92}"/>
              </a:ext>
            </a:extLst>
          </p:cNvPr>
          <p:cNvSpPr/>
          <p:nvPr/>
        </p:nvSpPr>
        <p:spPr>
          <a:xfrm>
            <a:off x="337736" y="3463375"/>
            <a:ext cx="3910651" cy="1015663"/>
          </a:xfrm>
          <a:prstGeom prst="rect">
            <a:avLst/>
          </a:prstGeom>
        </p:spPr>
        <p:txBody>
          <a:bodyPr wrap="square">
            <a:spAutoFit/>
          </a:bodyPr>
          <a:lstStyle/>
          <a:p>
            <a:pPr marL="171450" marR="0" lvl="0" indent="-171450" algn="l" defTabSz="6858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GB" sz="1200" b="1" i="0" u="none" strike="noStrike" kern="1200" cap="none" spc="0" normalizeH="0" baseline="0" noProof="0" dirty="0">
                <a:ln>
                  <a:noFill/>
                </a:ln>
                <a:solidFill>
                  <a:srgbClr val="00AFD0"/>
                </a:solidFill>
                <a:effectLst/>
                <a:uLnTx/>
                <a:uFillTx/>
                <a:latin typeface="UniCredit"/>
                <a:ea typeface="+mn-ea"/>
                <a:cs typeface="Courier New" panose="02070309020205020404" pitchFamily="49" charset="0"/>
              </a:rPr>
              <a:t>DevOps</a:t>
            </a:r>
            <a:r>
              <a:rPr kumimoji="0" lang="en-GB" sz="1200" b="0" i="0" u="none" strike="noStrike" kern="1200" cap="none" spc="0" normalizeH="0" baseline="0" noProof="0" dirty="0">
                <a:ln>
                  <a:noFill/>
                </a:ln>
                <a:solidFill>
                  <a:srgbClr val="00AFD0"/>
                </a:solidFill>
                <a:effectLst/>
                <a:uLnTx/>
                <a:uFillTx/>
                <a:latin typeface="UniCredit"/>
                <a:ea typeface="+mn-ea"/>
                <a:cs typeface="Courier New" panose="02070309020205020404" pitchFamily="49" charset="0"/>
              </a:rPr>
              <a:t> </a:t>
            </a:r>
            <a:r>
              <a:rPr kumimoji="0" lang="en-GB" sz="1200" b="1" i="0" u="none" strike="noStrike" kern="1200" cap="none" spc="0" normalizeH="0" baseline="0" noProof="0" dirty="0">
                <a:ln>
                  <a:noFill/>
                </a:ln>
                <a:solidFill>
                  <a:srgbClr val="00AFD0"/>
                </a:solidFill>
                <a:effectLst/>
                <a:uLnTx/>
                <a:uFillTx/>
                <a:latin typeface="UniCredit"/>
                <a:ea typeface="+mn-ea"/>
                <a:cs typeface="Courier New" panose="02070309020205020404" pitchFamily="49" charset="0"/>
              </a:rPr>
              <a:t>Environments</a:t>
            </a:r>
            <a:r>
              <a:rPr kumimoji="0" lang="en-GB" sz="1200" b="0" i="0" u="none" strike="noStrike" kern="1200" cap="none" spc="0" normalizeH="0" baseline="0" noProof="0" dirty="0">
                <a:ln>
                  <a:noFill/>
                </a:ln>
                <a:solidFill>
                  <a:prstClr val="black"/>
                </a:solidFill>
                <a:effectLst/>
                <a:uLnTx/>
                <a:uFillTx/>
                <a:latin typeface="UniCredit"/>
                <a:ea typeface="+mn-ea"/>
                <a:cs typeface="Courier New" panose="02070309020205020404" pitchFamily="49" charset="0"/>
              </a:rPr>
              <a:t> [UJ/Q0] – 4  WAS clusters, 2 Oracle DBS, 15 schemas per instance, and Pipeline</a:t>
            </a:r>
          </a:p>
          <a:p>
            <a:pPr marL="171450" marR="0" lvl="0" indent="-171450" algn="l" defTabSz="6858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1" i="0" u="none" strike="noStrike" kern="1200" cap="none" spc="0" normalizeH="0" baseline="0" noProof="0" dirty="0">
                <a:ln>
                  <a:noFill/>
                </a:ln>
                <a:solidFill>
                  <a:srgbClr val="00AFD0"/>
                </a:solidFill>
                <a:effectLst/>
                <a:uLnTx/>
                <a:uFillTx/>
                <a:latin typeface="UniCredit"/>
                <a:ea typeface="+mn-ea"/>
                <a:cs typeface="+mn-cs"/>
              </a:rPr>
              <a:t>Activities</a:t>
            </a:r>
            <a:r>
              <a:rPr kumimoji="0" lang="en-US" sz="1200" b="0" i="0" u="none" strike="noStrike" kern="1200" cap="none" spc="0" normalizeH="0" baseline="0" noProof="0" dirty="0">
                <a:ln>
                  <a:noFill/>
                </a:ln>
                <a:solidFill>
                  <a:prstClr val="black"/>
                </a:solidFill>
                <a:effectLst/>
                <a:uLnTx/>
                <a:uFillTx/>
                <a:latin typeface="UniCredit"/>
                <a:ea typeface="+mn-ea"/>
                <a:cs typeface="+mn-cs"/>
              </a:rPr>
              <a:t>: New Clusters, OPAT IDs, CyberArk, Data Sources, Deploy target, Publish Apps, Technical Users, Test Apps.</a:t>
            </a:r>
          </a:p>
          <a:p>
            <a:pPr marL="171450" marR="0" lvl="0" indent="-171450" algn="l" defTabSz="6858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1" i="0" u="none" strike="noStrike" kern="1200" cap="none" spc="0" normalizeH="0" baseline="0" noProof="0" dirty="0">
                <a:ln>
                  <a:noFill/>
                </a:ln>
                <a:solidFill>
                  <a:srgbClr val="00AFD0"/>
                </a:solidFill>
                <a:effectLst/>
                <a:uLnTx/>
                <a:uFillTx/>
                <a:latin typeface="UniCredit"/>
                <a:ea typeface="+mn-ea"/>
                <a:cs typeface="+mn-cs"/>
              </a:rPr>
              <a:t>Oracle</a:t>
            </a:r>
            <a:r>
              <a:rPr kumimoji="0" lang="en-US" sz="1200" b="0" i="0" u="none" strike="noStrike" kern="1200" cap="none" spc="0" normalizeH="0" baseline="0" noProof="0" dirty="0">
                <a:ln>
                  <a:noFill/>
                </a:ln>
                <a:solidFill>
                  <a:prstClr val="black"/>
                </a:solidFill>
                <a:effectLst/>
                <a:uLnTx/>
                <a:uFillTx/>
                <a:latin typeface="UniCredit"/>
                <a:ea typeface="+mn-ea"/>
                <a:cs typeface="+mn-cs"/>
              </a:rPr>
              <a:t>:  New Oracle instances</a:t>
            </a:r>
            <a:endParaRPr kumimoji="0" lang="en-GB" sz="1200" b="0" i="0" u="none" strike="noStrike" kern="1200" cap="none" spc="0" normalizeH="0" baseline="0" noProof="0" dirty="0">
              <a:ln>
                <a:noFill/>
              </a:ln>
              <a:solidFill>
                <a:prstClr val="black"/>
              </a:solidFill>
              <a:effectLst/>
              <a:uLnTx/>
              <a:uFillTx/>
              <a:latin typeface="UniCredit"/>
              <a:ea typeface="+mn-ea"/>
              <a:cs typeface="Courier New" panose="02070309020205020404" pitchFamily="49" charset="0"/>
            </a:endParaRPr>
          </a:p>
        </p:txBody>
      </p:sp>
      <p:sp>
        <p:nvSpPr>
          <p:cNvPr id="35" name="TextBox 34">
            <a:extLst>
              <a:ext uri="{FF2B5EF4-FFF2-40B4-BE49-F238E27FC236}">
                <a16:creationId xmlns:a16="http://schemas.microsoft.com/office/drawing/2014/main" id="{6E9CA344-7828-4229-9FF0-FB9EB837C7F9}"/>
              </a:ext>
            </a:extLst>
          </p:cNvPr>
          <p:cNvSpPr txBox="1"/>
          <p:nvPr/>
        </p:nvSpPr>
        <p:spPr>
          <a:xfrm flipH="1">
            <a:off x="1092045" y="1171563"/>
            <a:ext cx="1744895" cy="248209"/>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013" b="0" i="0" u="none" strike="noStrike" kern="1200" cap="none" spc="0" normalizeH="0" baseline="0" noProof="0" dirty="0">
                <a:ln>
                  <a:noFill/>
                </a:ln>
                <a:solidFill>
                  <a:prstClr val="black"/>
                </a:solidFill>
                <a:effectLst/>
                <a:uLnTx/>
                <a:uFillTx/>
                <a:latin typeface="UniCredit"/>
                <a:ea typeface="+mn-ea"/>
                <a:cs typeface="+mn-cs"/>
              </a:rPr>
              <a:t>Actual Test/UAT/Prod</a:t>
            </a:r>
          </a:p>
        </p:txBody>
      </p:sp>
      <p:sp>
        <p:nvSpPr>
          <p:cNvPr id="36" name="TextBox 35">
            <a:extLst>
              <a:ext uri="{FF2B5EF4-FFF2-40B4-BE49-F238E27FC236}">
                <a16:creationId xmlns:a16="http://schemas.microsoft.com/office/drawing/2014/main" id="{F10BDE37-1BCC-45CE-8ED0-999F031843EA}"/>
              </a:ext>
            </a:extLst>
          </p:cNvPr>
          <p:cNvSpPr txBox="1"/>
          <p:nvPr/>
        </p:nvSpPr>
        <p:spPr>
          <a:xfrm>
            <a:off x="6086889" y="1153898"/>
            <a:ext cx="1677633" cy="248209"/>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013" b="0" i="0" u="none" strike="noStrike" kern="1200" cap="none" spc="0" normalizeH="0" baseline="0" noProof="0" dirty="0">
                <a:ln>
                  <a:noFill/>
                </a:ln>
                <a:solidFill>
                  <a:prstClr val="black"/>
                </a:solidFill>
                <a:effectLst/>
                <a:uLnTx/>
                <a:uFillTx/>
                <a:latin typeface="UniCredit"/>
                <a:ea typeface="+mn-ea"/>
                <a:cs typeface="+mn-cs"/>
              </a:rPr>
              <a:t>DevOps Test/UAT</a:t>
            </a:r>
          </a:p>
        </p:txBody>
      </p:sp>
      <p:sp>
        <p:nvSpPr>
          <p:cNvPr id="37" name="Rectangle 36">
            <a:extLst>
              <a:ext uri="{FF2B5EF4-FFF2-40B4-BE49-F238E27FC236}">
                <a16:creationId xmlns:a16="http://schemas.microsoft.com/office/drawing/2014/main" id="{42301D80-7CA4-4467-BEED-8985AA48E070}"/>
              </a:ext>
            </a:extLst>
          </p:cNvPr>
          <p:cNvSpPr/>
          <p:nvPr/>
        </p:nvSpPr>
        <p:spPr>
          <a:xfrm>
            <a:off x="4836172" y="3371042"/>
            <a:ext cx="3937000" cy="1200329"/>
          </a:xfrm>
          <a:prstGeom prst="rect">
            <a:avLst/>
          </a:prstGeom>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AFD0"/>
                </a:solidFill>
                <a:effectLst/>
                <a:uLnTx/>
                <a:uFillTx/>
                <a:latin typeface="UniCredit"/>
                <a:ea typeface="+mn-ea"/>
                <a:cs typeface="Courier New" panose="02070309020205020404" pitchFamily="49" charset="0"/>
              </a:rPr>
              <a:t>Isolation solutions</a:t>
            </a:r>
          </a:p>
          <a:p>
            <a:pPr marL="171450" marR="0" lvl="0" indent="-171450" algn="l" defTabSz="685800" rtl="0" eaLnBrk="1" fontAlgn="auto" latinLnBrk="0" hangingPunct="1">
              <a:lnSpc>
                <a:spcPct val="100000"/>
              </a:lnSpc>
              <a:spcBef>
                <a:spcPts val="0"/>
              </a:spcBef>
              <a:spcAft>
                <a:spcPts val="0"/>
              </a:spcAft>
              <a:buClr>
                <a:srgbClr val="00AFD0"/>
              </a:buClr>
              <a:buSzTx/>
              <a:buFont typeface="Wingdings" panose="05000000000000000000" pitchFamily="2" charset="2"/>
              <a:buChar char="§"/>
              <a:tabLst/>
              <a:defRPr/>
            </a:pPr>
            <a:r>
              <a:rPr kumimoji="0" lang="en-GB" sz="1200" b="0" i="0" u="none" strike="noStrike" kern="1200" cap="none" spc="0" normalizeH="0" baseline="0" noProof="0" dirty="0">
                <a:ln>
                  <a:noFill/>
                </a:ln>
                <a:solidFill>
                  <a:prstClr val="black"/>
                </a:solidFill>
                <a:effectLst/>
                <a:uLnTx/>
                <a:uFillTx/>
                <a:latin typeface="UniCredit"/>
                <a:ea typeface="+mn-ea"/>
                <a:cs typeface="Courier New" panose="02070309020205020404" pitchFamily="49" charset="0"/>
              </a:rPr>
              <a:t>New application parametrization;</a:t>
            </a:r>
          </a:p>
          <a:p>
            <a:pPr marL="171450" marR="0" lvl="0" indent="-171450" algn="l" defTabSz="685800" rtl="0" eaLnBrk="1" fontAlgn="auto" latinLnBrk="0" hangingPunct="1">
              <a:lnSpc>
                <a:spcPct val="100000"/>
              </a:lnSpc>
              <a:spcBef>
                <a:spcPts val="0"/>
              </a:spcBef>
              <a:spcAft>
                <a:spcPts val="0"/>
              </a:spcAft>
              <a:buClr>
                <a:srgbClr val="00AFD0"/>
              </a:buClr>
              <a:buSzTx/>
              <a:buFont typeface="Wingdings" panose="05000000000000000000" pitchFamily="2" charset="2"/>
              <a:buChar char="§"/>
              <a:tabLst/>
              <a:defRPr/>
            </a:pPr>
            <a:r>
              <a:rPr kumimoji="0" lang="en-GB" sz="1200" b="0" i="0" u="none" strike="noStrike" kern="1200" cap="none" spc="0" normalizeH="0" baseline="0" noProof="0" dirty="0">
                <a:ln>
                  <a:noFill/>
                </a:ln>
                <a:solidFill>
                  <a:prstClr val="black"/>
                </a:solidFill>
                <a:effectLst/>
                <a:uLnTx/>
                <a:uFillTx/>
                <a:latin typeface="UniCredit"/>
                <a:ea typeface="+mn-ea"/>
                <a:cs typeface="Courier New" panose="02070309020205020404" pitchFamily="49" charset="0"/>
              </a:rPr>
              <a:t>Service Virtualization for IT/E2E</a:t>
            </a:r>
          </a:p>
          <a:p>
            <a:pPr marL="171450" marR="0" lvl="0" indent="-171450" algn="l" defTabSz="685800" rtl="0" eaLnBrk="1" fontAlgn="auto" latinLnBrk="0" hangingPunct="1">
              <a:lnSpc>
                <a:spcPct val="100000"/>
              </a:lnSpc>
              <a:spcBef>
                <a:spcPts val="0"/>
              </a:spcBef>
              <a:spcAft>
                <a:spcPts val="0"/>
              </a:spcAft>
              <a:buClr>
                <a:srgbClr val="00AFD0"/>
              </a:buClr>
              <a:buSzTx/>
              <a:buFont typeface="Wingdings" panose="05000000000000000000" pitchFamily="2" charset="2"/>
              <a:buChar char="§"/>
              <a:tabLst/>
              <a:defRPr/>
            </a:pPr>
            <a:r>
              <a:rPr kumimoji="0" lang="en-GB" sz="1200" b="0" i="0" u="none" strike="noStrike" kern="1200" cap="none" spc="0" normalizeH="0" baseline="0" noProof="0" dirty="0">
                <a:ln>
                  <a:noFill/>
                </a:ln>
                <a:solidFill>
                  <a:prstClr val="black"/>
                </a:solidFill>
                <a:effectLst/>
                <a:uLnTx/>
                <a:uFillTx/>
                <a:latin typeface="UniCredit"/>
                <a:ea typeface="+mn-ea"/>
                <a:cs typeface="Courier New" panose="02070309020205020404" pitchFamily="49" charset="0"/>
              </a:rPr>
              <a:t>Simulate external calls in pipeline via HTTP Clients in Tests;</a:t>
            </a:r>
          </a:p>
          <a:p>
            <a:pPr marL="171450" marR="0" lvl="0" indent="-171450" algn="l" defTabSz="685800" rtl="0" eaLnBrk="1" fontAlgn="auto" latinLnBrk="0" hangingPunct="1">
              <a:lnSpc>
                <a:spcPct val="100000"/>
              </a:lnSpc>
              <a:spcBef>
                <a:spcPts val="0"/>
              </a:spcBef>
              <a:spcAft>
                <a:spcPts val="0"/>
              </a:spcAft>
              <a:buClr>
                <a:srgbClr val="00AFD0"/>
              </a:buClr>
              <a:buSzTx/>
              <a:buFont typeface="Wingdings" panose="05000000000000000000" pitchFamily="2" charset="2"/>
              <a:buChar char="§"/>
              <a:tabLst/>
              <a:defRPr/>
            </a:pPr>
            <a:r>
              <a:rPr kumimoji="0" lang="en-GB" sz="1200" b="0" i="0" u="none" strike="noStrike" kern="1200" cap="none" spc="0" normalizeH="0" baseline="0" noProof="0" dirty="0">
                <a:ln>
                  <a:noFill/>
                </a:ln>
                <a:solidFill>
                  <a:prstClr val="black"/>
                </a:solidFill>
                <a:effectLst/>
                <a:uLnTx/>
                <a:uFillTx/>
                <a:latin typeface="UniCredit"/>
                <a:ea typeface="+mn-ea"/>
                <a:cs typeface="Courier New" panose="02070309020205020404" pitchFamily="49" charset="0"/>
              </a:rPr>
              <a:t>Configuration Parametrization  of UT/IT/E2E Test Suites, according to environment;</a:t>
            </a:r>
          </a:p>
        </p:txBody>
      </p:sp>
      <p:pic>
        <p:nvPicPr>
          <p:cNvPr id="4102" name="Picture 6" descr="Oracle Database Logo Download - AI - All Vector Logo">
            <a:extLst>
              <a:ext uri="{FF2B5EF4-FFF2-40B4-BE49-F238E27FC236}">
                <a16:creationId xmlns:a16="http://schemas.microsoft.com/office/drawing/2014/main" id="{11DAF5AA-AF5F-45FE-A682-BF800978C7BB}"/>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183530" y="144297"/>
            <a:ext cx="948445" cy="513093"/>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GitHub | Il miglior version control system">
            <a:extLst>
              <a:ext uri="{FF2B5EF4-FFF2-40B4-BE49-F238E27FC236}">
                <a16:creationId xmlns:a16="http://schemas.microsoft.com/office/drawing/2014/main" id="{06C6C927-8442-4625-A78A-35B5B560A1D1}"/>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422438" y="119170"/>
            <a:ext cx="521216" cy="521216"/>
          </a:xfrm>
          <a:prstGeom prst="rect">
            <a:avLst/>
          </a:prstGeom>
          <a:noFill/>
          <a:extLst>
            <a:ext uri="{909E8E84-426E-40DD-AFC4-6F175D3DCCD1}">
              <a14:hiddenFill xmlns:a14="http://schemas.microsoft.com/office/drawing/2010/main">
                <a:solidFill>
                  <a:srgbClr val="FFFFFF"/>
                </a:solidFill>
              </a14:hiddenFill>
            </a:ext>
          </a:extLst>
        </p:spPr>
      </p:pic>
      <p:pic>
        <p:nvPicPr>
          <p:cNvPr id="4108" name="Picture 12">
            <a:extLst>
              <a:ext uri="{FF2B5EF4-FFF2-40B4-BE49-F238E27FC236}">
                <a16:creationId xmlns:a16="http://schemas.microsoft.com/office/drawing/2014/main" id="{4499C624-1267-428C-A631-C88A2D1A1FE4}"/>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901223" y="106921"/>
            <a:ext cx="521215" cy="521215"/>
          </a:xfrm>
          <a:prstGeom prst="rect">
            <a:avLst/>
          </a:prstGeom>
          <a:noFill/>
          <a:extLst>
            <a:ext uri="{909E8E84-426E-40DD-AFC4-6F175D3DCCD1}">
              <a14:hiddenFill xmlns:a14="http://schemas.microsoft.com/office/drawing/2010/main">
                <a:solidFill>
                  <a:srgbClr val="FFFFFF"/>
                </a:solidFill>
              </a14:hiddenFill>
            </a:ext>
          </a:extLst>
        </p:spPr>
      </p:pic>
      <p:pic>
        <p:nvPicPr>
          <p:cNvPr id="4110" name="Picture 14" descr="SRVE0190E on WebSphere 6.1 - the solution • my2cents">
            <a:extLst>
              <a:ext uri="{FF2B5EF4-FFF2-40B4-BE49-F238E27FC236}">
                <a16:creationId xmlns:a16="http://schemas.microsoft.com/office/drawing/2014/main" id="{8D8EE240-03CC-428F-8F4F-C90D8C74A4FD}"/>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7080859" y="150237"/>
            <a:ext cx="808999" cy="539333"/>
          </a:xfrm>
          <a:prstGeom prst="rect">
            <a:avLst/>
          </a:prstGeom>
          <a:noFill/>
          <a:extLst>
            <a:ext uri="{909E8E84-426E-40DD-AFC4-6F175D3DCCD1}">
              <a14:hiddenFill xmlns:a14="http://schemas.microsoft.com/office/drawing/2010/main">
                <a:solidFill>
                  <a:srgbClr val="FFFFFF"/>
                </a:solidFill>
              </a14:hiddenFill>
            </a:ext>
          </a:extLst>
        </p:spPr>
      </p:pic>
      <p:sp>
        <p:nvSpPr>
          <p:cNvPr id="21" name="Round Diagonal Corner Rectangle 20"/>
          <p:cNvSpPr/>
          <p:nvPr/>
        </p:nvSpPr>
        <p:spPr>
          <a:xfrm>
            <a:off x="285092" y="867174"/>
            <a:ext cx="4100643" cy="3717170"/>
          </a:xfrm>
          <a:prstGeom prst="round2DiagRect">
            <a:avLst>
              <a:gd name="adj1" fmla="val 7437"/>
              <a:gd name="adj2" fmla="val 0"/>
            </a:avLst>
          </a:prstGeom>
          <a:noFill/>
          <a:ln w="9525">
            <a:solidFill>
              <a:schemeClr val="accent1"/>
            </a:solidFill>
          </a:ln>
        </p:spPr>
        <p:txBody>
          <a:bodyPr wrap="square" lIns="144000" tIns="0" rIns="0" bIns="0" anchor="ctr">
            <a:noAutofit/>
          </a:bodyPr>
          <a:lstStyle/>
          <a:p>
            <a:pPr marL="0" marR="0" lvl="0" indent="0" algn="l" defTabSz="179388"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UniCredit"/>
              <a:ea typeface="+mn-ea"/>
              <a:cs typeface="+mn-cs"/>
            </a:endParaRPr>
          </a:p>
        </p:txBody>
      </p:sp>
      <p:sp>
        <p:nvSpPr>
          <p:cNvPr id="23" name="Round Diagonal Corner Rectangle 22"/>
          <p:cNvSpPr/>
          <p:nvPr/>
        </p:nvSpPr>
        <p:spPr>
          <a:xfrm>
            <a:off x="4754351" y="867174"/>
            <a:ext cx="4100643" cy="3717170"/>
          </a:xfrm>
          <a:prstGeom prst="round2DiagRect">
            <a:avLst>
              <a:gd name="adj1" fmla="val 7437"/>
              <a:gd name="adj2" fmla="val 0"/>
            </a:avLst>
          </a:prstGeom>
          <a:noFill/>
          <a:ln w="9525">
            <a:solidFill>
              <a:schemeClr val="accent1"/>
            </a:solidFill>
          </a:ln>
        </p:spPr>
        <p:txBody>
          <a:bodyPr wrap="square" lIns="144000" tIns="0" rIns="0" bIns="0" anchor="ctr">
            <a:noAutofit/>
          </a:bodyPr>
          <a:lstStyle/>
          <a:p>
            <a:pPr marL="0" marR="0" lvl="0" indent="0" algn="l" defTabSz="179388"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UniCredit"/>
              <a:ea typeface="+mn-ea"/>
              <a:cs typeface="+mn-cs"/>
            </a:endParaRPr>
          </a:p>
        </p:txBody>
      </p:sp>
      <p:sp>
        <p:nvSpPr>
          <p:cNvPr id="25" name="Rounded Rectangle 43"/>
          <p:cNvSpPr/>
          <p:nvPr/>
        </p:nvSpPr>
        <p:spPr bwMode="gray">
          <a:xfrm>
            <a:off x="285092" y="867174"/>
            <a:ext cx="4100643" cy="257542"/>
          </a:xfrm>
          <a:prstGeom prst="round2DiagRect">
            <a:avLst>
              <a:gd name="adj1" fmla="val 50000"/>
              <a:gd name="adj2" fmla="val 0"/>
            </a:avLst>
          </a:prstGeom>
          <a:solidFill>
            <a:schemeClr val="accent1"/>
          </a:solidFill>
          <a:ln w="41275">
            <a:noFill/>
          </a:ln>
          <a:effectLst/>
        </p:spPr>
        <p:style>
          <a:lnRef idx="1">
            <a:schemeClr val="accent1"/>
          </a:lnRef>
          <a:fillRef idx="3">
            <a:schemeClr val="accent1"/>
          </a:fillRef>
          <a:effectRef idx="2">
            <a:schemeClr val="accent1"/>
          </a:effectRef>
          <a:fontRef idx="minor">
            <a:schemeClr val="lt1"/>
          </a:fontRef>
        </p:style>
        <p:txBody>
          <a:bodyPr tIns="90000" bIns="90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UniCredit"/>
                <a:ea typeface="+mn-ea"/>
                <a:cs typeface="+mn-cs"/>
              </a:rPr>
              <a:t>DevOps Environments</a:t>
            </a:r>
          </a:p>
        </p:txBody>
      </p:sp>
      <p:sp>
        <p:nvSpPr>
          <p:cNvPr id="26" name="Rounded Rectangle 43"/>
          <p:cNvSpPr/>
          <p:nvPr/>
        </p:nvSpPr>
        <p:spPr bwMode="gray">
          <a:xfrm>
            <a:off x="4754350" y="867174"/>
            <a:ext cx="4100643" cy="257542"/>
          </a:xfrm>
          <a:prstGeom prst="round2DiagRect">
            <a:avLst>
              <a:gd name="adj1" fmla="val 50000"/>
              <a:gd name="adj2" fmla="val 0"/>
            </a:avLst>
          </a:prstGeom>
          <a:solidFill>
            <a:schemeClr val="accent1"/>
          </a:solidFill>
          <a:ln w="41275">
            <a:noFill/>
          </a:ln>
          <a:effectLst/>
        </p:spPr>
        <p:style>
          <a:lnRef idx="1">
            <a:schemeClr val="accent1"/>
          </a:lnRef>
          <a:fillRef idx="3">
            <a:schemeClr val="accent1"/>
          </a:fillRef>
          <a:effectRef idx="2">
            <a:schemeClr val="accent1"/>
          </a:effectRef>
          <a:fontRef idx="minor">
            <a:schemeClr val="lt1"/>
          </a:fontRef>
        </p:style>
        <p:txBody>
          <a:bodyPr tIns="90000" bIns="90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UniCredit"/>
                <a:ea typeface="+mn-ea"/>
                <a:cs typeface="+mn-cs"/>
              </a:rPr>
              <a:t>Isolation Solutions</a:t>
            </a:r>
          </a:p>
        </p:txBody>
      </p:sp>
      <p:pic>
        <p:nvPicPr>
          <p:cNvPr id="27" name="Immagine 102" descr="18a bianco-01.png"/>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120725" y="799019"/>
            <a:ext cx="434022" cy="434022"/>
          </a:xfrm>
          <a:prstGeom prst="ellipse">
            <a:avLst/>
          </a:prstGeom>
          <a:solidFill>
            <a:srgbClr val="00AFD0"/>
          </a:solidFill>
          <a:ln w="19050">
            <a:solidFill>
              <a:schemeClr val="bg1"/>
            </a:solidFill>
          </a:ln>
        </p:spPr>
      </p:pic>
      <p:pic>
        <p:nvPicPr>
          <p:cNvPr id="28" name="Immagine 216" descr="31a biaco-01.png"/>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4571355" y="799019"/>
            <a:ext cx="434380" cy="434380"/>
          </a:xfrm>
          <a:prstGeom prst="ellipse">
            <a:avLst/>
          </a:prstGeom>
          <a:solidFill>
            <a:srgbClr val="00AFD0"/>
          </a:solidFill>
          <a:ln w="19050">
            <a:solidFill>
              <a:schemeClr val="bg1"/>
            </a:solidFill>
          </a:ln>
        </p:spPr>
      </p:pic>
    </p:spTree>
    <p:extLst>
      <p:ext uri="{BB962C8B-B14F-4D97-AF65-F5344CB8AC3E}">
        <p14:creationId xmlns:p14="http://schemas.microsoft.com/office/powerpoint/2010/main" val="54289223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2" hidden="1">
            <a:extLst>
              <a:ext uri="{FF2B5EF4-FFF2-40B4-BE49-F238E27FC236}">
                <a16:creationId xmlns:a16="http://schemas.microsoft.com/office/drawing/2014/main" id="{8E3576E1-AC0D-43DA-9C16-B1CA269770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17" name="think-cell Slide" r:id="rId5" imgW="360" imgH="360" progId="TCLayout.ActiveDocument.1">
                  <p:embed/>
                </p:oleObj>
              </mc:Choice>
              <mc:Fallback>
                <p:oleObj name="think-cell Slide" r:id="rId5" imgW="360" imgH="360" progId="TCLayout.ActiveDocument.1">
                  <p:embed/>
                  <p:pic>
                    <p:nvPicPr>
                      <p:cNvPr id="23" name="Object 22" hidden="1">
                        <a:extLst>
                          <a:ext uri="{FF2B5EF4-FFF2-40B4-BE49-F238E27FC236}">
                            <a16:creationId xmlns:a16="http://schemas.microsoft.com/office/drawing/2014/main" id="{8E3576E1-AC0D-43DA-9C16-B1CA269770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Rectangle 15" hidden="1">
            <a:extLst>
              <a:ext uri="{FF2B5EF4-FFF2-40B4-BE49-F238E27FC236}">
                <a16:creationId xmlns:a16="http://schemas.microsoft.com/office/drawing/2014/main" id="{863F0420-BC74-4975-8BE8-756CB990F22E}"/>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prstClr val="white"/>
              </a:solidFill>
              <a:effectLst/>
              <a:uLnTx/>
              <a:uFillTx/>
              <a:latin typeface="UniCredit" panose="02000506040000020004" pitchFamily="2" charset="0"/>
              <a:ea typeface="+mn-ea"/>
              <a:cs typeface="Arial" panose="020B0604020202020204" pitchFamily="34" charset="0"/>
              <a:sym typeface="UniCredit" panose="02000506040000020004" pitchFamily="2" charset="0"/>
            </a:endParaRPr>
          </a:p>
        </p:txBody>
      </p:sp>
      <p:sp>
        <p:nvSpPr>
          <p:cNvPr id="4" name="Slide Number Placeholder 3">
            <a:extLst>
              <a:ext uri="{FF2B5EF4-FFF2-40B4-BE49-F238E27FC236}">
                <a16:creationId xmlns:a16="http://schemas.microsoft.com/office/drawing/2014/main" id="{05420A5A-C3E4-4FDB-8A2B-73DBB201E593}"/>
              </a:ext>
            </a:extLst>
          </p:cNvPr>
          <p:cNvSpPr>
            <a:spLocks noGrp="1"/>
          </p:cNvSpPr>
          <p:nvPr>
            <p:ph type="sldNum" sz="quarter" idx="11"/>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fld id="{1D1043DC-2681-49D5-9D69-158B3FA3398E}" type="slidenum">
              <a:rPr kumimoji="0" lang="en-GB" sz="900" b="0" i="0" u="none" strike="noStrike" kern="1200" cap="none" spc="0" normalizeH="0" baseline="0" noProof="1" smtClean="0">
                <a:ln>
                  <a:noFill/>
                </a:ln>
                <a:solidFill>
                  <a:srgbClr val="00AFD0"/>
                </a:solidFill>
                <a:effectLst/>
                <a:uLnTx/>
                <a:uFillTx/>
                <a:latin typeface="UniCredit"/>
                <a:ea typeface="+mn-ea"/>
                <a:cs typeface="Arial" panose="020B0604020202020204" pitchFamily="34" charset="0"/>
              </a:rPr>
              <a:pPr marL="0" marR="0" lvl="0" indent="0" algn="l" defTabSz="685800" rtl="0" eaLnBrk="1" fontAlgn="auto" latinLnBrk="0" hangingPunct="1">
                <a:lnSpc>
                  <a:spcPct val="100000"/>
                </a:lnSpc>
                <a:spcBef>
                  <a:spcPts val="0"/>
                </a:spcBef>
                <a:spcAft>
                  <a:spcPts val="0"/>
                </a:spcAft>
                <a:buClrTx/>
                <a:buSzTx/>
                <a:buFontTx/>
                <a:buNone/>
                <a:tabLst/>
                <a:defRPr/>
              </a:pPr>
              <a:t>31</a:t>
            </a:fld>
            <a:endParaRPr kumimoji="0" lang="en-GB" sz="900" b="0" i="0" u="none" strike="noStrike" kern="1200" cap="none" spc="0" normalizeH="0" baseline="0" noProof="1">
              <a:ln>
                <a:noFill/>
              </a:ln>
              <a:solidFill>
                <a:srgbClr val="00AFD0"/>
              </a:solidFill>
              <a:effectLst/>
              <a:uLnTx/>
              <a:uFillTx/>
              <a:latin typeface="UniCredit"/>
              <a:ea typeface="+mn-ea"/>
              <a:cs typeface="Arial" panose="020B0604020202020204" pitchFamily="34" charset="0"/>
            </a:endParaRPr>
          </a:p>
        </p:txBody>
      </p:sp>
      <p:sp>
        <p:nvSpPr>
          <p:cNvPr id="29" name="Title 5">
            <a:extLst>
              <a:ext uri="{FF2B5EF4-FFF2-40B4-BE49-F238E27FC236}">
                <a16:creationId xmlns:a16="http://schemas.microsoft.com/office/drawing/2014/main" id="{C5450543-CF8B-485C-A34E-D1A515695A5B}"/>
              </a:ext>
            </a:extLst>
          </p:cNvPr>
          <p:cNvSpPr>
            <a:spLocks noGrp="1"/>
          </p:cNvSpPr>
          <p:nvPr>
            <p:ph type="title"/>
          </p:nvPr>
        </p:nvSpPr>
        <p:spPr/>
        <p:txBody>
          <a:bodyPr/>
          <a:lstStyle/>
          <a:p>
            <a:r>
              <a:rPr lang="en-US" dirty="0"/>
              <a:t>Service Virtualization  with </a:t>
            </a:r>
            <a:r>
              <a:rPr lang="en-US" dirty="0" err="1"/>
              <a:t>Wiremock</a:t>
            </a:r>
            <a:endParaRPr lang="en-US" dirty="0"/>
          </a:p>
        </p:txBody>
      </p:sp>
      <p:pic>
        <p:nvPicPr>
          <p:cNvPr id="13" name="UCOne" descr="sfere 2D.png">
            <a:extLst>
              <a:ext uri="{FF2B5EF4-FFF2-40B4-BE49-F238E27FC236}">
                <a16:creationId xmlns:a16="http://schemas.microsoft.com/office/drawing/2014/main" id="{0D48988D-879B-4C97-AD19-433F0C2C8579}"/>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593200" y="4603824"/>
            <a:ext cx="359676" cy="359676"/>
          </a:xfrm>
          <a:prstGeom prst="rect">
            <a:avLst/>
          </a:prstGeom>
        </p:spPr>
      </p:pic>
      <p:sp>
        <p:nvSpPr>
          <p:cNvPr id="7" name="Rectangle 6"/>
          <p:cNvSpPr/>
          <p:nvPr/>
        </p:nvSpPr>
        <p:spPr>
          <a:xfrm>
            <a:off x="4381891" y="988826"/>
            <a:ext cx="4567709" cy="3585058"/>
          </a:xfrm>
          <a:prstGeom prst="rect">
            <a:avLst/>
          </a:prstGeom>
          <a:solidFill>
            <a:schemeClr val="bg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UniCredit"/>
              <a:ea typeface="+mn-ea"/>
              <a:cs typeface="+mn-cs"/>
            </a:endParaRPr>
          </a:p>
        </p:txBody>
      </p:sp>
      <p:grpSp>
        <p:nvGrpSpPr>
          <p:cNvPr id="33" name="Group 32">
            <a:extLst>
              <a:ext uri="{FF2B5EF4-FFF2-40B4-BE49-F238E27FC236}">
                <a16:creationId xmlns:a16="http://schemas.microsoft.com/office/drawing/2014/main" id="{A02ADADF-069B-47D2-821B-B0A5F56D5513}"/>
              </a:ext>
            </a:extLst>
          </p:cNvPr>
          <p:cNvGrpSpPr/>
          <p:nvPr/>
        </p:nvGrpSpPr>
        <p:grpSpPr>
          <a:xfrm>
            <a:off x="4640065" y="1808927"/>
            <a:ext cx="4051360" cy="1944856"/>
            <a:chOff x="4111225" y="1342571"/>
            <a:chExt cx="4902146" cy="2353276"/>
          </a:xfrm>
        </p:grpSpPr>
        <p:sp>
          <p:nvSpPr>
            <p:cNvPr id="34" name="Cloud 33">
              <a:extLst>
                <a:ext uri="{FF2B5EF4-FFF2-40B4-BE49-F238E27FC236}">
                  <a16:creationId xmlns:a16="http://schemas.microsoft.com/office/drawing/2014/main" id="{3E6C16F2-C361-414D-AEF2-BB0658F45C0A}"/>
                </a:ext>
              </a:extLst>
            </p:cNvPr>
            <p:cNvSpPr/>
            <p:nvPr/>
          </p:nvSpPr>
          <p:spPr>
            <a:xfrm>
              <a:off x="7322457" y="1342571"/>
              <a:ext cx="1690914" cy="1168399"/>
            </a:xfrm>
            <a:prstGeom prst="cloud">
              <a:avLst/>
            </a:prstGeom>
            <a:solidFill>
              <a:schemeClr val="bg1">
                <a:lumMod val="95000"/>
              </a:schemeClr>
            </a:solidFill>
            <a:ln>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UniCredit"/>
                <a:ea typeface="+mn-ea"/>
                <a:cs typeface="+mn-cs"/>
              </a:endParaRPr>
            </a:p>
          </p:txBody>
        </p:sp>
        <p:grpSp>
          <p:nvGrpSpPr>
            <p:cNvPr id="35" name="Group 34">
              <a:extLst>
                <a:ext uri="{FF2B5EF4-FFF2-40B4-BE49-F238E27FC236}">
                  <a16:creationId xmlns:a16="http://schemas.microsoft.com/office/drawing/2014/main" id="{2FE21A74-1B79-4DA3-BFCD-BB2D66A056B9}"/>
                </a:ext>
              </a:extLst>
            </p:cNvPr>
            <p:cNvGrpSpPr/>
            <p:nvPr/>
          </p:nvGrpSpPr>
          <p:grpSpPr>
            <a:xfrm>
              <a:off x="4111225" y="1458179"/>
              <a:ext cx="4590089" cy="2237668"/>
              <a:chOff x="1084996" y="1236213"/>
              <a:chExt cx="4590089" cy="2237668"/>
            </a:xfrm>
          </p:grpSpPr>
          <p:pic>
            <p:nvPicPr>
              <p:cNvPr id="36" name="Picture 2" descr="Setup Wiremock for Android or iOS Testing | Medium">
                <a:extLst>
                  <a:ext uri="{FF2B5EF4-FFF2-40B4-BE49-F238E27FC236}">
                    <a16:creationId xmlns:a16="http://schemas.microsoft.com/office/drawing/2014/main" id="{D47DBBD2-2F9B-459B-8E5F-318FD9A732D6}"/>
                  </a:ext>
                </a:extLst>
              </p:cNvPr>
              <p:cNvPicPr>
                <a:picLocks noChangeAspect="1" noChangeArrowheads="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84996" y="1236213"/>
                <a:ext cx="4590089" cy="2237668"/>
              </a:xfrm>
              <a:prstGeom prst="rect">
                <a:avLst/>
              </a:prstGeom>
              <a:noFill/>
              <a:extLst>
                <a:ext uri="{909E8E84-426E-40DD-AFC4-6F175D3DCCD1}">
                  <a14:hiddenFill xmlns:a14="http://schemas.microsoft.com/office/drawing/2010/main">
                    <a:solidFill>
                      <a:srgbClr val="FFFFFF"/>
                    </a:solidFill>
                  </a14:hiddenFill>
                </a:ext>
              </a:extLst>
            </p:spPr>
          </p:pic>
          <p:sp>
            <p:nvSpPr>
              <p:cNvPr id="37" name="Rectangle: Rounded Corners 18">
                <a:extLst>
                  <a:ext uri="{FF2B5EF4-FFF2-40B4-BE49-F238E27FC236}">
                    <a16:creationId xmlns:a16="http://schemas.microsoft.com/office/drawing/2014/main" id="{199D1DFF-0A24-48F4-9FFD-BDFD9AB3A525}"/>
                  </a:ext>
                </a:extLst>
              </p:cNvPr>
              <p:cNvSpPr/>
              <p:nvPr/>
            </p:nvSpPr>
            <p:spPr>
              <a:xfrm>
                <a:off x="1142083" y="1490949"/>
                <a:ext cx="1197166" cy="504000"/>
              </a:xfrm>
              <a:prstGeom prst="round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UniCredit"/>
                    <a:ea typeface="+mn-ea"/>
                    <a:cs typeface="+mn-cs"/>
                  </a:rPr>
                  <a:t>   MyCredit</a:t>
                </a:r>
              </a:p>
            </p:txBody>
          </p:sp>
          <p:pic>
            <p:nvPicPr>
              <p:cNvPr id="38" name="UCOne" descr="sfere 2D.png">
                <a:extLst>
                  <a:ext uri="{FF2B5EF4-FFF2-40B4-BE49-F238E27FC236}">
                    <a16:creationId xmlns:a16="http://schemas.microsoft.com/office/drawing/2014/main" id="{D1536E42-0F35-404A-8178-88384CA17BEA}"/>
                  </a:ext>
                </a:extLst>
              </p:cNvPr>
              <p:cNvPicPr>
                <a:picLocks noChangeAspect="1"/>
              </p:cNvPicPr>
              <p:nvPr/>
            </p:nvPicPr>
            <p:blipFill>
              <a:blip r:embed="rId9"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226479" y="1621004"/>
                <a:ext cx="243890" cy="243890"/>
              </a:xfrm>
              <a:prstGeom prst="rect">
                <a:avLst/>
              </a:prstGeom>
            </p:spPr>
          </p:pic>
          <p:sp>
            <p:nvSpPr>
              <p:cNvPr id="39" name="Rectangle: Rounded Corners 20">
                <a:extLst>
                  <a:ext uri="{FF2B5EF4-FFF2-40B4-BE49-F238E27FC236}">
                    <a16:creationId xmlns:a16="http://schemas.microsoft.com/office/drawing/2014/main" id="{EC878275-5800-4F25-B598-1FE9D4547F9E}"/>
                  </a:ext>
                </a:extLst>
              </p:cNvPr>
              <p:cNvSpPr/>
              <p:nvPr/>
            </p:nvSpPr>
            <p:spPr>
              <a:xfrm>
                <a:off x="1792853" y="1301091"/>
                <a:ext cx="473646" cy="133447"/>
              </a:xfrm>
              <a:prstGeom prst="round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UniCredit"/>
                  <a:ea typeface="+mn-ea"/>
                  <a:cs typeface="+mn-cs"/>
                </a:endParaRPr>
              </a:p>
            </p:txBody>
          </p:sp>
          <p:sp>
            <p:nvSpPr>
              <p:cNvPr id="40" name="Rectangle: Rounded Corners 21">
                <a:extLst>
                  <a:ext uri="{FF2B5EF4-FFF2-40B4-BE49-F238E27FC236}">
                    <a16:creationId xmlns:a16="http://schemas.microsoft.com/office/drawing/2014/main" id="{0C8DC21B-14E5-4983-BB9F-178C819CA94C}"/>
                  </a:ext>
                </a:extLst>
              </p:cNvPr>
              <p:cNvSpPr/>
              <p:nvPr/>
            </p:nvSpPr>
            <p:spPr>
              <a:xfrm>
                <a:off x="4770791" y="1309758"/>
                <a:ext cx="676605" cy="133447"/>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Legacy</a:t>
                </a:r>
              </a:p>
            </p:txBody>
          </p:sp>
        </p:grpSp>
      </p:grpSp>
      <p:sp>
        <p:nvSpPr>
          <p:cNvPr id="41" name="Pentagon 40"/>
          <p:cNvSpPr/>
          <p:nvPr/>
        </p:nvSpPr>
        <p:spPr bwMode="auto">
          <a:xfrm rot="10800000" flipH="1">
            <a:off x="-11156" y="1157247"/>
            <a:ext cx="4599359" cy="3248217"/>
          </a:xfrm>
          <a:prstGeom prst="homePlate">
            <a:avLst>
              <a:gd name="adj" fmla="val 4975"/>
            </a:avLst>
          </a:prstGeom>
          <a:solidFill>
            <a:schemeClr val="bg1">
              <a:lumMod val="95000"/>
            </a:schemeClr>
          </a:solidFill>
          <a:ln w="3175">
            <a:solidFill>
              <a:schemeClr val="accent1"/>
            </a:solidFill>
            <a:prstDash val="solid"/>
            <a:round/>
            <a:headEnd/>
            <a:tailEnd/>
          </a:ln>
          <a:effectLst/>
        </p:spPr>
        <p:txBody>
          <a:bodyPr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UniCredit"/>
              <a:ea typeface="+mn-ea"/>
              <a:cs typeface="+mn-cs"/>
            </a:endParaRPr>
          </a:p>
        </p:txBody>
      </p:sp>
      <p:sp>
        <p:nvSpPr>
          <p:cNvPr id="26" name="Round Diagonal Corner Rectangle 16">
            <a:extLst>
              <a:ext uri="{FF2B5EF4-FFF2-40B4-BE49-F238E27FC236}">
                <a16:creationId xmlns:a16="http://schemas.microsoft.com/office/drawing/2014/main" id="{C8E44529-B486-4E6E-AA82-D15799F30497}"/>
              </a:ext>
            </a:extLst>
          </p:cNvPr>
          <p:cNvSpPr/>
          <p:nvPr/>
        </p:nvSpPr>
        <p:spPr>
          <a:xfrm>
            <a:off x="93756" y="1363694"/>
            <a:ext cx="1566473" cy="658639"/>
          </a:xfrm>
          <a:prstGeom prst="homePlate">
            <a:avLst>
              <a:gd name="adj" fmla="val 14071"/>
            </a:avLst>
          </a:prstGeom>
          <a:solidFill>
            <a:srgbClr val="00AFD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04000" tIns="0" rIns="72000" bIns="0" rtlCol="0" anchor="ctr"/>
          <a:lstStyle/>
          <a:p>
            <a:pPr marL="0" marR="0" lvl="0" indent="0" algn="l" defTabSz="685800" rtl="0" eaLnBrk="1" fontAlgn="auto" latinLnBrk="0" hangingPunct="1">
              <a:lnSpc>
                <a:spcPct val="100000"/>
              </a:lnSpc>
              <a:spcBef>
                <a:spcPts val="0"/>
              </a:spcBef>
              <a:spcAft>
                <a:spcPts val="540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UniCredit"/>
                <a:ea typeface="+mn-ea"/>
                <a:cs typeface="+mn-cs"/>
              </a:rPr>
              <a:t>Features</a:t>
            </a:r>
          </a:p>
        </p:txBody>
      </p:sp>
      <p:sp>
        <p:nvSpPr>
          <p:cNvPr id="28" name="Rectangle 27"/>
          <p:cNvSpPr/>
          <p:nvPr/>
        </p:nvSpPr>
        <p:spPr>
          <a:xfrm>
            <a:off x="1568390" y="1280767"/>
            <a:ext cx="3066992" cy="1707184"/>
          </a:xfrm>
          <a:prstGeom prst="rect">
            <a:avLst/>
          </a:prstGeom>
        </p:spPr>
        <p:txBody>
          <a:bodyPr anchor="ctr">
            <a:noAutofit/>
          </a:bodyPr>
          <a:lstStyle/>
          <a:p>
            <a:pPr marL="171450" marR="0" lvl="0" indent="-171450" algn="l" defTabSz="685800" rtl="0" eaLnBrk="1" fontAlgn="auto" latinLnBrk="0" hangingPunct="1">
              <a:lnSpc>
                <a:spcPct val="100000"/>
              </a:lnSpc>
              <a:spcBef>
                <a:spcPts val="0"/>
              </a:spcBef>
              <a:spcAft>
                <a:spcPts val="0"/>
              </a:spcAft>
              <a:buClr>
                <a:srgbClr val="00AFD0"/>
              </a:buClr>
              <a:buSzTx/>
              <a:buFont typeface="Wingdings" panose="05000000000000000000" pitchFamily="2" charset="2"/>
              <a:buChar char="§"/>
              <a:tabLst/>
              <a:defRPr/>
            </a:pPr>
            <a:r>
              <a:rPr kumimoji="0" lang="en-GB" sz="1200" b="0" i="0" u="none" strike="noStrike" kern="1200" cap="none" spc="0" normalizeH="0" baseline="0" noProof="0" dirty="0">
                <a:ln>
                  <a:noFill/>
                </a:ln>
                <a:solidFill>
                  <a:prstClr val="black"/>
                </a:solidFill>
                <a:effectLst/>
                <a:uLnTx/>
                <a:uFillTx/>
                <a:latin typeface="UniCredit"/>
                <a:ea typeface="+mn-ea"/>
                <a:cs typeface="+mn-cs"/>
              </a:rPr>
              <a:t>Test Stability and portability</a:t>
            </a:r>
          </a:p>
          <a:p>
            <a:pPr marL="171450" marR="0" lvl="0" indent="-171450" algn="l" defTabSz="685800" rtl="0" eaLnBrk="1" fontAlgn="auto" latinLnBrk="0" hangingPunct="1">
              <a:lnSpc>
                <a:spcPct val="100000"/>
              </a:lnSpc>
              <a:spcBef>
                <a:spcPts val="0"/>
              </a:spcBef>
              <a:spcAft>
                <a:spcPts val="0"/>
              </a:spcAft>
              <a:buClr>
                <a:srgbClr val="00AFD0"/>
              </a:buClr>
              <a:buSzTx/>
              <a:buFont typeface="Wingdings" panose="05000000000000000000" pitchFamily="2" charset="2"/>
              <a:buChar char="§"/>
              <a:tabLst/>
              <a:defRPr/>
            </a:pPr>
            <a:r>
              <a:rPr kumimoji="0" lang="en-GB" sz="1200" b="0" i="0" u="none" strike="noStrike" kern="1200" cap="none" spc="0" normalizeH="0" baseline="0" noProof="0" dirty="0">
                <a:ln>
                  <a:noFill/>
                </a:ln>
                <a:solidFill>
                  <a:prstClr val="black"/>
                </a:solidFill>
                <a:effectLst/>
                <a:uLnTx/>
                <a:uFillTx/>
                <a:latin typeface="UniCredit"/>
                <a:ea typeface="+mn-ea"/>
                <a:cs typeface="+mn-cs"/>
              </a:rPr>
              <a:t>Standalone and Programmatic Server and stubs</a:t>
            </a:r>
          </a:p>
          <a:p>
            <a:pPr marL="171450" marR="0" lvl="0" indent="-171450" algn="l" defTabSz="685800" rtl="0" eaLnBrk="1" fontAlgn="auto" latinLnBrk="0" hangingPunct="1">
              <a:lnSpc>
                <a:spcPct val="100000"/>
              </a:lnSpc>
              <a:spcBef>
                <a:spcPts val="0"/>
              </a:spcBef>
              <a:spcAft>
                <a:spcPts val="0"/>
              </a:spcAft>
              <a:buClr>
                <a:srgbClr val="00AFD0"/>
              </a:buClr>
              <a:buSzTx/>
              <a:buFont typeface="Wingdings" panose="05000000000000000000" pitchFamily="2" charset="2"/>
              <a:buChar char="§"/>
              <a:tabLst/>
              <a:defRPr/>
            </a:pPr>
            <a:r>
              <a:rPr kumimoji="0" lang="en-GB" sz="1200" b="0" i="0" u="none" strike="noStrike" kern="1200" cap="none" spc="0" normalizeH="0" baseline="0" noProof="0" dirty="0">
                <a:ln>
                  <a:noFill/>
                </a:ln>
                <a:solidFill>
                  <a:prstClr val="black"/>
                </a:solidFill>
                <a:effectLst/>
                <a:uLnTx/>
                <a:uFillTx/>
                <a:latin typeface="UniCredit"/>
                <a:ea typeface="+mn-ea"/>
                <a:cs typeface="+mn-cs"/>
              </a:rPr>
              <a:t>SOAP/REST/Junit, Verify </a:t>
            </a:r>
            <a:r>
              <a:rPr kumimoji="0" lang="en-GB" sz="1200" b="0" i="0" u="none" strike="noStrike" kern="1200" cap="none" spc="0" normalizeH="0" baseline="0" noProof="0" dirty="0" err="1">
                <a:ln>
                  <a:noFill/>
                </a:ln>
                <a:solidFill>
                  <a:prstClr val="black"/>
                </a:solidFill>
                <a:effectLst/>
                <a:uLnTx/>
                <a:uFillTx/>
                <a:latin typeface="UniCredit"/>
                <a:ea typeface="+mn-ea"/>
                <a:cs typeface="+mn-cs"/>
              </a:rPr>
              <a:t>utils</a:t>
            </a:r>
            <a:endParaRPr kumimoji="0" lang="en-GB" sz="1200" b="0" i="0" u="none" strike="noStrike" kern="1200" cap="none" spc="0" normalizeH="0" baseline="0" noProof="0" dirty="0">
              <a:ln>
                <a:noFill/>
              </a:ln>
              <a:solidFill>
                <a:prstClr val="black"/>
              </a:solidFill>
              <a:effectLst/>
              <a:uLnTx/>
              <a:uFillTx/>
              <a:latin typeface="UniCredit"/>
              <a:ea typeface="+mn-ea"/>
              <a:cs typeface="+mn-cs"/>
            </a:endParaRPr>
          </a:p>
          <a:p>
            <a:pPr marL="171450" marR="0" lvl="0" indent="-171450" algn="l" defTabSz="685800" rtl="0" eaLnBrk="1" fontAlgn="auto" latinLnBrk="0" hangingPunct="1">
              <a:lnSpc>
                <a:spcPct val="100000"/>
              </a:lnSpc>
              <a:spcBef>
                <a:spcPts val="0"/>
              </a:spcBef>
              <a:spcAft>
                <a:spcPts val="0"/>
              </a:spcAft>
              <a:buClr>
                <a:srgbClr val="00AFD0"/>
              </a:buClr>
              <a:buSzTx/>
              <a:buFont typeface="Wingdings" panose="05000000000000000000" pitchFamily="2" charset="2"/>
              <a:buChar char="§"/>
              <a:tabLst/>
              <a:defRPr/>
            </a:pPr>
            <a:r>
              <a:rPr kumimoji="0" lang="en-GB" sz="1200" b="0" i="0" u="none" strike="noStrike" kern="1200" cap="none" spc="0" normalizeH="0" baseline="0" noProof="0" dirty="0">
                <a:ln>
                  <a:noFill/>
                </a:ln>
                <a:solidFill>
                  <a:prstClr val="black"/>
                </a:solidFill>
                <a:effectLst/>
                <a:uLnTx/>
                <a:uFillTx/>
                <a:latin typeface="UniCredit"/>
                <a:ea typeface="+mn-ea"/>
                <a:cs typeface="+mn-cs"/>
              </a:rPr>
              <a:t>Stateful behaviour - Scenarios</a:t>
            </a:r>
          </a:p>
          <a:p>
            <a:pPr marL="171450" marR="0" lvl="0" indent="-171450" algn="l" defTabSz="685800" rtl="0" eaLnBrk="1" fontAlgn="auto" latinLnBrk="0" hangingPunct="1">
              <a:lnSpc>
                <a:spcPct val="100000"/>
              </a:lnSpc>
              <a:spcBef>
                <a:spcPts val="0"/>
              </a:spcBef>
              <a:spcAft>
                <a:spcPts val="0"/>
              </a:spcAft>
              <a:buClr>
                <a:srgbClr val="00AFD0"/>
              </a:buClr>
              <a:buSzTx/>
              <a:buFont typeface="Wingdings" panose="05000000000000000000" pitchFamily="2" charset="2"/>
              <a:buChar char="§"/>
              <a:tabLst/>
              <a:defRPr/>
            </a:pPr>
            <a:r>
              <a:rPr kumimoji="0" lang="en-GB" sz="1200" b="0" i="0" u="none" strike="noStrike" kern="1200" cap="none" spc="0" normalizeH="0" baseline="0" noProof="0" dirty="0">
                <a:ln>
                  <a:noFill/>
                </a:ln>
                <a:solidFill>
                  <a:prstClr val="black"/>
                </a:solidFill>
                <a:effectLst/>
                <a:uLnTx/>
                <a:uFillTx/>
                <a:latin typeface="UniCredit"/>
                <a:ea typeface="+mn-ea"/>
                <a:cs typeface="+mn-cs"/>
              </a:rPr>
              <a:t>Stubs in Tests</a:t>
            </a:r>
          </a:p>
          <a:p>
            <a:pPr marL="171450" marR="0" lvl="0" indent="-171450" algn="l" defTabSz="685800" rtl="0" eaLnBrk="1" fontAlgn="auto" latinLnBrk="0" hangingPunct="1">
              <a:lnSpc>
                <a:spcPct val="100000"/>
              </a:lnSpc>
              <a:spcBef>
                <a:spcPts val="0"/>
              </a:spcBef>
              <a:spcAft>
                <a:spcPts val="0"/>
              </a:spcAft>
              <a:buClr>
                <a:srgbClr val="00AFD0"/>
              </a:buClr>
              <a:buSzTx/>
              <a:buFont typeface="Wingdings" panose="05000000000000000000" pitchFamily="2" charset="2"/>
              <a:buChar char="§"/>
              <a:tabLst/>
              <a:defRPr/>
            </a:pPr>
            <a:r>
              <a:rPr kumimoji="0" lang="en-GB" sz="1200" b="0" i="0" u="none" strike="noStrike" kern="1200" cap="none" spc="0" normalizeH="0" baseline="0" noProof="0" dirty="0">
                <a:ln>
                  <a:noFill/>
                </a:ln>
                <a:solidFill>
                  <a:prstClr val="black"/>
                </a:solidFill>
                <a:effectLst/>
                <a:uLnTx/>
                <a:uFillTx/>
                <a:latin typeface="UniCredit"/>
                <a:ea typeface="+mn-ea"/>
                <a:cs typeface="+mn-cs"/>
              </a:rPr>
              <a:t>Admin REST API (tracks near-misses)</a:t>
            </a:r>
          </a:p>
          <a:p>
            <a:pPr marL="171450" marR="0" lvl="0" indent="-171450" algn="l" defTabSz="685800" rtl="0" eaLnBrk="1" fontAlgn="auto" latinLnBrk="0" hangingPunct="1">
              <a:lnSpc>
                <a:spcPct val="100000"/>
              </a:lnSpc>
              <a:spcBef>
                <a:spcPts val="0"/>
              </a:spcBef>
              <a:spcAft>
                <a:spcPts val="0"/>
              </a:spcAft>
              <a:buClr>
                <a:srgbClr val="00AFD0"/>
              </a:buClr>
              <a:buSzTx/>
              <a:buFont typeface="Wingdings" panose="05000000000000000000" pitchFamily="2" charset="2"/>
              <a:buChar char="§"/>
              <a:tabLst/>
              <a:defRPr/>
            </a:pPr>
            <a:r>
              <a:rPr kumimoji="0" lang="en-GB" sz="1200" b="0" i="0" u="none" strike="noStrike" kern="1200" cap="none" spc="0" normalizeH="0" baseline="0" noProof="0" dirty="0">
                <a:ln>
                  <a:noFill/>
                </a:ln>
                <a:solidFill>
                  <a:prstClr val="black"/>
                </a:solidFill>
                <a:effectLst/>
                <a:uLnTx/>
                <a:uFillTx/>
                <a:latin typeface="UniCredit"/>
                <a:ea typeface="+mn-ea"/>
                <a:cs typeface="+mn-cs"/>
              </a:rPr>
              <a:t>Extensibility – extend server functionality</a:t>
            </a:r>
          </a:p>
          <a:p>
            <a:pPr marL="171450" marR="0" lvl="0" indent="-171450" algn="l" defTabSz="685800" rtl="0" eaLnBrk="1" fontAlgn="auto" latinLnBrk="0" hangingPunct="1">
              <a:lnSpc>
                <a:spcPct val="100000"/>
              </a:lnSpc>
              <a:spcBef>
                <a:spcPts val="0"/>
              </a:spcBef>
              <a:spcAft>
                <a:spcPts val="0"/>
              </a:spcAft>
              <a:buClr>
                <a:srgbClr val="00AFD0"/>
              </a:buClr>
              <a:buSzTx/>
              <a:buFont typeface="Wingdings" panose="05000000000000000000" pitchFamily="2" charset="2"/>
              <a:buChar char="§"/>
              <a:tabLst/>
              <a:defRPr/>
            </a:pPr>
            <a:r>
              <a:rPr kumimoji="0" lang="en-GB" sz="1200" b="0" i="0" u="none" strike="noStrike" kern="1200" cap="none" spc="0" normalizeH="0" baseline="0" noProof="0" dirty="0">
                <a:ln>
                  <a:noFill/>
                </a:ln>
                <a:solidFill>
                  <a:prstClr val="black"/>
                </a:solidFill>
                <a:effectLst/>
                <a:uLnTx/>
                <a:uFillTx/>
                <a:latin typeface="UniCredit"/>
                <a:ea typeface="+mn-ea"/>
                <a:cs typeface="+mn-cs"/>
              </a:rPr>
              <a:t>HTTPS, Maven Plugin, Etc.</a:t>
            </a:r>
            <a:endParaRPr kumimoji="0" lang="en-US" sz="1200" b="0" i="0" u="none" strike="noStrike" kern="1200" cap="none" spc="0" normalizeH="0" baseline="0" noProof="0" dirty="0">
              <a:ln>
                <a:noFill/>
              </a:ln>
              <a:solidFill>
                <a:prstClr val="black"/>
              </a:solidFill>
              <a:effectLst/>
              <a:uLnTx/>
              <a:uFillTx/>
              <a:latin typeface="UniCredit"/>
              <a:ea typeface="+mn-ea"/>
              <a:cs typeface="+mn-cs"/>
            </a:endParaRPr>
          </a:p>
        </p:txBody>
      </p:sp>
      <p:sp>
        <p:nvSpPr>
          <p:cNvPr id="31" name="Round Diagonal Corner Rectangle 16">
            <a:extLst>
              <a:ext uri="{FF2B5EF4-FFF2-40B4-BE49-F238E27FC236}">
                <a16:creationId xmlns:a16="http://schemas.microsoft.com/office/drawing/2014/main" id="{C8E44529-B486-4E6E-AA82-D15799F30497}"/>
              </a:ext>
            </a:extLst>
          </p:cNvPr>
          <p:cNvSpPr/>
          <p:nvPr/>
        </p:nvSpPr>
        <p:spPr>
          <a:xfrm>
            <a:off x="87940" y="3252033"/>
            <a:ext cx="1566473" cy="658639"/>
          </a:xfrm>
          <a:prstGeom prst="homePlate">
            <a:avLst>
              <a:gd name="adj" fmla="val 14071"/>
            </a:avLst>
          </a:prstGeom>
          <a:solidFill>
            <a:srgbClr val="00AFD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04000" tIns="0" rIns="72000" bIns="0" rtlCol="0" anchor="ctr"/>
          <a:lstStyle/>
          <a:p>
            <a:pPr marL="0" marR="0" lvl="0" indent="0" algn="l" defTabSz="685800" rtl="0" eaLnBrk="1" fontAlgn="auto" latinLnBrk="0" hangingPunct="1">
              <a:lnSpc>
                <a:spcPct val="100000"/>
              </a:lnSpc>
              <a:spcBef>
                <a:spcPts val="0"/>
              </a:spcBef>
              <a:spcAft>
                <a:spcPts val="540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UniCredit"/>
                <a:ea typeface="+mn-ea"/>
                <a:cs typeface="+mn-cs"/>
              </a:rPr>
              <a:t>Limitations</a:t>
            </a:r>
          </a:p>
        </p:txBody>
      </p:sp>
      <p:sp>
        <p:nvSpPr>
          <p:cNvPr id="32" name="Rectangle 31"/>
          <p:cNvSpPr/>
          <p:nvPr/>
        </p:nvSpPr>
        <p:spPr>
          <a:xfrm>
            <a:off x="1568390" y="3318283"/>
            <a:ext cx="2801243" cy="963660"/>
          </a:xfrm>
          <a:prstGeom prst="rect">
            <a:avLst/>
          </a:prstGeom>
        </p:spPr>
        <p:txBody>
          <a:bodyPr anchor="ctr">
            <a:noAutofit/>
          </a:bodyPr>
          <a:lstStyle/>
          <a:p>
            <a:pPr marL="171450" marR="0" lvl="0" indent="-171450" algn="l" defTabSz="685800" rtl="0" eaLnBrk="1" fontAlgn="auto" latinLnBrk="0" hangingPunct="1">
              <a:lnSpc>
                <a:spcPct val="100000"/>
              </a:lnSpc>
              <a:spcBef>
                <a:spcPts val="0"/>
              </a:spcBef>
              <a:spcAft>
                <a:spcPts val="0"/>
              </a:spcAft>
              <a:buClr>
                <a:srgbClr val="00AFD0"/>
              </a:buClr>
              <a:buSzTx/>
              <a:buFont typeface="Wingdings" panose="05000000000000000000" pitchFamily="2" charset="2"/>
              <a:buChar char="§"/>
              <a:tabLst/>
              <a:defRPr/>
            </a:pPr>
            <a:r>
              <a:rPr kumimoji="0" lang="en-GB" sz="1200" b="0" i="0" u="none" strike="noStrike" kern="1200" cap="none" spc="0" normalizeH="0" baseline="0" noProof="0" dirty="0">
                <a:ln>
                  <a:noFill/>
                </a:ln>
                <a:solidFill>
                  <a:prstClr val="black"/>
                </a:solidFill>
                <a:effectLst/>
                <a:uLnTx/>
                <a:uFillTx/>
                <a:latin typeface="UniCredit"/>
                <a:ea typeface="+mn-ea"/>
                <a:cs typeface="+mn-cs"/>
              </a:rPr>
              <a:t>Recording - one server per Host</a:t>
            </a:r>
          </a:p>
          <a:p>
            <a:pPr marL="514350" marR="0" lvl="1" indent="-171450" algn="l" defTabSz="685800" rtl="0" eaLnBrk="1" fontAlgn="auto" latinLnBrk="0" hangingPunct="1">
              <a:lnSpc>
                <a:spcPct val="100000"/>
              </a:lnSpc>
              <a:spcBef>
                <a:spcPts val="0"/>
              </a:spcBef>
              <a:spcAft>
                <a:spcPts val="0"/>
              </a:spcAft>
              <a:buClr>
                <a:srgbClr val="00AFD0"/>
              </a:buClr>
              <a:buSzTx/>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UniCredit"/>
                <a:ea typeface="+mn-ea"/>
                <a:cs typeface="+mn-cs"/>
              </a:rPr>
              <a:t>10 hosts -&gt; 10 recording </a:t>
            </a:r>
            <a:r>
              <a:rPr kumimoji="0" lang="en-GB" sz="1200" b="0" i="0" u="none" strike="noStrike" kern="1200" cap="none" spc="0" normalizeH="0" baseline="0" noProof="0" dirty="0" err="1">
                <a:ln>
                  <a:noFill/>
                </a:ln>
                <a:solidFill>
                  <a:prstClr val="black"/>
                </a:solidFill>
                <a:effectLst/>
                <a:uLnTx/>
                <a:uFillTx/>
                <a:latin typeface="UniCredit"/>
                <a:ea typeface="+mn-ea"/>
                <a:cs typeface="+mn-cs"/>
              </a:rPr>
              <a:t>WireMock</a:t>
            </a:r>
            <a:r>
              <a:rPr kumimoji="0" lang="en-GB" sz="1200" b="0" i="0" u="none" strike="noStrike" kern="1200" cap="none" spc="0" normalizeH="0" baseline="0" noProof="0" dirty="0">
                <a:ln>
                  <a:noFill/>
                </a:ln>
                <a:solidFill>
                  <a:prstClr val="black"/>
                </a:solidFill>
                <a:effectLst/>
                <a:uLnTx/>
                <a:uFillTx/>
                <a:latin typeface="UniCredit"/>
                <a:ea typeface="+mn-ea"/>
                <a:cs typeface="+mn-cs"/>
              </a:rPr>
              <a:t> JVMs</a:t>
            </a:r>
          </a:p>
          <a:p>
            <a:pPr marL="171450" marR="0" lvl="0" indent="-171450" algn="l" defTabSz="685800" rtl="0" eaLnBrk="1" fontAlgn="auto" latinLnBrk="0" hangingPunct="1">
              <a:lnSpc>
                <a:spcPct val="100000"/>
              </a:lnSpc>
              <a:spcBef>
                <a:spcPts val="0"/>
              </a:spcBef>
              <a:spcAft>
                <a:spcPts val="0"/>
              </a:spcAft>
              <a:buClr>
                <a:srgbClr val="00AFD0"/>
              </a:buClr>
              <a:buSzTx/>
              <a:buFont typeface="Wingdings" panose="05000000000000000000" pitchFamily="2" charset="2"/>
              <a:buChar char="§"/>
              <a:tabLst/>
              <a:defRPr/>
            </a:pPr>
            <a:r>
              <a:rPr kumimoji="0" lang="en-GB" sz="1200" b="0" i="0" u="none" strike="noStrike" kern="1200" cap="none" spc="0" normalizeH="0" baseline="0" noProof="0" dirty="0">
                <a:ln>
                  <a:noFill/>
                </a:ln>
                <a:solidFill>
                  <a:prstClr val="black"/>
                </a:solidFill>
                <a:effectLst/>
                <a:uLnTx/>
                <a:uFillTx/>
                <a:latin typeface="UniCredit"/>
                <a:ea typeface="+mn-ea"/>
                <a:cs typeface="+mn-cs"/>
              </a:rPr>
              <a:t>Recorded Reponses are static </a:t>
            </a:r>
          </a:p>
          <a:p>
            <a:pPr marL="514350" marR="0" lvl="1" indent="-171450" algn="l" defTabSz="685800" rtl="0" eaLnBrk="1" fontAlgn="auto" latinLnBrk="0" hangingPunct="1">
              <a:lnSpc>
                <a:spcPct val="100000"/>
              </a:lnSpc>
              <a:spcBef>
                <a:spcPts val="0"/>
              </a:spcBef>
              <a:spcAft>
                <a:spcPts val="0"/>
              </a:spcAft>
              <a:buClr>
                <a:srgbClr val="00AFD0"/>
              </a:buClr>
              <a:buSzTx/>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UniCredit"/>
                <a:ea typeface="+mn-ea"/>
                <a:cs typeface="+mn-cs"/>
              </a:rPr>
              <a:t>Use Templates and publish stubs programmatically.</a:t>
            </a:r>
            <a:endParaRPr kumimoji="0" lang="en-US" sz="1200" b="0" i="0" u="none" strike="noStrike" kern="1200" cap="none" spc="0" normalizeH="0" baseline="0" noProof="0" dirty="0">
              <a:ln>
                <a:noFill/>
              </a:ln>
              <a:solidFill>
                <a:prstClr val="black"/>
              </a:solidFill>
              <a:effectLst/>
              <a:uLnTx/>
              <a:uFillTx/>
              <a:latin typeface="UniCredit"/>
              <a:ea typeface="+mn-ea"/>
              <a:cs typeface="+mn-cs"/>
            </a:endParaRPr>
          </a:p>
        </p:txBody>
      </p:sp>
      <p:sp>
        <p:nvSpPr>
          <p:cNvPr id="43" name="Freeform 37"/>
          <p:cNvSpPr>
            <a:spLocks noEditPoints="1"/>
          </p:cNvSpPr>
          <p:nvPr/>
        </p:nvSpPr>
        <p:spPr bwMode="auto">
          <a:xfrm>
            <a:off x="151719" y="1549690"/>
            <a:ext cx="319091" cy="326492"/>
          </a:xfrm>
          <a:custGeom>
            <a:avLst/>
            <a:gdLst>
              <a:gd name="T0" fmla="*/ 998 w 3878"/>
              <a:gd name="T1" fmla="*/ 1498 h 3968"/>
              <a:gd name="T2" fmla="*/ 1267 w 3878"/>
              <a:gd name="T3" fmla="*/ 1684 h 3968"/>
              <a:gd name="T4" fmla="*/ 1428 w 3878"/>
              <a:gd name="T5" fmla="*/ 1974 h 3968"/>
              <a:gd name="T6" fmla="*/ 1439 w 3878"/>
              <a:gd name="T7" fmla="*/ 2328 h 3968"/>
              <a:gd name="T8" fmla="*/ 1286 w 3878"/>
              <a:gd name="T9" fmla="*/ 2641 h 3968"/>
              <a:gd name="T10" fmla="*/ 1337 w 3878"/>
              <a:gd name="T11" fmla="*/ 2917 h 3968"/>
              <a:gd name="T12" fmla="*/ 1665 w 3878"/>
              <a:gd name="T13" fmla="*/ 3147 h 3968"/>
              <a:gd name="T14" fmla="*/ 1956 w 3878"/>
              <a:gd name="T15" fmla="*/ 3306 h 3968"/>
              <a:gd name="T16" fmla="*/ 1993 w 3878"/>
              <a:gd name="T17" fmla="*/ 3665 h 3968"/>
              <a:gd name="T18" fmla="*/ 1836 w 3878"/>
              <a:gd name="T19" fmla="*/ 3710 h 3968"/>
              <a:gd name="T20" fmla="*/ 1372 w 3878"/>
              <a:gd name="T21" fmla="*/ 3543 h 3968"/>
              <a:gd name="T22" fmla="*/ 992 w 3878"/>
              <a:gd name="T23" fmla="*/ 3261 h 3968"/>
              <a:gd name="T24" fmla="*/ 712 w 3878"/>
              <a:gd name="T25" fmla="*/ 2898 h 3968"/>
              <a:gd name="T26" fmla="*/ 392 w 3878"/>
              <a:gd name="T27" fmla="*/ 2816 h 3968"/>
              <a:gd name="T28" fmla="*/ 144 w 3878"/>
              <a:gd name="T29" fmla="*/ 2608 h 3968"/>
              <a:gd name="T30" fmla="*/ 12 w 3878"/>
              <a:gd name="T31" fmla="*/ 2306 h 3968"/>
              <a:gd name="T32" fmla="*/ 29 w 3878"/>
              <a:gd name="T33" fmla="*/ 1966 h 3968"/>
              <a:gd name="T34" fmla="*/ 192 w 3878"/>
              <a:gd name="T35" fmla="*/ 1681 h 3968"/>
              <a:gd name="T36" fmla="*/ 463 w 3878"/>
              <a:gd name="T37" fmla="*/ 1495 h 3968"/>
              <a:gd name="T38" fmla="*/ 3719 w 3878"/>
              <a:gd name="T39" fmla="*/ 1332 h 3968"/>
              <a:gd name="T40" fmla="*/ 3863 w 3878"/>
              <a:gd name="T41" fmla="*/ 1827 h 3968"/>
              <a:gd name="T42" fmla="*/ 3850 w 3878"/>
              <a:gd name="T43" fmla="*/ 2351 h 3968"/>
              <a:gd name="T44" fmla="*/ 3696 w 3878"/>
              <a:gd name="T45" fmla="*/ 2807 h 3968"/>
              <a:gd name="T46" fmla="*/ 3718 w 3878"/>
              <a:gd name="T47" fmla="*/ 3065 h 3968"/>
              <a:gd name="T48" fmla="*/ 3727 w 3878"/>
              <a:gd name="T49" fmla="*/ 3372 h 3968"/>
              <a:gd name="T50" fmla="*/ 3611 w 3878"/>
              <a:gd name="T51" fmla="*/ 3655 h 3968"/>
              <a:gd name="T52" fmla="*/ 3375 w 3878"/>
              <a:gd name="T53" fmla="*/ 3872 h 3968"/>
              <a:gd name="T54" fmla="*/ 3073 w 3878"/>
              <a:gd name="T55" fmla="*/ 3966 h 3968"/>
              <a:gd name="T56" fmla="*/ 2767 w 3878"/>
              <a:gd name="T57" fmla="*/ 3924 h 3968"/>
              <a:gd name="T58" fmla="*/ 2502 w 3878"/>
              <a:gd name="T59" fmla="*/ 3758 h 3968"/>
              <a:gd name="T60" fmla="*/ 2327 w 3878"/>
              <a:gd name="T61" fmla="*/ 3484 h 3968"/>
              <a:gd name="T62" fmla="*/ 2288 w 3878"/>
              <a:gd name="T63" fmla="*/ 3175 h 3968"/>
              <a:gd name="T64" fmla="*/ 2379 w 3878"/>
              <a:gd name="T65" fmla="*/ 2880 h 3968"/>
              <a:gd name="T66" fmla="*/ 2595 w 3878"/>
              <a:gd name="T67" fmla="*/ 2643 h 3968"/>
              <a:gd name="T68" fmla="*/ 2899 w 3878"/>
              <a:gd name="T69" fmla="*/ 2521 h 3968"/>
              <a:gd name="T70" fmla="*/ 3216 w 3878"/>
              <a:gd name="T71" fmla="*/ 2541 h 3968"/>
              <a:gd name="T72" fmla="*/ 3342 w 3878"/>
              <a:gd name="T73" fmla="*/ 2392 h 3968"/>
              <a:gd name="T74" fmla="*/ 3388 w 3878"/>
              <a:gd name="T75" fmla="*/ 1962 h 3968"/>
              <a:gd name="T76" fmla="*/ 3375 w 3878"/>
              <a:gd name="T77" fmla="*/ 1612 h 3968"/>
              <a:gd name="T78" fmla="*/ 3629 w 3878"/>
              <a:gd name="T79" fmla="*/ 1447 h 3968"/>
              <a:gd name="T80" fmla="*/ 2773 w 3878"/>
              <a:gd name="T81" fmla="*/ 0 h 3968"/>
              <a:gd name="T82" fmla="*/ 3101 w 3878"/>
              <a:gd name="T83" fmla="*/ 67 h 3968"/>
              <a:gd name="T84" fmla="*/ 3354 w 3878"/>
              <a:gd name="T85" fmla="*/ 263 h 3968"/>
              <a:gd name="T86" fmla="*/ 3496 w 3878"/>
              <a:gd name="T87" fmla="*/ 538 h 3968"/>
              <a:gd name="T88" fmla="*/ 3512 w 3878"/>
              <a:gd name="T89" fmla="*/ 848 h 3968"/>
              <a:gd name="T90" fmla="*/ 3387 w 3878"/>
              <a:gd name="T91" fmla="*/ 1149 h 3968"/>
              <a:gd name="T92" fmla="*/ 3155 w 3878"/>
              <a:gd name="T93" fmla="*/ 1360 h 3968"/>
              <a:gd name="T94" fmla="*/ 2861 w 3878"/>
              <a:gd name="T95" fmla="*/ 1453 h 3968"/>
              <a:gd name="T96" fmla="*/ 2548 w 3878"/>
              <a:gd name="T97" fmla="*/ 1413 h 3968"/>
              <a:gd name="T98" fmla="*/ 2272 w 3878"/>
              <a:gd name="T99" fmla="*/ 1235 h 3968"/>
              <a:gd name="T100" fmla="*/ 2107 w 3878"/>
              <a:gd name="T101" fmla="*/ 966 h 3968"/>
              <a:gd name="T102" fmla="*/ 1822 w 3878"/>
              <a:gd name="T103" fmla="*/ 893 h 3968"/>
              <a:gd name="T104" fmla="*/ 1440 w 3878"/>
              <a:gd name="T105" fmla="*/ 1089 h 3968"/>
              <a:gd name="T106" fmla="*/ 1158 w 3878"/>
              <a:gd name="T107" fmla="*/ 1195 h 3968"/>
              <a:gd name="T108" fmla="*/ 870 w 3878"/>
              <a:gd name="T109" fmla="*/ 1077 h 3968"/>
              <a:gd name="T110" fmla="*/ 989 w 3878"/>
              <a:gd name="T111" fmla="*/ 835 h 3968"/>
              <a:gd name="T112" fmla="*/ 1398 w 3878"/>
              <a:gd name="T113" fmla="*/ 541 h 3968"/>
              <a:gd name="T114" fmla="*/ 1872 w 3878"/>
              <a:gd name="T115" fmla="*/ 381 h 3968"/>
              <a:gd name="T116" fmla="*/ 2253 w 3878"/>
              <a:gd name="T117" fmla="*/ 244 h 3968"/>
              <a:gd name="T118" fmla="*/ 2519 w 3878"/>
              <a:gd name="T119" fmla="*/ 55 h 3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878" h="3968">
                <a:moveTo>
                  <a:pt x="733" y="1446"/>
                </a:moveTo>
                <a:lnTo>
                  <a:pt x="802" y="1450"/>
                </a:lnTo>
                <a:lnTo>
                  <a:pt x="870" y="1460"/>
                </a:lnTo>
                <a:lnTo>
                  <a:pt x="935" y="1476"/>
                </a:lnTo>
                <a:lnTo>
                  <a:pt x="998" y="1498"/>
                </a:lnTo>
                <a:lnTo>
                  <a:pt x="1058" y="1526"/>
                </a:lnTo>
                <a:lnTo>
                  <a:pt x="1115" y="1558"/>
                </a:lnTo>
                <a:lnTo>
                  <a:pt x="1170" y="1596"/>
                </a:lnTo>
                <a:lnTo>
                  <a:pt x="1219" y="1638"/>
                </a:lnTo>
                <a:lnTo>
                  <a:pt x="1267" y="1684"/>
                </a:lnTo>
                <a:lnTo>
                  <a:pt x="1308" y="1735"/>
                </a:lnTo>
                <a:lnTo>
                  <a:pt x="1345" y="1790"/>
                </a:lnTo>
                <a:lnTo>
                  <a:pt x="1378" y="1848"/>
                </a:lnTo>
                <a:lnTo>
                  <a:pt x="1406" y="1910"/>
                </a:lnTo>
                <a:lnTo>
                  <a:pt x="1428" y="1974"/>
                </a:lnTo>
                <a:lnTo>
                  <a:pt x="1444" y="2041"/>
                </a:lnTo>
                <a:lnTo>
                  <a:pt x="1452" y="2110"/>
                </a:lnTo>
                <a:lnTo>
                  <a:pt x="1456" y="2185"/>
                </a:lnTo>
                <a:lnTo>
                  <a:pt x="1451" y="2258"/>
                </a:lnTo>
                <a:lnTo>
                  <a:pt x="1439" y="2328"/>
                </a:lnTo>
                <a:lnTo>
                  <a:pt x="1421" y="2397"/>
                </a:lnTo>
                <a:lnTo>
                  <a:pt x="1396" y="2463"/>
                </a:lnTo>
                <a:lnTo>
                  <a:pt x="1365" y="2526"/>
                </a:lnTo>
                <a:lnTo>
                  <a:pt x="1328" y="2585"/>
                </a:lnTo>
                <a:lnTo>
                  <a:pt x="1286" y="2641"/>
                </a:lnTo>
                <a:lnTo>
                  <a:pt x="1239" y="2692"/>
                </a:lnTo>
                <a:lnTo>
                  <a:pt x="1187" y="2738"/>
                </a:lnTo>
                <a:lnTo>
                  <a:pt x="1233" y="2801"/>
                </a:lnTo>
                <a:lnTo>
                  <a:pt x="1284" y="2860"/>
                </a:lnTo>
                <a:lnTo>
                  <a:pt x="1337" y="2917"/>
                </a:lnTo>
                <a:lnTo>
                  <a:pt x="1395" y="2972"/>
                </a:lnTo>
                <a:lnTo>
                  <a:pt x="1457" y="3021"/>
                </a:lnTo>
                <a:lnTo>
                  <a:pt x="1522" y="3067"/>
                </a:lnTo>
                <a:lnTo>
                  <a:pt x="1592" y="3110"/>
                </a:lnTo>
                <a:lnTo>
                  <a:pt x="1665" y="3147"/>
                </a:lnTo>
                <a:lnTo>
                  <a:pt x="1741" y="3178"/>
                </a:lnTo>
                <a:lnTo>
                  <a:pt x="1816" y="3203"/>
                </a:lnTo>
                <a:lnTo>
                  <a:pt x="1893" y="3223"/>
                </a:lnTo>
                <a:lnTo>
                  <a:pt x="1970" y="3237"/>
                </a:lnTo>
                <a:lnTo>
                  <a:pt x="1956" y="3306"/>
                </a:lnTo>
                <a:lnTo>
                  <a:pt x="1949" y="3378"/>
                </a:lnTo>
                <a:lnTo>
                  <a:pt x="1949" y="3449"/>
                </a:lnTo>
                <a:lnTo>
                  <a:pt x="1956" y="3521"/>
                </a:lnTo>
                <a:lnTo>
                  <a:pt x="1970" y="3592"/>
                </a:lnTo>
                <a:lnTo>
                  <a:pt x="1993" y="3665"/>
                </a:lnTo>
                <a:lnTo>
                  <a:pt x="2002" y="3689"/>
                </a:lnTo>
                <a:lnTo>
                  <a:pt x="2015" y="3713"/>
                </a:lnTo>
                <a:lnTo>
                  <a:pt x="2027" y="3738"/>
                </a:lnTo>
                <a:lnTo>
                  <a:pt x="1931" y="3727"/>
                </a:lnTo>
                <a:lnTo>
                  <a:pt x="1836" y="3710"/>
                </a:lnTo>
                <a:lnTo>
                  <a:pt x="1741" y="3688"/>
                </a:lnTo>
                <a:lnTo>
                  <a:pt x="1646" y="3660"/>
                </a:lnTo>
                <a:lnTo>
                  <a:pt x="1553" y="3626"/>
                </a:lnTo>
                <a:lnTo>
                  <a:pt x="1459" y="3587"/>
                </a:lnTo>
                <a:lnTo>
                  <a:pt x="1372" y="3543"/>
                </a:lnTo>
                <a:lnTo>
                  <a:pt x="1288" y="3494"/>
                </a:lnTo>
                <a:lnTo>
                  <a:pt x="1208" y="3442"/>
                </a:lnTo>
                <a:lnTo>
                  <a:pt x="1132" y="3386"/>
                </a:lnTo>
                <a:lnTo>
                  <a:pt x="1061" y="3326"/>
                </a:lnTo>
                <a:lnTo>
                  <a:pt x="992" y="3261"/>
                </a:lnTo>
                <a:lnTo>
                  <a:pt x="927" y="3195"/>
                </a:lnTo>
                <a:lnTo>
                  <a:pt x="868" y="3124"/>
                </a:lnTo>
                <a:lnTo>
                  <a:pt x="811" y="3052"/>
                </a:lnTo>
                <a:lnTo>
                  <a:pt x="759" y="2976"/>
                </a:lnTo>
                <a:lnTo>
                  <a:pt x="712" y="2898"/>
                </a:lnTo>
                <a:lnTo>
                  <a:pt x="644" y="2893"/>
                </a:lnTo>
                <a:lnTo>
                  <a:pt x="577" y="2882"/>
                </a:lnTo>
                <a:lnTo>
                  <a:pt x="513" y="2866"/>
                </a:lnTo>
                <a:lnTo>
                  <a:pt x="451" y="2844"/>
                </a:lnTo>
                <a:lnTo>
                  <a:pt x="392" y="2816"/>
                </a:lnTo>
                <a:lnTo>
                  <a:pt x="335" y="2784"/>
                </a:lnTo>
                <a:lnTo>
                  <a:pt x="281" y="2746"/>
                </a:lnTo>
                <a:lnTo>
                  <a:pt x="232" y="2705"/>
                </a:lnTo>
                <a:lnTo>
                  <a:pt x="185" y="2659"/>
                </a:lnTo>
                <a:lnTo>
                  <a:pt x="144" y="2608"/>
                </a:lnTo>
                <a:lnTo>
                  <a:pt x="108" y="2555"/>
                </a:lnTo>
                <a:lnTo>
                  <a:pt x="75" y="2496"/>
                </a:lnTo>
                <a:lnTo>
                  <a:pt x="48" y="2436"/>
                </a:lnTo>
                <a:lnTo>
                  <a:pt x="27" y="2373"/>
                </a:lnTo>
                <a:lnTo>
                  <a:pt x="12" y="2306"/>
                </a:lnTo>
                <a:lnTo>
                  <a:pt x="2" y="2237"/>
                </a:lnTo>
                <a:lnTo>
                  <a:pt x="0" y="2167"/>
                </a:lnTo>
                <a:lnTo>
                  <a:pt x="4" y="2098"/>
                </a:lnTo>
                <a:lnTo>
                  <a:pt x="13" y="2031"/>
                </a:lnTo>
                <a:lnTo>
                  <a:pt x="29" y="1966"/>
                </a:lnTo>
                <a:lnTo>
                  <a:pt x="51" y="1903"/>
                </a:lnTo>
                <a:lnTo>
                  <a:pt x="79" y="1843"/>
                </a:lnTo>
                <a:lnTo>
                  <a:pt x="112" y="1785"/>
                </a:lnTo>
                <a:lnTo>
                  <a:pt x="149" y="1732"/>
                </a:lnTo>
                <a:lnTo>
                  <a:pt x="192" y="1681"/>
                </a:lnTo>
                <a:lnTo>
                  <a:pt x="238" y="1635"/>
                </a:lnTo>
                <a:lnTo>
                  <a:pt x="288" y="1592"/>
                </a:lnTo>
                <a:lnTo>
                  <a:pt x="343" y="1555"/>
                </a:lnTo>
                <a:lnTo>
                  <a:pt x="401" y="1523"/>
                </a:lnTo>
                <a:lnTo>
                  <a:pt x="463" y="1495"/>
                </a:lnTo>
                <a:lnTo>
                  <a:pt x="527" y="1473"/>
                </a:lnTo>
                <a:lnTo>
                  <a:pt x="594" y="1458"/>
                </a:lnTo>
                <a:lnTo>
                  <a:pt x="664" y="1449"/>
                </a:lnTo>
                <a:lnTo>
                  <a:pt x="733" y="1446"/>
                </a:lnTo>
                <a:close/>
                <a:moveTo>
                  <a:pt x="3719" y="1332"/>
                </a:moveTo>
                <a:lnTo>
                  <a:pt x="3759" y="1427"/>
                </a:lnTo>
                <a:lnTo>
                  <a:pt x="3794" y="1524"/>
                </a:lnTo>
                <a:lnTo>
                  <a:pt x="3823" y="1624"/>
                </a:lnTo>
                <a:lnTo>
                  <a:pt x="3846" y="1726"/>
                </a:lnTo>
                <a:lnTo>
                  <a:pt x="3863" y="1827"/>
                </a:lnTo>
                <a:lnTo>
                  <a:pt x="3873" y="1932"/>
                </a:lnTo>
                <a:lnTo>
                  <a:pt x="3878" y="2036"/>
                </a:lnTo>
                <a:lnTo>
                  <a:pt x="3875" y="2140"/>
                </a:lnTo>
                <a:lnTo>
                  <a:pt x="3865" y="2246"/>
                </a:lnTo>
                <a:lnTo>
                  <a:pt x="3850" y="2351"/>
                </a:lnTo>
                <a:lnTo>
                  <a:pt x="3828" y="2455"/>
                </a:lnTo>
                <a:lnTo>
                  <a:pt x="3798" y="2560"/>
                </a:lnTo>
                <a:lnTo>
                  <a:pt x="3761" y="2663"/>
                </a:lnTo>
                <a:lnTo>
                  <a:pt x="3718" y="2764"/>
                </a:lnTo>
                <a:lnTo>
                  <a:pt x="3696" y="2807"/>
                </a:lnTo>
                <a:lnTo>
                  <a:pt x="3672" y="2847"/>
                </a:lnTo>
                <a:lnTo>
                  <a:pt x="3647" y="2888"/>
                </a:lnTo>
                <a:lnTo>
                  <a:pt x="3675" y="2945"/>
                </a:lnTo>
                <a:lnTo>
                  <a:pt x="3699" y="3004"/>
                </a:lnTo>
                <a:lnTo>
                  <a:pt x="3718" y="3065"/>
                </a:lnTo>
                <a:lnTo>
                  <a:pt x="3730" y="3126"/>
                </a:lnTo>
                <a:lnTo>
                  <a:pt x="3737" y="3187"/>
                </a:lnTo>
                <a:lnTo>
                  <a:pt x="3739" y="3249"/>
                </a:lnTo>
                <a:lnTo>
                  <a:pt x="3736" y="3311"/>
                </a:lnTo>
                <a:lnTo>
                  <a:pt x="3727" y="3372"/>
                </a:lnTo>
                <a:lnTo>
                  <a:pt x="3714" y="3431"/>
                </a:lnTo>
                <a:lnTo>
                  <a:pt x="3696" y="3490"/>
                </a:lnTo>
                <a:lnTo>
                  <a:pt x="3673" y="3547"/>
                </a:lnTo>
                <a:lnTo>
                  <a:pt x="3645" y="3602"/>
                </a:lnTo>
                <a:lnTo>
                  <a:pt x="3611" y="3655"/>
                </a:lnTo>
                <a:lnTo>
                  <a:pt x="3573" y="3705"/>
                </a:lnTo>
                <a:lnTo>
                  <a:pt x="3531" y="3752"/>
                </a:lnTo>
                <a:lnTo>
                  <a:pt x="3484" y="3796"/>
                </a:lnTo>
                <a:lnTo>
                  <a:pt x="3432" y="3836"/>
                </a:lnTo>
                <a:lnTo>
                  <a:pt x="3375" y="3872"/>
                </a:lnTo>
                <a:lnTo>
                  <a:pt x="3316" y="3901"/>
                </a:lnTo>
                <a:lnTo>
                  <a:pt x="3257" y="3926"/>
                </a:lnTo>
                <a:lnTo>
                  <a:pt x="3196" y="3945"/>
                </a:lnTo>
                <a:lnTo>
                  <a:pt x="3135" y="3958"/>
                </a:lnTo>
                <a:lnTo>
                  <a:pt x="3073" y="3966"/>
                </a:lnTo>
                <a:lnTo>
                  <a:pt x="3011" y="3968"/>
                </a:lnTo>
                <a:lnTo>
                  <a:pt x="2948" y="3966"/>
                </a:lnTo>
                <a:lnTo>
                  <a:pt x="2887" y="3957"/>
                </a:lnTo>
                <a:lnTo>
                  <a:pt x="2827" y="3944"/>
                </a:lnTo>
                <a:lnTo>
                  <a:pt x="2767" y="3924"/>
                </a:lnTo>
                <a:lnTo>
                  <a:pt x="2709" y="3901"/>
                </a:lnTo>
                <a:lnTo>
                  <a:pt x="2653" y="3872"/>
                </a:lnTo>
                <a:lnTo>
                  <a:pt x="2600" y="3840"/>
                </a:lnTo>
                <a:lnTo>
                  <a:pt x="2549" y="3801"/>
                </a:lnTo>
                <a:lnTo>
                  <a:pt x="2502" y="3758"/>
                </a:lnTo>
                <a:lnTo>
                  <a:pt x="2457" y="3710"/>
                </a:lnTo>
                <a:lnTo>
                  <a:pt x="2417" y="3658"/>
                </a:lnTo>
                <a:lnTo>
                  <a:pt x="2382" y="3601"/>
                </a:lnTo>
                <a:lnTo>
                  <a:pt x="2352" y="3544"/>
                </a:lnTo>
                <a:lnTo>
                  <a:pt x="2327" y="3484"/>
                </a:lnTo>
                <a:lnTo>
                  <a:pt x="2309" y="3423"/>
                </a:lnTo>
                <a:lnTo>
                  <a:pt x="2296" y="3362"/>
                </a:lnTo>
                <a:lnTo>
                  <a:pt x="2287" y="3299"/>
                </a:lnTo>
                <a:lnTo>
                  <a:pt x="2285" y="3237"/>
                </a:lnTo>
                <a:lnTo>
                  <a:pt x="2288" y="3175"/>
                </a:lnTo>
                <a:lnTo>
                  <a:pt x="2296" y="3113"/>
                </a:lnTo>
                <a:lnTo>
                  <a:pt x="2309" y="3053"/>
                </a:lnTo>
                <a:lnTo>
                  <a:pt x="2328" y="2993"/>
                </a:lnTo>
                <a:lnTo>
                  <a:pt x="2352" y="2935"/>
                </a:lnTo>
                <a:lnTo>
                  <a:pt x="2379" y="2880"/>
                </a:lnTo>
                <a:lnTo>
                  <a:pt x="2413" y="2826"/>
                </a:lnTo>
                <a:lnTo>
                  <a:pt x="2452" y="2775"/>
                </a:lnTo>
                <a:lnTo>
                  <a:pt x="2495" y="2728"/>
                </a:lnTo>
                <a:lnTo>
                  <a:pt x="2543" y="2683"/>
                </a:lnTo>
                <a:lnTo>
                  <a:pt x="2595" y="2643"/>
                </a:lnTo>
                <a:lnTo>
                  <a:pt x="2653" y="2607"/>
                </a:lnTo>
                <a:lnTo>
                  <a:pt x="2713" y="2576"/>
                </a:lnTo>
                <a:lnTo>
                  <a:pt x="2773" y="2552"/>
                </a:lnTo>
                <a:lnTo>
                  <a:pt x="2836" y="2533"/>
                </a:lnTo>
                <a:lnTo>
                  <a:pt x="2899" y="2521"/>
                </a:lnTo>
                <a:lnTo>
                  <a:pt x="2964" y="2513"/>
                </a:lnTo>
                <a:lnTo>
                  <a:pt x="3028" y="2512"/>
                </a:lnTo>
                <a:lnTo>
                  <a:pt x="3091" y="2516"/>
                </a:lnTo>
                <a:lnTo>
                  <a:pt x="3154" y="2526"/>
                </a:lnTo>
                <a:lnTo>
                  <a:pt x="3216" y="2541"/>
                </a:lnTo>
                <a:lnTo>
                  <a:pt x="3276" y="2561"/>
                </a:lnTo>
                <a:lnTo>
                  <a:pt x="3278" y="2561"/>
                </a:lnTo>
                <a:lnTo>
                  <a:pt x="3278" y="2560"/>
                </a:lnTo>
                <a:lnTo>
                  <a:pt x="3313" y="2476"/>
                </a:lnTo>
                <a:lnTo>
                  <a:pt x="3342" y="2392"/>
                </a:lnTo>
                <a:lnTo>
                  <a:pt x="3364" y="2306"/>
                </a:lnTo>
                <a:lnTo>
                  <a:pt x="3379" y="2220"/>
                </a:lnTo>
                <a:lnTo>
                  <a:pt x="3388" y="2134"/>
                </a:lnTo>
                <a:lnTo>
                  <a:pt x="3392" y="2048"/>
                </a:lnTo>
                <a:lnTo>
                  <a:pt x="3388" y="1962"/>
                </a:lnTo>
                <a:lnTo>
                  <a:pt x="3379" y="1877"/>
                </a:lnTo>
                <a:lnTo>
                  <a:pt x="3365" y="1793"/>
                </a:lnTo>
                <a:lnTo>
                  <a:pt x="3343" y="1711"/>
                </a:lnTo>
                <a:lnTo>
                  <a:pt x="3318" y="1631"/>
                </a:lnTo>
                <a:lnTo>
                  <a:pt x="3375" y="1612"/>
                </a:lnTo>
                <a:lnTo>
                  <a:pt x="3429" y="1587"/>
                </a:lnTo>
                <a:lnTo>
                  <a:pt x="3482" y="1560"/>
                </a:lnTo>
                <a:lnTo>
                  <a:pt x="3535" y="1527"/>
                </a:lnTo>
                <a:lnTo>
                  <a:pt x="3583" y="1489"/>
                </a:lnTo>
                <a:lnTo>
                  <a:pt x="3629" y="1447"/>
                </a:lnTo>
                <a:lnTo>
                  <a:pt x="3672" y="1400"/>
                </a:lnTo>
                <a:lnTo>
                  <a:pt x="3688" y="1378"/>
                </a:lnTo>
                <a:lnTo>
                  <a:pt x="3704" y="1355"/>
                </a:lnTo>
                <a:lnTo>
                  <a:pt x="3719" y="1332"/>
                </a:lnTo>
                <a:close/>
                <a:moveTo>
                  <a:pt x="2773" y="0"/>
                </a:moveTo>
                <a:lnTo>
                  <a:pt x="2839" y="1"/>
                </a:lnTo>
                <a:lnTo>
                  <a:pt x="2905" y="8"/>
                </a:lnTo>
                <a:lnTo>
                  <a:pt x="2971" y="21"/>
                </a:lnTo>
                <a:lnTo>
                  <a:pt x="3036" y="41"/>
                </a:lnTo>
                <a:lnTo>
                  <a:pt x="3101" y="67"/>
                </a:lnTo>
                <a:lnTo>
                  <a:pt x="3160" y="98"/>
                </a:lnTo>
                <a:lnTo>
                  <a:pt x="3215" y="133"/>
                </a:lnTo>
                <a:lnTo>
                  <a:pt x="3265" y="173"/>
                </a:lnTo>
                <a:lnTo>
                  <a:pt x="3312" y="216"/>
                </a:lnTo>
                <a:lnTo>
                  <a:pt x="3354" y="263"/>
                </a:lnTo>
                <a:lnTo>
                  <a:pt x="3392" y="312"/>
                </a:lnTo>
                <a:lnTo>
                  <a:pt x="3425" y="366"/>
                </a:lnTo>
                <a:lnTo>
                  <a:pt x="3453" y="421"/>
                </a:lnTo>
                <a:lnTo>
                  <a:pt x="3478" y="478"/>
                </a:lnTo>
                <a:lnTo>
                  <a:pt x="3496" y="538"/>
                </a:lnTo>
                <a:lnTo>
                  <a:pt x="3510" y="598"/>
                </a:lnTo>
                <a:lnTo>
                  <a:pt x="3519" y="660"/>
                </a:lnTo>
                <a:lnTo>
                  <a:pt x="3521" y="722"/>
                </a:lnTo>
                <a:lnTo>
                  <a:pt x="3520" y="785"/>
                </a:lnTo>
                <a:lnTo>
                  <a:pt x="3512" y="848"/>
                </a:lnTo>
                <a:lnTo>
                  <a:pt x="3498" y="911"/>
                </a:lnTo>
                <a:lnTo>
                  <a:pt x="3479" y="974"/>
                </a:lnTo>
                <a:lnTo>
                  <a:pt x="3453" y="1035"/>
                </a:lnTo>
                <a:lnTo>
                  <a:pt x="3423" y="1094"/>
                </a:lnTo>
                <a:lnTo>
                  <a:pt x="3387" y="1149"/>
                </a:lnTo>
                <a:lnTo>
                  <a:pt x="3348" y="1200"/>
                </a:lnTo>
                <a:lnTo>
                  <a:pt x="3304" y="1246"/>
                </a:lnTo>
                <a:lnTo>
                  <a:pt x="3258" y="1288"/>
                </a:lnTo>
                <a:lnTo>
                  <a:pt x="3207" y="1326"/>
                </a:lnTo>
                <a:lnTo>
                  <a:pt x="3155" y="1360"/>
                </a:lnTo>
                <a:lnTo>
                  <a:pt x="3099" y="1387"/>
                </a:lnTo>
                <a:lnTo>
                  <a:pt x="3042" y="1412"/>
                </a:lnTo>
                <a:lnTo>
                  <a:pt x="2983" y="1430"/>
                </a:lnTo>
                <a:lnTo>
                  <a:pt x="2922" y="1444"/>
                </a:lnTo>
                <a:lnTo>
                  <a:pt x="2861" y="1453"/>
                </a:lnTo>
                <a:lnTo>
                  <a:pt x="2799" y="1455"/>
                </a:lnTo>
                <a:lnTo>
                  <a:pt x="2736" y="1453"/>
                </a:lnTo>
                <a:lnTo>
                  <a:pt x="2673" y="1446"/>
                </a:lnTo>
                <a:lnTo>
                  <a:pt x="2610" y="1432"/>
                </a:lnTo>
                <a:lnTo>
                  <a:pt x="2548" y="1413"/>
                </a:lnTo>
                <a:lnTo>
                  <a:pt x="2486" y="1387"/>
                </a:lnTo>
                <a:lnTo>
                  <a:pt x="2425" y="1356"/>
                </a:lnTo>
                <a:lnTo>
                  <a:pt x="2370" y="1320"/>
                </a:lnTo>
                <a:lnTo>
                  <a:pt x="2319" y="1280"/>
                </a:lnTo>
                <a:lnTo>
                  <a:pt x="2272" y="1235"/>
                </a:lnTo>
                <a:lnTo>
                  <a:pt x="2229" y="1187"/>
                </a:lnTo>
                <a:lnTo>
                  <a:pt x="2190" y="1135"/>
                </a:lnTo>
                <a:lnTo>
                  <a:pt x="2158" y="1082"/>
                </a:lnTo>
                <a:lnTo>
                  <a:pt x="2130" y="1025"/>
                </a:lnTo>
                <a:lnTo>
                  <a:pt x="2107" y="966"/>
                </a:lnTo>
                <a:lnTo>
                  <a:pt x="2088" y="905"/>
                </a:lnTo>
                <a:lnTo>
                  <a:pt x="2075" y="843"/>
                </a:lnTo>
                <a:lnTo>
                  <a:pt x="1989" y="854"/>
                </a:lnTo>
                <a:lnTo>
                  <a:pt x="1904" y="870"/>
                </a:lnTo>
                <a:lnTo>
                  <a:pt x="1822" y="893"/>
                </a:lnTo>
                <a:lnTo>
                  <a:pt x="1741" y="921"/>
                </a:lnTo>
                <a:lnTo>
                  <a:pt x="1661" y="955"/>
                </a:lnTo>
                <a:lnTo>
                  <a:pt x="1584" y="995"/>
                </a:lnTo>
                <a:lnTo>
                  <a:pt x="1510" y="1040"/>
                </a:lnTo>
                <a:lnTo>
                  <a:pt x="1440" y="1089"/>
                </a:lnTo>
                <a:lnTo>
                  <a:pt x="1373" y="1145"/>
                </a:lnTo>
                <a:lnTo>
                  <a:pt x="1310" y="1206"/>
                </a:lnTo>
                <a:lnTo>
                  <a:pt x="1251" y="1271"/>
                </a:lnTo>
                <a:lnTo>
                  <a:pt x="1206" y="1231"/>
                </a:lnTo>
                <a:lnTo>
                  <a:pt x="1158" y="1195"/>
                </a:lnTo>
                <a:lnTo>
                  <a:pt x="1105" y="1162"/>
                </a:lnTo>
                <a:lnTo>
                  <a:pt x="1051" y="1134"/>
                </a:lnTo>
                <a:lnTo>
                  <a:pt x="993" y="1110"/>
                </a:lnTo>
                <a:lnTo>
                  <a:pt x="933" y="1092"/>
                </a:lnTo>
                <a:lnTo>
                  <a:pt x="870" y="1077"/>
                </a:lnTo>
                <a:lnTo>
                  <a:pt x="829" y="1073"/>
                </a:lnTo>
                <a:lnTo>
                  <a:pt x="789" y="1071"/>
                </a:lnTo>
                <a:lnTo>
                  <a:pt x="851" y="987"/>
                </a:lnTo>
                <a:lnTo>
                  <a:pt x="919" y="909"/>
                </a:lnTo>
                <a:lnTo>
                  <a:pt x="989" y="835"/>
                </a:lnTo>
                <a:lnTo>
                  <a:pt x="1064" y="767"/>
                </a:lnTo>
                <a:lnTo>
                  <a:pt x="1143" y="703"/>
                </a:lnTo>
                <a:lnTo>
                  <a:pt x="1225" y="643"/>
                </a:lnTo>
                <a:lnTo>
                  <a:pt x="1310" y="590"/>
                </a:lnTo>
                <a:lnTo>
                  <a:pt x="1398" y="541"/>
                </a:lnTo>
                <a:lnTo>
                  <a:pt x="1488" y="499"/>
                </a:lnTo>
                <a:lnTo>
                  <a:pt x="1582" y="460"/>
                </a:lnTo>
                <a:lnTo>
                  <a:pt x="1676" y="429"/>
                </a:lnTo>
                <a:lnTo>
                  <a:pt x="1773" y="402"/>
                </a:lnTo>
                <a:lnTo>
                  <a:pt x="1872" y="381"/>
                </a:lnTo>
                <a:lnTo>
                  <a:pt x="1971" y="366"/>
                </a:lnTo>
                <a:lnTo>
                  <a:pt x="2072" y="357"/>
                </a:lnTo>
                <a:lnTo>
                  <a:pt x="2173" y="353"/>
                </a:lnTo>
                <a:lnTo>
                  <a:pt x="2211" y="296"/>
                </a:lnTo>
                <a:lnTo>
                  <a:pt x="2253" y="244"/>
                </a:lnTo>
                <a:lnTo>
                  <a:pt x="2299" y="196"/>
                </a:lnTo>
                <a:lnTo>
                  <a:pt x="2350" y="153"/>
                </a:lnTo>
                <a:lnTo>
                  <a:pt x="2404" y="116"/>
                </a:lnTo>
                <a:lnTo>
                  <a:pt x="2461" y="82"/>
                </a:lnTo>
                <a:lnTo>
                  <a:pt x="2519" y="55"/>
                </a:lnTo>
                <a:lnTo>
                  <a:pt x="2581" y="32"/>
                </a:lnTo>
                <a:lnTo>
                  <a:pt x="2644" y="16"/>
                </a:lnTo>
                <a:lnTo>
                  <a:pt x="2708" y="6"/>
                </a:lnTo>
                <a:lnTo>
                  <a:pt x="2773"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it-IT" sz="1350" b="0" i="0" u="none" strike="noStrike" kern="1200" cap="none" spc="0" normalizeH="0" baseline="0" noProof="0">
              <a:ln>
                <a:noFill/>
              </a:ln>
              <a:solidFill>
                <a:prstClr val="black"/>
              </a:solidFill>
              <a:effectLst/>
              <a:uLnTx/>
              <a:uFillTx/>
              <a:latin typeface="UniCredit"/>
              <a:ea typeface="+mn-ea"/>
              <a:cs typeface="+mn-cs"/>
            </a:endParaRPr>
          </a:p>
        </p:txBody>
      </p:sp>
      <p:sp>
        <p:nvSpPr>
          <p:cNvPr id="44" name="Freeform 19"/>
          <p:cNvSpPr>
            <a:spLocks noEditPoints="1"/>
          </p:cNvSpPr>
          <p:nvPr/>
        </p:nvSpPr>
        <p:spPr bwMode="auto">
          <a:xfrm>
            <a:off x="130648" y="3428665"/>
            <a:ext cx="329427" cy="329427"/>
          </a:xfrm>
          <a:custGeom>
            <a:avLst/>
            <a:gdLst>
              <a:gd name="T0" fmla="*/ 3822 w 3968"/>
              <a:gd name="T1" fmla="*/ 2729 h 3968"/>
              <a:gd name="T2" fmla="*/ 3755 w 3968"/>
              <a:gd name="T3" fmla="*/ 2878 h 3968"/>
              <a:gd name="T4" fmla="*/ 3642 w 3968"/>
              <a:gd name="T5" fmla="*/ 3072 h 3968"/>
              <a:gd name="T6" fmla="*/ 3510 w 3968"/>
              <a:gd name="T7" fmla="*/ 3250 h 3968"/>
              <a:gd name="T8" fmla="*/ 3359 w 3968"/>
              <a:gd name="T9" fmla="*/ 3412 h 3968"/>
              <a:gd name="T10" fmla="*/ 3189 w 3968"/>
              <a:gd name="T11" fmla="*/ 3556 h 3968"/>
              <a:gd name="T12" fmla="*/ 3005 w 3968"/>
              <a:gd name="T13" fmla="*/ 3681 h 3968"/>
              <a:gd name="T14" fmla="*/ 2807 w 3968"/>
              <a:gd name="T15" fmla="*/ 3785 h 3968"/>
              <a:gd name="T16" fmla="*/ 2596 w 3968"/>
              <a:gd name="T17" fmla="*/ 3867 h 3968"/>
              <a:gd name="T18" fmla="*/ 1811 w 3968"/>
              <a:gd name="T19" fmla="*/ 2729 h 3968"/>
              <a:gd name="T20" fmla="*/ 2255 w 3968"/>
              <a:gd name="T21" fmla="*/ 3947 h 3968"/>
              <a:gd name="T22" fmla="*/ 2206 w 3968"/>
              <a:gd name="T23" fmla="*/ 3955 h 3968"/>
              <a:gd name="T24" fmla="*/ 1984 w 3968"/>
              <a:gd name="T25" fmla="*/ 3968 h 3968"/>
              <a:gd name="T26" fmla="*/ 1754 w 3968"/>
              <a:gd name="T27" fmla="*/ 3955 h 3968"/>
              <a:gd name="T28" fmla="*/ 1531 w 3968"/>
              <a:gd name="T29" fmla="*/ 3916 h 3968"/>
              <a:gd name="T30" fmla="*/ 1318 w 3968"/>
              <a:gd name="T31" fmla="*/ 3853 h 3968"/>
              <a:gd name="T32" fmla="*/ 1115 w 3968"/>
              <a:gd name="T33" fmla="*/ 3767 h 3968"/>
              <a:gd name="T34" fmla="*/ 925 w 3968"/>
              <a:gd name="T35" fmla="*/ 3660 h 3968"/>
              <a:gd name="T36" fmla="*/ 748 w 3968"/>
              <a:gd name="T37" fmla="*/ 3534 h 3968"/>
              <a:gd name="T38" fmla="*/ 587 w 3968"/>
              <a:gd name="T39" fmla="*/ 3390 h 3968"/>
              <a:gd name="T40" fmla="*/ 64 w 3968"/>
              <a:gd name="T41" fmla="*/ 1493 h 3968"/>
              <a:gd name="T42" fmla="*/ 428 w 3968"/>
              <a:gd name="T43" fmla="*/ 3213 h 3968"/>
              <a:gd name="T44" fmla="*/ 325 w 3968"/>
              <a:gd name="T45" fmla="*/ 3069 h 3968"/>
              <a:gd name="T46" fmla="*/ 212 w 3968"/>
              <a:gd name="T47" fmla="*/ 2875 h 3968"/>
              <a:gd name="T48" fmla="*/ 122 w 3968"/>
              <a:gd name="T49" fmla="*/ 2667 h 3968"/>
              <a:gd name="T50" fmla="*/ 56 w 3968"/>
              <a:gd name="T51" fmla="*/ 2449 h 3968"/>
              <a:gd name="T52" fmla="*/ 15 w 3968"/>
              <a:gd name="T53" fmla="*/ 2220 h 3968"/>
              <a:gd name="T54" fmla="*/ 0 w 3968"/>
              <a:gd name="T55" fmla="*/ 1984 h 3968"/>
              <a:gd name="T56" fmla="*/ 11 w 3968"/>
              <a:gd name="T57" fmla="*/ 1783 h 3968"/>
              <a:gd name="T58" fmla="*/ 42 w 3968"/>
              <a:gd name="T59" fmla="*/ 1587 h 3968"/>
              <a:gd name="T60" fmla="*/ 3537 w 3968"/>
              <a:gd name="T61" fmla="*/ 751 h 3968"/>
              <a:gd name="T62" fmla="*/ 3579 w 3968"/>
              <a:gd name="T63" fmla="*/ 807 h 3968"/>
              <a:gd name="T64" fmla="*/ 3702 w 3968"/>
              <a:gd name="T65" fmla="*/ 995 h 3968"/>
              <a:gd name="T66" fmla="*/ 3804 w 3968"/>
              <a:gd name="T67" fmla="*/ 1195 h 3968"/>
              <a:gd name="T68" fmla="*/ 3882 w 3968"/>
              <a:gd name="T69" fmla="*/ 1408 h 3968"/>
              <a:gd name="T70" fmla="*/ 3937 w 3968"/>
              <a:gd name="T71" fmla="*/ 1631 h 3968"/>
              <a:gd name="T72" fmla="*/ 3965 w 3968"/>
              <a:gd name="T73" fmla="*/ 1864 h 3968"/>
              <a:gd name="T74" fmla="*/ 3965 w 3968"/>
              <a:gd name="T75" fmla="*/ 2092 h 3968"/>
              <a:gd name="T76" fmla="*/ 3942 w 3968"/>
              <a:gd name="T77" fmla="*/ 2301 h 3968"/>
              <a:gd name="T78" fmla="*/ 3897 w 3968"/>
              <a:gd name="T79" fmla="*/ 2504 h 3968"/>
              <a:gd name="T80" fmla="*/ 3537 w 3968"/>
              <a:gd name="T81" fmla="*/ 751 h 3968"/>
              <a:gd name="T82" fmla="*/ 2128 w 3968"/>
              <a:gd name="T83" fmla="*/ 1258 h 3968"/>
              <a:gd name="T84" fmla="*/ 137 w 3968"/>
              <a:gd name="T85" fmla="*/ 1263 h 3968"/>
              <a:gd name="T86" fmla="*/ 166 w 3968"/>
              <a:gd name="T87" fmla="*/ 1190 h 3968"/>
              <a:gd name="T88" fmla="*/ 273 w 3968"/>
              <a:gd name="T89" fmla="*/ 981 h 3968"/>
              <a:gd name="T90" fmla="*/ 402 w 3968"/>
              <a:gd name="T91" fmla="*/ 787 h 3968"/>
              <a:gd name="T92" fmla="*/ 553 w 3968"/>
              <a:gd name="T93" fmla="*/ 612 h 3968"/>
              <a:gd name="T94" fmla="*/ 724 w 3968"/>
              <a:gd name="T95" fmla="*/ 454 h 3968"/>
              <a:gd name="T96" fmla="*/ 912 w 3968"/>
              <a:gd name="T97" fmla="*/ 317 h 3968"/>
              <a:gd name="T98" fmla="*/ 1115 w 3968"/>
              <a:gd name="T99" fmla="*/ 202 h 3968"/>
              <a:gd name="T100" fmla="*/ 1333 w 3968"/>
              <a:gd name="T101" fmla="*/ 112 h 3968"/>
              <a:gd name="T102" fmla="*/ 1984 w 3968"/>
              <a:gd name="T103" fmla="*/ 0 h 3968"/>
              <a:gd name="T104" fmla="*/ 2232 w 3968"/>
              <a:gd name="T105" fmla="*/ 15 h 3968"/>
              <a:gd name="T106" fmla="*/ 2469 w 3968"/>
              <a:gd name="T107" fmla="*/ 60 h 3968"/>
              <a:gd name="T108" fmla="*/ 2696 w 3968"/>
              <a:gd name="T109" fmla="*/ 132 h 3968"/>
              <a:gd name="T110" fmla="*/ 2910 w 3968"/>
              <a:gd name="T111" fmla="*/ 230 h 3968"/>
              <a:gd name="T112" fmla="*/ 3110 w 3968"/>
              <a:gd name="T113" fmla="*/ 351 h 3968"/>
              <a:gd name="T114" fmla="*/ 3293 w 3968"/>
              <a:gd name="T115" fmla="*/ 495 h 3968"/>
              <a:gd name="T116" fmla="*/ 2695 w 3968"/>
              <a:gd name="T117" fmla="*/ 1761 h 3968"/>
              <a:gd name="T118" fmla="*/ 1685 w 3968"/>
              <a:gd name="T119" fmla="*/ 25 h 3968"/>
              <a:gd name="T120" fmla="*/ 1727 w 3968"/>
              <a:gd name="T121" fmla="*/ 18 h 3968"/>
              <a:gd name="T122" fmla="*/ 1873 w 3968"/>
              <a:gd name="T123" fmla="*/ 3 h 3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968" h="3968">
                <a:moveTo>
                  <a:pt x="1811" y="2729"/>
                </a:moveTo>
                <a:lnTo>
                  <a:pt x="3822" y="2729"/>
                </a:lnTo>
                <a:lnTo>
                  <a:pt x="3802" y="2776"/>
                </a:lnTo>
                <a:lnTo>
                  <a:pt x="3755" y="2878"/>
                </a:lnTo>
                <a:lnTo>
                  <a:pt x="3702" y="2976"/>
                </a:lnTo>
                <a:lnTo>
                  <a:pt x="3642" y="3072"/>
                </a:lnTo>
                <a:lnTo>
                  <a:pt x="3578" y="3163"/>
                </a:lnTo>
                <a:lnTo>
                  <a:pt x="3510" y="3250"/>
                </a:lnTo>
                <a:lnTo>
                  <a:pt x="3436" y="3333"/>
                </a:lnTo>
                <a:lnTo>
                  <a:pt x="3359" y="3412"/>
                </a:lnTo>
                <a:lnTo>
                  <a:pt x="3276" y="3487"/>
                </a:lnTo>
                <a:lnTo>
                  <a:pt x="3189" y="3556"/>
                </a:lnTo>
                <a:lnTo>
                  <a:pt x="3099" y="3621"/>
                </a:lnTo>
                <a:lnTo>
                  <a:pt x="3005" y="3681"/>
                </a:lnTo>
                <a:lnTo>
                  <a:pt x="2908" y="3735"/>
                </a:lnTo>
                <a:lnTo>
                  <a:pt x="2807" y="3785"/>
                </a:lnTo>
                <a:lnTo>
                  <a:pt x="2703" y="3829"/>
                </a:lnTo>
                <a:lnTo>
                  <a:pt x="2596" y="3867"/>
                </a:lnTo>
                <a:lnTo>
                  <a:pt x="2486" y="3899"/>
                </a:lnTo>
                <a:lnTo>
                  <a:pt x="1811" y="2729"/>
                </a:lnTo>
                <a:close/>
                <a:moveTo>
                  <a:pt x="1259" y="2224"/>
                </a:moveTo>
                <a:lnTo>
                  <a:pt x="2255" y="3947"/>
                </a:lnTo>
                <a:lnTo>
                  <a:pt x="2230" y="3951"/>
                </a:lnTo>
                <a:lnTo>
                  <a:pt x="2206" y="3955"/>
                </a:lnTo>
                <a:lnTo>
                  <a:pt x="2096" y="3964"/>
                </a:lnTo>
                <a:lnTo>
                  <a:pt x="1984" y="3968"/>
                </a:lnTo>
                <a:lnTo>
                  <a:pt x="1868" y="3964"/>
                </a:lnTo>
                <a:lnTo>
                  <a:pt x="1754" y="3955"/>
                </a:lnTo>
                <a:lnTo>
                  <a:pt x="1641" y="3939"/>
                </a:lnTo>
                <a:lnTo>
                  <a:pt x="1531" y="3916"/>
                </a:lnTo>
                <a:lnTo>
                  <a:pt x="1423" y="3887"/>
                </a:lnTo>
                <a:lnTo>
                  <a:pt x="1318" y="3853"/>
                </a:lnTo>
                <a:lnTo>
                  <a:pt x="1215" y="3813"/>
                </a:lnTo>
                <a:lnTo>
                  <a:pt x="1115" y="3767"/>
                </a:lnTo>
                <a:lnTo>
                  <a:pt x="1018" y="3716"/>
                </a:lnTo>
                <a:lnTo>
                  <a:pt x="925" y="3660"/>
                </a:lnTo>
                <a:lnTo>
                  <a:pt x="835" y="3600"/>
                </a:lnTo>
                <a:lnTo>
                  <a:pt x="748" y="3534"/>
                </a:lnTo>
                <a:lnTo>
                  <a:pt x="665" y="3464"/>
                </a:lnTo>
                <a:lnTo>
                  <a:pt x="587" y="3390"/>
                </a:lnTo>
                <a:lnTo>
                  <a:pt x="1259" y="2224"/>
                </a:lnTo>
                <a:close/>
                <a:moveTo>
                  <a:pt x="64" y="1493"/>
                </a:moveTo>
                <a:lnTo>
                  <a:pt x="1422" y="1493"/>
                </a:lnTo>
                <a:lnTo>
                  <a:pt x="428" y="3213"/>
                </a:lnTo>
                <a:lnTo>
                  <a:pt x="389" y="3161"/>
                </a:lnTo>
                <a:lnTo>
                  <a:pt x="325" y="3069"/>
                </a:lnTo>
                <a:lnTo>
                  <a:pt x="267" y="2973"/>
                </a:lnTo>
                <a:lnTo>
                  <a:pt x="212" y="2875"/>
                </a:lnTo>
                <a:lnTo>
                  <a:pt x="165" y="2773"/>
                </a:lnTo>
                <a:lnTo>
                  <a:pt x="122" y="2667"/>
                </a:lnTo>
                <a:lnTo>
                  <a:pt x="86" y="2560"/>
                </a:lnTo>
                <a:lnTo>
                  <a:pt x="56" y="2449"/>
                </a:lnTo>
                <a:lnTo>
                  <a:pt x="32" y="2336"/>
                </a:lnTo>
                <a:lnTo>
                  <a:pt x="15" y="2220"/>
                </a:lnTo>
                <a:lnTo>
                  <a:pt x="4" y="2103"/>
                </a:lnTo>
                <a:lnTo>
                  <a:pt x="0" y="1984"/>
                </a:lnTo>
                <a:lnTo>
                  <a:pt x="2" y="1882"/>
                </a:lnTo>
                <a:lnTo>
                  <a:pt x="11" y="1783"/>
                </a:lnTo>
                <a:lnTo>
                  <a:pt x="24" y="1684"/>
                </a:lnTo>
                <a:lnTo>
                  <a:pt x="42" y="1587"/>
                </a:lnTo>
                <a:lnTo>
                  <a:pt x="64" y="1493"/>
                </a:lnTo>
                <a:close/>
                <a:moveTo>
                  <a:pt x="3537" y="751"/>
                </a:moveTo>
                <a:lnTo>
                  <a:pt x="3559" y="779"/>
                </a:lnTo>
                <a:lnTo>
                  <a:pt x="3579" y="807"/>
                </a:lnTo>
                <a:lnTo>
                  <a:pt x="3644" y="899"/>
                </a:lnTo>
                <a:lnTo>
                  <a:pt x="3702" y="995"/>
                </a:lnTo>
                <a:lnTo>
                  <a:pt x="3756" y="1093"/>
                </a:lnTo>
                <a:lnTo>
                  <a:pt x="3804" y="1195"/>
                </a:lnTo>
                <a:lnTo>
                  <a:pt x="3846" y="1300"/>
                </a:lnTo>
                <a:lnTo>
                  <a:pt x="3882" y="1408"/>
                </a:lnTo>
                <a:lnTo>
                  <a:pt x="3913" y="1518"/>
                </a:lnTo>
                <a:lnTo>
                  <a:pt x="3937" y="1631"/>
                </a:lnTo>
                <a:lnTo>
                  <a:pt x="3954" y="1747"/>
                </a:lnTo>
                <a:lnTo>
                  <a:pt x="3965" y="1864"/>
                </a:lnTo>
                <a:lnTo>
                  <a:pt x="3968" y="1984"/>
                </a:lnTo>
                <a:lnTo>
                  <a:pt x="3965" y="2092"/>
                </a:lnTo>
                <a:lnTo>
                  <a:pt x="3956" y="2197"/>
                </a:lnTo>
                <a:lnTo>
                  <a:pt x="3942" y="2301"/>
                </a:lnTo>
                <a:lnTo>
                  <a:pt x="3921" y="2403"/>
                </a:lnTo>
                <a:lnTo>
                  <a:pt x="3897" y="2504"/>
                </a:lnTo>
                <a:lnTo>
                  <a:pt x="2525" y="2504"/>
                </a:lnTo>
                <a:lnTo>
                  <a:pt x="3537" y="751"/>
                </a:lnTo>
                <a:close/>
                <a:moveTo>
                  <a:pt x="1447" y="76"/>
                </a:moveTo>
                <a:lnTo>
                  <a:pt x="2128" y="1258"/>
                </a:lnTo>
                <a:lnTo>
                  <a:pt x="136" y="1267"/>
                </a:lnTo>
                <a:lnTo>
                  <a:pt x="137" y="1263"/>
                </a:lnTo>
                <a:lnTo>
                  <a:pt x="139" y="1258"/>
                </a:lnTo>
                <a:lnTo>
                  <a:pt x="166" y="1190"/>
                </a:lnTo>
                <a:lnTo>
                  <a:pt x="216" y="1084"/>
                </a:lnTo>
                <a:lnTo>
                  <a:pt x="273" y="981"/>
                </a:lnTo>
                <a:lnTo>
                  <a:pt x="335" y="882"/>
                </a:lnTo>
                <a:lnTo>
                  <a:pt x="402" y="787"/>
                </a:lnTo>
                <a:lnTo>
                  <a:pt x="475" y="698"/>
                </a:lnTo>
                <a:lnTo>
                  <a:pt x="553" y="612"/>
                </a:lnTo>
                <a:lnTo>
                  <a:pt x="636" y="530"/>
                </a:lnTo>
                <a:lnTo>
                  <a:pt x="724" y="454"/>
                </a:lnTo>
                <a:lnTo>
                  <a:pt x="816" y="383"/>
                </a:lnTo>
                <a:lnTo>
                  <a:pt x="912" y="317"/>
                </a:lnTo>
                <a:lnTo>
                  <a:pt x="1012" y="256"/>
                </a:lnTo>
                <a:lnTo>
                  <a:pt x="1115" y="202"/>
                </a:lnTo>
                <a:lnTo>
                  <a:pt x="1223" y="153"/>
                </a:lnTo>
                <a:lnTo>
                  <a:pt x="1333" y="112"/>
                </a:lnTo>
                <a:lnTo>
                  <a:pt x="1447" y="76"/>
                </a:lnTo>
                <a:close/>
                <a:moveTo>
                  <a:pt x="1984" y="0"/>
                </a:moveTo>
                <a:lnTo>
                  <a:pt x="2109" y="3"/>
                </a:lnTo>
                <a:lnTo>
                  <a:pt x="2232" y="15"/>
                </a:lnTo>
                <a:lnTo>
                  <a:pt x="2352" y="33"/>
                </a:lnTo>
                <a:lnTo>
                  <a:pt x="2469" y="60"/>
                </a:lnTo>
                <a:lnTo>
                  <a:pt x="2584" y="93"/>
                </a:lnTo>
                <a:lnTo>
                  <a:pt x="2696" y="132"/>
                </a:lnTo>
                <a:lnTo>
                  <a:pt x="2805" y="178"/>
                </a:lnTo>
                <a:lnTo>
                  <a:pt x="2910" y="230"/>
                </a:lnTo>
                <a:lnTo>
                  <a:pt x="3012" y="288"/>
                </a:lnTo>
                <a:lnTo>
                  <a:pt x="3110" y="351"/>
                </a:lnTo>
                <a:lnTo>
                  <a:pt x="3204" y="421"/>
                </a:lnTo>
                <a:lnTo>
                  <a:pt x="3293" y="495"/>
                </a:lnTo>
                <a:lnTo>
                  <a:pt x="3378" y="575"/>
                </a:lnTo>
                <a:lnTo>
                  <a:pt x="2695" y="1761"/>
                </a:lnTo>
                <a:lnTo>
                  <a:pt x="1679" y="26"/>
                </a:lnTo>
                <a:lnTo>
                  <a:pt x="1685" y="25"/>
                </a:lnTo>
                <a:lnTo>
                  <a:pt x="1691" y="24"/>
                </a:lnTo>
                <a:lnTo>
                  <a:pt x="1727" y="18"/>
                </a:lnTo>
                <a:lnTo>
                  <a:pt x="1762" y="13"/>
                </a:lnTo>
                <a:lnTo>
                  <a:pt x="1873" y="3"/>
                </a:lnTo>
                <a:lnTo>
                  <a:pt x="1984"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it-IT" sz="1350" b="0" i="0" u="none" strike="noStrike" kern="1200" cap="none" spc="0" normalizeH="0" baseline="0" noProof="0">
              <a:ln>
                <a:noFill/>
              </a:ln>
              <a:solidFill>
                <a:prstClr val="black"/>
              </a:solidFill>
              <a:effectLst/>
              <a:uLnTx/>
              <a:uFillTx/>
              <a:latin typeface="UniCredit"/>
              <a:ea typeface="+mn-ea"/>
              <a:cs typeface="+mn-cs"/>
            </a:endParaRPr>
          </a:p>
        </p:txBody>
      </p:sp>
      <p:sp>
        <p:nvSpPr>
          <p:cNvPr id="24" name="Text Placeholder 2">
            <a:extLst>
              <a:ext uri="{FF2B5EF4-FFF2-40B4-BE49-F238E27FC236}">
                <a16:creationId xmlns:a16="http://schemas.microsoft.com/office/drawing/2014/main" id="{0BA1A637-BD44-47FD-9C28-19F5C1096AC1}"/>
              </a:ext>
            </a:extLst>
          </p:cNvPr>
          <p:cNvSpPr txBox="1">
            <a:spLocks/>
          </p:cNvSpPr>
          <p:nvPr/>
        </p:nvSpPr>
        <p:spPr>
          <a:xfrm>
            <a:off x="720000" y="4603750"/>
            <a:ext cx="7704000" cy="360000"/>
          </a:xfrm>
          <a:prstGeom prst="rect">
            <a:avLst/>
          </a:prstGeom>
        </p:spPr>
        <p:txBody>
          <a:bodyPr vert="horz" lIns="0" tIns="0" rIns="0" bIns="0" rtlCol="0">
            <a:noAutofit/>
          </a:bodyPr>
          <a:lstStyle>
            <a:lvl1pPr marL="0" marR="0" indent="0" algn="l" defTabSz="342875" rtl="0" eaLnBrk="1" fontAlgn="auto" latinLnBrk="0" hangingPunct="1">
              <a:lnSpc>
                <a:spcPct val="100000"/>
              </a:lnSpc>
              <a:spcBef>
                <a:spcPct val="20000"/>
              </a:spcBef>
              <a:spcAft>
                <a:spcPts val="0"/>
              </a:spcAft>
              <a:buClr>
                <a:srgbClr val="E1061C"/>
              </a:buClr>
              <a:buSzTx/>
              <a:buFont typeface="Arial"/>
              <a:buNone/>
              <a:tabLst/>
              <a:defRPr sz="800" kern="1200" baseline="0">
                <a:solidFill>
                  <a:schemeClr val="tx1"/>
                </a:solidFill>
                <a:latin typeface="+mn-lt"/>
                <a:ea typeface="+mn-ea"/>
                <a:cs typeface="Arial" panose="020B0604020202020204" pitchFamily="34" charset="0"/>
              </a:defRPr>
            </a:lvl1pPr>
            <a:lvl2pPr marL="342882" marR="0" indent="0" algn="l" defTabSz="342875" rtl="0" eaLnBrk="1" fontAlgn="auto" latinLnBrk="0" hangingPunct="1">
              <a:lnSpc>
                <a:spcPct val="100000"/>
              </a:lnSpc>
              <a:spcBef>
                <a:spcPct val="20000"/>
              </a:spcBef>
              <a:spcAft>
                <a:spcPts val="0"/>
              </a:spcAft>
              <a:buClr>
                <a:srgbClr val="E1061C"/>
              </a:buClr>
              <a:buSzTx/>
              <a:buFont typeface="Arial"/>
              <a:buNone/>
              <a:tabLst/>
              <a:defRPr sz="700" kern="1200" baseline="0">
                <a:solidFill>
                  <a:schemeClr val="tx1"/>
                </a:solidFill>
                <a:latin typeface="Arial" panose="020B0604020202020204" pitchFamily="34" charset="0"/>
                <a:ea typeface="+mn-ea"/>
                <a:cs typeface="Arial" panose="020B0604020202020204" pitchFamily="34" charset="0"/>
              </a:defRPr>
            </a:lvl2pPr>
            <a:lvl3pPr marL="685766" marR="0" indent="0" algn="l" defTabSz="342875" rtl="0" eaLnBrk="1" fontAlgn="auto" latinLnBrk="0" hangingPunct="1">
              <a:lnSpc>
                <a:spcPct val="100000"/>
              </a:lnSpc>
              <a:spcBef>
                <a:spcPct val="20000"/>
              </a:spcBef>
              <a:spcAft>
                <a:spcPts val="0"/>
              </a:spcAft>
              <a:buClr>
                <a:srgbClr val="E1061C"/>
              </a:buClr>
              <a:buSzTx/>
              <a:buFont typeface="Arial"/>
              <a:buNone/>
              <a:tabLst/>
              <a:defRPr sz="700" kern="1200" baseline="0">
                <a:solidFill>
                  <a:schemeClr val="tx1"/>
                </a:solidFill>
                <a:latin typeface="Arial" panose="020B0604020202020204" pitchFamily="34" charset="0"/>
                <a:ea typeface="+mn-ea"/>
                <a:cs typeface="Arial" panose="020B0604020202020204" pitchFamily="34" charset="0"/>
              </a:defRPr>
            </a:lvl3pPr>
            <a:lvl4pPr marL="1028648" marR="0" indent="0" algn="l" defTabSz="342875" rtl="0" eaLnBrk="1" fontAlgn="auto" latinLnBrk="0" hangingPunct="1">
              <a:lnSpc>
                <a:spcPct val="100000"/>
              </a:lnSpc>
              <a:spcBef>
                <a:spcPct val="20000"/>
              </a:spcBef>
              <a:spcAft>
                <a:spcPts val="0"/>
              </a:spcAft>
              <a:buClr>
                <a:srgbClr val="E1061C"/>
              </a:buClr>
              <a:buSzTx/>
              <a:buFont typeface="Arial"/>
              <a:buNone/>
              <a:tabLst/>
              <a:defRPr sz="700" kern="1200" baseline="0">
                <a:solidFill>
                  <a:schemeClr val="tx1"/>
                </a:solidFill>
                <a:latin typeface="Arial" panose="020B0604020202020204" pitchFamily="34" charset="0"/>
                <a:ea typeface="+mn-ea"/>
                <a:cs typeface="Arial" panose="020B0604020202020204" pitchFamily="34" charset="0"/>
              </a:defRPr>
            </a:lvl4pPr>
            <a:lvl5pPr marL="1371532" marR="0" indent="0" algn="l" defTabSz="342875" rtl="0" eaLnBrk="1" fontAlgn="auto" latinLnBrk="0" hangingPunct="1">
              <a:lnSpc>
                <a:spcPct val="100000"/>
              </a:lnSpc>
              <a:spcBef>
                <a:spcPct val="20000"/>
              </a:spcBef>
              <a:spcAft>
                <a:spcPts val="0"/>
              </a:spcAft>
              <a:buClr>
                <a:srgbClr val="E1061C"/>
              </a:buClr>
              <a:buSzTx/>
              <a:buFont typeface="Arial"/>
              <a:buNone/>
              <a:tabLst/>
              <a:defRPr sz="700" kern="1200" baseline="0">
                <a:solidFill>
                  <a:schemeClr val="tx1"/>
                </a:solidFill>
                <a:latin typeface="Arial" panose="020B0604020202020204" pitchFamily="34" charset="0"/>
                <a:ea typeface="+mn-ea"/>
                <a:cs typeface="Arial" panose="020B0604020202020204" pitchFamily="34" charset="0"/>
              </a:defRPr>
            </a:lvl5pPr>
            <a:lvl6pPr marL="1885809" indent="-171438" algn="l" defTabSz="685749"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684" indent="-171438" algn="l" defTabSz="685749"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558" indent="-171438" algn="l" defTabSz="685749"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433" indent="-171438" algn="l" defTabSz="685749"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r>
              <a:rPr lang="en-US" dirty="0">
                <a:hlinkClick r:id="rId10"/>
              </a:rPr>
              <a:t>http://wiremock.org/docs/record-playback/</a:t>
            </a:r>
            <a:endParaRPr lang="en-US" dirty="0"/>
          </a:p>
          <a:p>
            <a:r>
              <a:rPr lang="de-DE" dirty="0">
                <a:hlinkClick r:id="rId11"/>
              </a:rPr>
              <a:t>https://youtu.be/x3MvZ8DFrpE</a:t>
            </a:r>
            <a:endParaRPr lang="de-DE" dirty="0"/>
          </a:p>
          <a:p>
            <a:endParaRPr lang="de-DE" dirty="0"/>
          </a:p>
          <a:p>
            <a:endParaRPr lang="de-DE" dirty="0"/>
          </a:p>
        </p:txBody>
      </p:sp>
    </p:spTree>
    <p:extLst>
      <p:ext uri="{BB962C8B-B14F-4D97-AF65-F5344CB8AC3E}">
        <p14:creationId xmlns:p14="http://schemas.microsoft.com/office/powerpoint/2010/main" val="330594352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439" name="think-cell Slide" r:id="rId5" imgW="395" imgH="394" progId="TCLayout.ActiveDocument.1">
                  <p:embed/>
                </p:oleObj>
              </mc:Choice>
              <mc:Fallback>
                <p:oleObj name="think-cell Slide" r:id="rId5" imgW="395" imgH="39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2400" b="1" i="0" u="none" strike="noStrike" kern="1200" cap="none" spc="0" normalizeH="0" baseline="0" noProof="0" dirty="0">
              <a:ln>
                <a:noFill/>
              </a:ln>
              <a:solidFill>
                <a:prstClr val="white"/>
              </a:solidFill>
              <a:effectLst/>
              <a:uLnTx/>
              <a:uFillTx/>
              <a:latin typeface="UniCredit" panose="02000506040000020004" pitchFamily="2" charset="0"/>
              <a:ea typeface="+mn-ea"/>
              <a:cs typeface="Arial" panose="020B0604020202020204" pitchFamily="34" charset="0"/>
              <a:sym typeface="UniCredit" panose="02000506040000020004" pitchFamily="2" charset="0"/>
            </a:endParaRPr>
          </a:p>
        </p:txBody>
      </p:sp>
      <p:sp>
        <p:nvSpPr>
          <p:cNvPr id="52" name="Rectangle 51"/>
          <p:cNvSpPr/>
          <p:nvPr/>
        </p:nvSpPr>
        <p:spPr>
          <a:xfrm>
            <a:off x="1" y="942036"/>
            <a:ext cx="9144000" cy="3551849"/>
          </a:xfrm>
          <a:prstGeom prst="rect">
            <a:avLst/>
          </a:prstGeom>
          <a:gradFill flip="none" rotWithShape="1">
            <a:gsLst>
              <a:gs pos="100000">
                <a:srgbClr val="FFFFFF"/>
              </a:gs>
              <a:gs pos="0">
                <a:schemeClr val="bg1"/>
              </a:gs>
              <a:gs pos="50000">
                <a:schemeClr val="accent2"/>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360000" tIns="0" bIns="0" rtlCol="0" anchor="ctr"/>
          <a:lstStyle/>
          <a:p>
            <a:pPr marL="0" marR="0" lvl="0" indent="0" algn="l" defTabSz="685800" rtl="0" eaLnBrk="1" fontAlgn="auto" latinLnBrk="0" hangingPunct="1">
              <a:lnSpc>
                <a:spcPct val="100000"/>
              </a:lnSpc>
              <a:spcBef>
                <a:spcPts val="0"/>
              </a:spcBef>
              <a:spcAft>
                <a:spcPts val="0"/>
              </a:spcAft>
              <a:buClr>
                <a:srgbClr val="C00000"/>
              </a:buClr>
              <a:buSzTx/>
              <a:buFontTx/>
              <a:buNone/>
              <a:tabLst/>
              <a:defRPr/>
            </a:pPr>
            <a:endParaRPr kumimoji="0" lang="en-US" sz="1800" b="0" i="0" u="none" strike="noStrike" kern="1200" cap="none" spc="0" normalizeH="0" baseline="0" noProof="0" dirty="0">
              <a:ln>
                <a:noFill/>
              </a:ln>
              <a:solidFill>
                <a:prstClr val="black"/>
              </a:solidFill>
              <a:effectLst/>
              <a:uLnTx/>
              <a:uFillTx/>
              <a:latin typeface="UniCredit"/>
              <a:ea typeface="+mn-ea"/>
              <a:cs typeface="+mn-cs"/>
            </a:endParaRPr>
          </a:p>
        </p:txBody>
      </p:sp>
      <p:sp>
        <p:nvSpPr>
          <p:cNvPr id="4" name="Slide Number Placeholder 3">
            <a:extLst>
              <a:ext uri="{FF2B5EF4-FFF2-40B4-BE49-F238E27FC236}">
                <a16:creationId xmlns:a16="http://schemas.microsoft.com/office/drawing/2014/main" id="{BB2D8B8E-F6E0-4918-97B8-B3AF30824CD3}"/>
              </a:ext>
            </a:extLst>
          </p:cNvPr>
          <p:cNvSpPr>
            <a:spLocks noGrp="1"/>
          </p:cNvSpPr>
          <p:nvPr>
            <p:ph type="sldNum" sz="quarter" idx="11"/>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fld id="{1D1043DC-2681-49D5-9D69-158B3FA3398E}" type="slidenum">
              <a:rPr kumimoji="0" lang="en-GB" sz="900" b="0" i="0" u="none" strike="noStrike" kern="1200" cap="none" spc="0" normalizeH="0" baseline="0" noProof="1" smtClean="0">
                <a:ln>
                  <a:noFill/>
                </a:ln>
                <a:solidFill>
                  <a:srgbClr val="00AFD0"/>
                </a:solidFill>
                <a:effectLst/>
                <a:uLnTx/>
                <a:uFillTx/>
                <a:latin typeface="UniCredit"/>
                <a:ea typeface="+mn-ea"/>
                <a:cs typeface="Arial" panose="020B0604020202020204" pitchFamily="34" charset="0"/>
              </a:rPr>
              <a:pPr marL="0" marR="0" lvl="0" indent="0" algn="l" defTabSz="685800" rtl="0" eaLnBrk="1" fontAlgn="auto" latinLnBrk="0" hangingPunct="1">
                <a:lnSpc>
                  <a:spcPct val="100000"/>
                </a:lnSpc>
                <a:spcBef>
                  <a:spcPts val="0"/>
                </a:spcBef>
                <a:spcAft>
                  <a:spcPts val="0"/>
                </a:spcAft>
                <a:buClrTx/>
                <a:buSzTx/>
                <a:buFontTx/>
                <a:buNone/>
                <a:tabLst/>
                <a:defRPr/>
              </a:pPr>
              <a:t>32</a:t>
            </a:fld>
            <a:endParaRPr kumimoji="0" lang="en-GB" sz="900" b="0" i="0" u="none" strike="noStrike" kern="1200" cap="none" spc="0" normalizeH="0" baseline="0" noProof="1">
              <a:ln>
                <a:noFill/>
              </a:ln>
              <a:solidFill>
                <a:srgbClr val="00AFD0"/>
              </a:solidFill>
              <a:effectLst/>
              <a:uLnTx/>
              <a:uFillTx/>
              <a:latin typeface="UniCredit"/>
              <a:ea typeface="+mn-ea"/>
              <a:cs typeface="Arial" panose="020B0604020202020204" pitchFamily="34" charset="0"/>
            </a:endParaRPr>
          </a:p>
        </p:txBody>
      </p:sp>
      <p:sp>
        <p:nvSpPr>
          <p:cNvPr id="6" name="Title 5">
            <a:extLst>
              <a:ext uri="{FF2B5EF4-FFF2-40B4-BE49-F238E27FC236}">
                <a16:creationId xmlns:a16="http://schemas.microsoft.com/office/drawing/2014/main" id="{F61B8132-EC19-4CDC-A689-8890DB4F891D}"/>
              </a:ext>
            </a:extLst>
          </p:cNvPr>
          <p:cNvSpPr>
            <a:spLocks noGrp="1"/>
          </p:cNvSpPr>
          <p:nvPr>
            <p:ph type="title"/>
          </p:nvPr>
        </p:nvSpPr>
        <p:spPr>
          <a:xfrm>
            <a:off x="270000" y="0"/>
            <a:ext cx="6517800" cy="756000"/>
          </a:xfrm>
        </p:spPr>
        <p:txBody>
          <a:bodyPr/>
          <a:lstStyle/>
          <a:p>
            <a:r>
              <a:rPr lang="en-GB" dirty="0"/>
              <a:t>Service Virtualization - recording with </a:t>
            </a:r>
            <a:r>
              <a:rPr lang="en-GB" dirty="0" err="1"/>
              <a:t>WireMock</a:t>
            </a:r>
            <a:endParaRPr lang="en-GB" dirty="0"/>
          </a:p>
        </p:txBody>
      </p:sp>
      <p:grpSp>
        <p:nvGrpSpPr>
          <p:cNvPr id="10" name="Group 9"/>
          <p:cNvGrpSpPr>
            <a:grpSpLocks/>
          </p:cNvGrpSpPr>
          <p:nvPr/>
        </p:nvGrpSpPr>
        <p:grpSpPr bwMode="auto">
          <a:xfrm>
            <a:off x="1210995" y="813298"/>
            <a:ext cx="6722011" cy="3636824"/>
            <a:chOff x="3354" y="5573"/>
            <a:chExt cx="17384" cy="10007"/>
          </a:xfrm>
          <a:solidFill>
            <a:schemeClr val="bg1"/>
          </a:solidFill>
        </p:grpSpPr>
        <p:grpSp>
          <p:nvGrpSpPr>
            <p:cNvPr id="11" name="Group 10"/>
            <p:cNvGrpSpPr>
              <a:grpSpLocks/>
            </p:cNvGrpSpPr>
            <p:nvPr/>
          </p:nvGrpSpPr>
          <p:grpSpPr bwMode="auto">
            <a:xfrm>
              <a:off x="3354" y="5573"/>
              <a:ext cx="17384" cy="10007"/>
              <a:chOff x="3354" y="5573"/>
              <a:chExt cx="17384" cy="10007"/>
            </a:xfrm>
            <a:grpFill/>
          </p:grpSpPr>
          <p:sp>
            <p:nvSpPr>
              <p:cNvPr id="23" name="Freeform 4"/>
              <p:cNvSpPr>
                <a:spLocks/>
              </p:cNvSpPr>
              <p:nvPr/>
            </p:nvSpPr>
            <p:spPr bwMode="auto">
              <a:xfrm>
                <a:off x="3354" y="5573"/>
                <a:ext cx="17384" cy="10007"/>
              </a:xfrm>
              <a:custGeom>
                <a:avLst/>
                <a:gdLst>
                  <a:gd name="T0" fmla="+- 0 20189 3354"/>
                  <a:gd name="T1" fmla="*/ T0 w 17384"/>
                  <a:gd name="T2" fmla="+- 0 15561 5573"/>
                  <a:gd name="T3" fmla="*/ 15561 h 10007"/>
                  <a:gd name="T4" fmla="+- 0 3903 3354"/>
                  <a:gd name="T5" fmla="*/ T4 w 17384"/>
                  <a:gd name="T6" fmla="+- 0 15561 5573"/>
                  <a:gd name="T7" fmla="*/ 15561 h 10007"/>
                  <a:gd name="T8" fmla="+- 0 3950 3354"/>
                  <a:gd name="T9" fmla="*/ T8 w 17384"/>
                  <a:gd name="T10" fmla="+- 0 15580 5573"/>
                  <a:gd name="T11" fmla="*/ 15580 h 10007"/>
                  <a:gd name="T12" fmla="+- 0 20142 3354"/>
                  <a:gd name="T13" fmla="*/ T12 w 17384"/>
                  <a:gd name="T14" fmla="+- 0 15580 5573"/>
                  <a:gd name="T15" fmla="*/ 15580 h 10007"/>
                  <a:gd name="T16" fmla="+- 0 20189 3354"/>
                  <a:gd name="T17" fmla="*/ T16 w 17384"/>
                  <a:gd name="T18" fmla="+- 0 15561 5573"/>
                  <a:gd name="T19" fmla="*/ 15561 h 10007"/>
                </a:gdLst>
                <a:ahLst/>
                <a:cxnLst>
                  <a:cxn ang="0">
                    <a:pos x="T1" y="T3"/>
                  </a:cxn>
                  <a:cxn ang="0">
                    <a:pos x="T5" y="T7"/>
                  </a:cxn>
                  <a:cxn ang="0">
                    <a:pos x="T9" y="T11"/>
                  </a:cxn>
                  <a:cxn ang="0">
                    <a:pos x="T13" y="T15"/>
                  </a:cxn>
                  <a:cxn ang="0">
                    <a:pos x="T17" y="T19"/>
                  </a:cxn>
                </a:cxnLst>
                <a:rect l="0" t="0" r="r" b="b"/>
                <a:pathLst>
                  <a:path w="17384" h="10007">
                    <a:moveTo>
                      <a:pt x="16835" y="9988"/>
                    </a:moveTo>
                    <a:lnTo>
                      <a:pt x="549" y="9988"/>
                    </a:lnTo>
                    <a:lnTo>
                      <a:pt x="596" y="10007"/>
                    </a:lnTo>
                    <a:lnTo>
                      <a:pt x="16788" y="10007"/>
                    </a:lnTo>
                    <a:lnTo>
                      <a:pt x="16835" y="9988"/>
                    </a:lnTo>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ts val="1400"/>
                  </a:lnSpc>
                  <a:spcBef>
                    <a:spcPts val="0"/>
                  </a:spcBef>
                  <a:spcAft>
                    <a:spcPct val="0"/>
                  </a:spcAft>
                  <a:buClrTx/>
                  <a:buSzTx/>
                  <a:buFontTx/>
                  <a:buNone/>
                  <a:tabLst/>
                  <a:defRPr/>
                </a:pPr>
                <a:endParaRPr kumimoji="0" lang="en-US" sz="1200" b="0" i="0" u="none" strike="noStrike" kern="0" cap="none" spc="0" normalizeH="0" baseline="0" noProof="0" dirty="0">
                  <a:ln>
                    <a:noFill/>
                  </a:ln>
                  <a:solidFill>
                    <a:srgbClr val="010024"/>
                  </a:solidFill>
                  <a:effectLst/>
                  <a:uLnTx/>
                  <a:uFillTx/>
                  <a:latin typeface="EYInterstate Regular" pitchFamily="1" charset="0"/>
                  <a:ea typeface="+mn-ea"/>
                  <a:cs typeface="+mn-cs"/>
                </a:endParaRPr>
              </a:p>
            </p:txBody>
          </p:sp>
          <p:sp>
            <p:nvSpPr>
              <p:cNvPr id="24" name="Freeform 5"/>
              <p:cNvSpPr>
                <a:spLocks/>
              </p:cNvSpPr>
              <p:nvPr/>
            </p:nvSpPr>
            <p:spPr bwMode="auto">
              <a:xfrm>
                <a:off x="3354" y="5573"/>
                <a:ext cx="17384" cy="10007"/>
              </a:xfrm>
              <a:custGeom>
                <a:avLst/>
                <a:gdLst>
                  <a:gd name="T0" fmla="+- 0 4062 3354"/>
                  <a:gd name="T1" fmla="*/ T0 w 17384"/>
                  <a:gd name="T2" fmla="+- 0 15542 5573"/>
                  <a:gd name="T3" fmla="*/ 15542 h 10007"/>
                  <a:gd name="T4" fmla="+- 0 3813 3354"/>
                  <a:gd name="T5" fmla="*/ T4 w 17384"/>
                  <a:gd name="T6" fmla="+- 0 15542 5573"/>
                  <a:gd name="T7" fmla="*/ 15542 h 10007"/>
                  <a:gd name="T8" fmla="+- 0 3857 3354"/>
                  <a:gd name="T9" fmla="*/ T8 w 17384"/>
                  <a:gd name="T10" fmla="+- 0 15561 5573"/>
                  <a:gd name="T11" fmla="*/ 15561 h 10007"/>
                  <a:gd name="T12" fmla="+- 0 4104 3354"/>
                  <a:gd name="T13" fmla="*/ T12 w 17384"/>
                  <a:gd name="T14" fmla="+- 0 15561 5573"/>
                  <a:gd name="T15" fmla="*/ 15561 h 10007"/>
                  <a:gd name="T16" fmla="+- 0 4062 3354"/>
                  <a:gd name="T17" fmla="*/ T16 w 17384"/>
                  <a:gd name="T18" fmla="+- 0 15542 5573"/>
                  <a:gd name="T19" fmla="*/ 15542 h 10007"/>
                </a:gdLst>
                <a:ahLst/>
                <a:cxnLst>
                  <a:cxn ang="0">
                    <a:pos x="T1" y="T3"/>
                  </a:cxn>
                  <a:cxn ang="0">
                    <a:pos x="T5" y="T7"/>
                  </a:cxn>
                  <a:cxn ang="0">
                    <a:pos x="T9" y="T11"/>
                  </a:cxn>
                  <a:cxn ang="0">
                    <a:pos x="T13" y="T15"/>
                  </a:cxn>
                  <a:cxn ang="0">
                    <a:pos x="T17" y="T19"/>
                  </a:cxn>
                </a:cxnLst>
                <a:rect l="0" t="0" r="r" b="b"/>
                <a:pathLst>
                  <a:path w="17384" h="10007">
                    <a:moveTo>
                      <a:pt x="708" y="9969"/>
                    </a:moveTo>
                    <a:lnTo>
                      <a:pt x="459" y="9969"/>
                    </a:lnTo>
                    <a:lnTo>
                      <a:pt x="503" y="9988"/>
                    </a:lnTo>
                    <a:lnTo>
                      <a:pt x="750" y="9988"/>
                    </a:lnTo>
                    <a:lnTo>
                      <a:pt x="708" y="9969"/>
                    </a:lnTo>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ts val="1400"/>
                  </a:lnSpc>
                  <a:spcBef>
                    <a:spcPts val="0"/>
                  </a:spcBef>
                  <a:spcAft>
                    <a:spcPct val="0"/>
                  </a:spcAft>
                  <a:buClrTx/>
                  <a:buSzTx/>
                  <a:buFontTx/>
                  <a:buNone/>
                  <a:tabLst/>
                  <a:defRPr/>
                </a:pPr>
                <a:endParaRPr kumimoji="0" lang="en-US" sz="1200" b="0" i="0" u="none" strike="noStrike" kern="0" cap="none" spc="0" normalizeH="0" baseline="0" noProof="0" dirty="0">
                  <a:ln>
                    <a:noFill/>
                  </a:ln>
                  <a:solidFill>
                    <a:srgbClr val="010024"/>
                  </a:solidFill>
                  <a:effectLst/>
                  <a:uLnTx/>
                  <a:uFillTx/>
                  <a:latin typeface="EYInterstate Regular" pitchFamily="1" charset="0"/>
                  <a:ea typeface="+mn-ea"/>
                  <a:cs typeface="+mn-cs"/>
                </a:endParaRPr>
              </a:p>
            </p:txBody>
          </p:sp>
          <p:sp>
            <p:nvSpPr>
              <p:cNvPr id="25" name="Freeform 6"/>
              <p:cNvSpPr>
                <a:spLocks/>
              </p:cNvSpPr>
              <p:nvPr/>
            </p:nvSpPr>
            <p:spPr bwMode="auto">
              <a:xfrm>
                <a:off x="3354" y="5573"/>
                <a:ext cx="17384" cy="10007"/>
              </a:xfrm>
              <a:custGeom>
                <a:avLst/>
                <a:gdLst>
                  <a:gd name="T0" fmla="+- 0 20280 3354"/>
                  <a:gd name="T1" fmla="*/ T0 w 17384"/>
                  <a:gd name="T2" fmla="+- 0 15542 5573"/>
                  <a:gd name="T3" fmla="*/ 15542 h 10007"/>
                  <a:gd name="T4" fmla="+- 0 20030 3354"/>
                  <a:gd name="T5" fmla="*/ T4 w 17384"/>
                  <a:gd name="T6" fmla="+- 0 15542 5573"/>
                  <a:gd name="T7" fmla="*/ 15542 h 10007"/>
                  <a:gd name="T8" fmla="+- 0 19988 3354"/>
                  <a:gd name="T9" fmla="*/ T8 w 17384"/>
                  <a:gd name="T10" fmla="+- 0 15561 5573"/>
                  <a:gd name="T11" fmla="*/ 15561 h 10007"/>
                  <a:gd name="T12" fmla="+- 0 20235 3354"/>
                  <a:gd name="T13" fmla="*/ T12 w 17384"/>
                  <a:gd name="T14" fmla="+- 0 15561 5573"/>
                  <a:gd name="T15" fmla="*/ 15561 h 10007"/>
                  <a:gd name="T16" fmla="+- 0 20280 3354"/>
                  <a:gd name="T17" fmla="*/ T16 w 17384"/>
                  <a:gd name="T18" fmla="+- 0 15542 5573"/>
                  <a:gd name="T19" fmla="*/ 15542 h 10007"/>
                </a:gdLst>
                <a:ahLst/>
                <a:cxnLst>
                  <a:cxn ang="0">
                    <a:pos x="T1" y="T3"/>
                  </a:cxn>
                  <a:cxn ang="0">
                    <a:pos x="T5" y="T7"/>
                  </a:cxn>
                  <a:cxn ang="0">
                    <a:pos x="T9" y="T11"/>
                  </a:cxn>
                  <a:cxn ang="0">
                    <a:pos x="T13" y="T15"/>
                  </a:cxn>
                  <a:cxn ang="0">
                    <a:pos x="T17" y="T19"/>
                  </a:cxn>
                </a:cxnLst>
                <a:rect l="0" t="0" r="r" b="b"/>
                <a:pathLst>
                  <a:path w="17384" h="10007">
                    <a:moveTo>
                      <a:pt x="16926" y="9969"/>
                    </a:moveTo>
                    <a:lnTo>
                      <a:pt x="16676" y="9969"/>
                    </a:lnTo>
                    <a:lnTo>
                      <a:pt x="16634" y="9988"/>
                    </a:lnTo>
                    <a:lnTo>
                      <a:pt x="16881" y="9988"/>
                    </a:lnTo>
                    <a:lnTo>
                      <a:pt x="16926" y="9969"/>
                    </a:lnTo>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ts val="1400"/>
                  </a:lnSpc>
                  <a:spcBef>
                    <a:spcPts val="0"/>
                  </a:spcBef>
                  <a:spcAft>
                    <a:spcPct val="0"/>
                  </a:spcAft>
                  <a:buClrTx/>
                  <a:buSzTx/>
                  <a:buFontTx/>
                  <a:buNone/>
                  <a:tabLst/>
                  <a:defRPr/>
                </a:pPr>
                <a:endParaRPr kumimoji="0" lang="en-US" sz="1200" b="0" i="0" u="none" strike="noStrike" kern="0" cap="none" spc="0" normalizeH="0" baseline="0" noProof="0" dirty="0">
                  <a:ln>
                    <a:noFill/>
                  </a:ln>
                  <a:solidFill>
                    <a:srgbClr val="010024"/>
                  </a:solidFill>
                  <a:effectLst/>
                  <a:uLnTx/>
                  <a:uFillTx/>
                  <a:latin typeface="EYInterstate Regular" pitchFamily="1" charset="0"/>
                  <a:ea typeface="+mn-ea"/>
                  <a:cs typeface="+mn-cs"/>
                </a:endParaRPr>
              </a:p>
            </p:txBody>
          </p:sp>
          <p:sp>
            <p:nvSpPr>
              <p:cNvPr id="26" name="Freeform 7"/>
              <p:cNvSpPr>
                <a:spLocks/>
              </p:cNvSpPr>
              <p:nvPr/>
            </p:nvSpPr>
            <p:spPr bwMode="auto">
              <a:xfrm>
                <a:off x="3354" y="5573"/>
                <a:ext cx="17384" cy="10007"/>
              </a:xfrm>
              <a:custGeom>
                <a:avLst/>
                <a:gdLst>
                  <a:gd name="T0" fmla="+- 0 3900 3354"/>
                  <a:gd name="T1" fmla="*/ T0 w 17384"/>
                  <a:gd name="T2" fmla="+- 0 15523 5573"/>
                  <a:gd name="T3" fmla="*/ 15523 h 10007"/>
                  <a:gd name="T4" fmla="+- 0 3727 3354"/>
                  <a:gd name="T5" fmla="*/ T4 w 17384"/>
                  <a:gd name="T6" fmla="+- 0 15523 5573"/>
                  <a:gd name="T7" fmla="*/ 15523 h 10007"/>
                  <a:gd name="T8" fmla="+- 0 3769 3354"/>
                  <a:gd name="T9" fmla="*/ T8 w 17384"/>
                  <a:gd name="T10" fmla="+- 0 15542 5573"/>
                  <a:gd name="T11" fmla="*/ 15542 h 10007"/>
                  <a:gd name="T12" fmla="+- 0 3940 3354"/>
                  <a:gd name="T13" fmla="*/ T12 w 17384"/>
                  <a:gd name="T14" fmla="+- 0 15542 5573"/>
                  <a:gd name="T15" fmla="*/ 15542 h 10007"/>
                  <a:gd name="T16" fmla="+- 0 3900 3354"/>
                  <a:gd name="T17" fmla="*/ T16 w 17384"/>
                  <a:gd name="T18" fmla="+- 0 15523 5573"/>
                  <a:gd name="T19" fmla="*/ 15523 h 10007"/>
                </a:gdLst>
                <a:ahLst/>
                <a:cxnLst>
                  <a:cxn ang="0">
                    <a:pos x="T1" y="T3"/>
                  </a:cxn>
                  <a:cxn ang="0">
                    <a:pos x="T5" y="T7"/>
                  </a:cxn>
                  <a:cxn ang="0">
                    <a:pos x="T9" y="T11"/>
                  </a:cxn>
                  <a:cxn ang="0">
                    <a:pos x="T13" y="T15"/>
                  </a:cxn>
                  <a:cxn ang="0">
                    <a:pos x="T17" y="T19"/>
                  </a:cxn>
                </a:cxnLst>
                <a:rect l="0" t="0" r="r" b="b"/>
                <a:pathLst>
                  <a:path w="17384" h="10007">
                    <a:moveTo>
                      <a:pt x="546" y="9950"/>
                    </a:moveTo>
                    <a:lnTo>
                      <a:pt x="373" y="9950"/>
                    </a:lnTo>
                    <a:lnTo>
                      <a:pt x="415" y="9969"/>
                    </a:lnTo>
                    <a:lnTo>
                      <a:pt x="586" y="9969"/>
                    </a:lnTo>
                    <a:lnTo>
                      <a:pt x="546" y="9950"/>
                    </a:lnTo>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ts val="1400"/>
                  </a:lnSpc>
                  <a:spcBef>
                    <a:spcPts val="0"/>
                  </a:spcBef>
                  <a:spcAft>
                    <a:spcPct val="0"/>
                  </a:spcAft>
                  <a:buClrTx/>
                  <a:buSzTx/>
                  <a:buFontTx/>
                  <a:buNone/>
                  <a:tabLst/>
                  <a:defRPr/>
                </a:pPr>
                <a:endParaRPr kumimoji="0" lang="en-US" sz="1200" b="0" i="0" u="none" strike="noStrike" kern="0" cap="none" spc="0" normalizeH="0" baseline="0" noProof="0" dirty="0">
                  <a:ln>
                    <a:noFill/>
                  </a:ln>
                  <a:solidFill>
                    <a:srgbClr val="010024"/>
                  </a:solidFill>
                  <a:effectLst/>
                  <a:uLnTx/>
                  <a:uFillTx/>
                  <a:latin typeface="EYInterstate Regular" pitchFamily="1" charset="0"/>
                  <a:ea typeface="+mn-ea"/>
                  <a:cs typeface="+mn-cs"/>
                </a:endParaRPr>
              </a:p>
            </p:txBody>
          </p:sp>
          <p:sp>
            <p:nvSpPr>
              <p:cNvPr id="27" name="Freeform 8"/>
              <p:cNvSpPr>
                <a:spLocks/>
              </p:cNvSpPr>
              <p:nvPr/>
            </p:nvSpPr>
            <p:spPr bwMode="auto">
              <a:xfrm>
                <a:off x="3354" y="5573"/>
                <a:ext cx="17384" cy="10007"/>
              </a:xfrm>
              <a:custGeom>
                <a:avLst/>
                <a:gdLst>
                  <a:gd name="T0" fmla="+- 0 20365 3354"/>
                  <a:gd name="T1" fmla="*/ T0 w 17384"/>
                  <a:gd name="T2" fmla="+- 0 15523 5573"/>
                  <a:gd name="T3" fmla="*/ 15523 h 10007"/>
                  <a:gd name="T4" fmla="+- 0 20192 3354"/>
                  <a:gd name="T5" fmla="*/ T4 w 17384"/>
                  <a:gd name="T6" fmla="+- 0 15523 5573"/>
                  <a:gd name="T7" fmla="*/ 15523 h 10007"/>
                  <a:gd name="T8" fmla="+- 0 20153 3354"/>
                  <a:gd name="T9" fmla="*/ T8 w 17384"/>
                  <a:gd name="T10" fmla="+- 0 15542 5573"/>
                  <a:gd name="T11" fmla="*/ 15542 h 10007"/>
                  <a:gd name="T12" fmla="+- 0 20323 3354"/>
                  <a:gd name="T13" fmla="*/ T12 w 17384"/>
                  <a:gd name="T14" fmla="+- 0 15542 5573"/>
                  <a:gd name="T15" fmla="*/ 15542 h 10007"/>
                  <a:gd name="T16" fmla="+- 0 20365 3354"/>
                  <a:gd name="T17" fmla="*/ T16 w 17384"/>
                  <a:gd name="T18" fmla="+- 0 15523 5573"/>
                  <a:gd name="T19" fmla="*/ 15523 h 10007"/>
                </a:gdLst>
                <a:ahLst/>
                <a:cxnLst>
                  <a:cxn ang="0">
                    <a:pos x="T1" y="T3"/>
                  </a:cxn>
                  <a:cxn ang="0">
                    <a:pos x="T5" y="T7"/>
                  </a:cxn>
                  <a:cxn ang="0">
                    <a:pos x="T9" y="T11"/>
                  </a:cxn>
                  <a:cxn ang="0">
                    <a:pos x="T13" y="T15"/>
                  </a:cxn>
                  <a:cxn ang="0">
                    <a:pos x="T17" y="T19"/>
                  </a:cxn>
                </a:cxnLst>
                <a:rect l="0" t="0" r="r" b="b"/>
                <a:pathLst>
                  <a:path w="17384" h="10007">
                    <a:moveTo>
                      <a:pt x="17011" y="9950"/>
                    </a:moveTo>
                    <a:lnTo>
                      <a:pt x="16838" y="9950"/>
                    </a:lnTo>
                    <a:lnTo>
                      <a:pt x="16799" y="9969"/>
                    </a:lnTo>
                    <a:lnTo>
                      <a:pt x="16969" y="9969"/>
                    </a:lnTo>
                    <a:lnTo>
                      <a:pt x="17011" y="9950"/>
                    </a:lnTo>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ts val="1400"/>
                  </a:lnSpc>
                  <a:spcBef>
                    <a:spcPts val="0"/>
                  </a:spcBef>
                  <a:spcAft>
                    <a:spcPct val="0"/>
                  </a:spcAft>
                  <a:buClrTx/>
                  <a:buSzTx/>
                  <a:buFontTx/>
                  <a:buNone/>
                  <a:tabLst/>
                  <a:defRPr/>
                </a:pPr>
                <a:endParaRPr kumimoji="0" lang="en-US" sz="1200" b="0" i="0" u="none" strike="noStrike" kern="0" cap="none" spc="0" normalizeH="0" baseline="0" noProof="0" dirty="0">
                  <a:ln>
                    <a:noFill/>
                  </a:ln>
                  <a:solidFill>
                    <a:srgbClr val="010024"/>
                  </a:solidFill>
                  <a:effectLst/>
                  <a:uLnTx/>
                  <a:uFillTx/>
                  <a:latin typeface="EYInterstate Regular" pitchFamily="1" charset="0"/>
                  <a:ea typeface="+mn-ea"/>
                  <a:cs typeface="+mn-cs"/>
                </a:endParaRPr>
              </a:p>
            </p:txBody>
          </p:sp>
          <p:sp>
            <p:nvSpPr>
              <p:cNvPr id="28" name="Freeform 9"/>
              <p:cNvSpPr>
                <a:spLocks/>
              </p:cNvSpPr>
              <p:nvPr/>
            </p:nvSpPr>
            <p:spPr bwMode="auto">
              <a:xfrm>
                <a:off x="3354" y="5573"/>
                <a:ext cx="17384" cy="10007"/>
              </a:xfrm>
              <a:custGeom>
                <a:avLst/>
                <a:gdLst>
                  <a:gd name="T0" fmla="+- 0 3717 3354"/>
                  <a:gd name="T1" fmla="*/ T0 w 17384"/>
                  <a:gd name="T2" fmla="+- 0 15485 5573"/>
                  <a:gd name="T3" fmla="*/ 15485 h 10007"/>
                  <a:gd name="T4" fmla="+- 0 3611 3354"/>
                  <a:gd name="T5" fmla="*/ T4 w 17384"/>
                  <a:gd name="T6" fmla="+- 0 15485 5573"/>
                  <a:gd name="T7" fmla="*/ 15485 h 10007"/>
                  <a:gd name="T8" fmla="+- 0 3648 3354"/>
                  <a:gd name="T9" fmla="*/ T8 w 17384"/>
                  <a:gd name="T10" fmla="+- 0 15504 5573"/>
                  <a:gd name="T11" fmla="*/ 15504 h 10007"/>
                  <a:gd name="T12" fmla="+- 0 3687 3354"/>
                  <a:gd name="T13" fmla="*/ T12 w 17384"/>
                  <a:gd name="T14" fmla="+- 0 15523 5573"/>
                  <a:gd name="T15" fmla="*/ 15523 h 10007"/>
                  <a:gd name="T16" fmla="+- 0 3824 3354"/>
                  <a:gd name="T17" fmla="*/ T16 w 17384"/>
                  <a:gd name="T18" fmla="+- 0 15523 5573"/>
                  <a:gd name="T19" fmla="*/ 15523 h 10007"/>
                  <a:gd name="T20" fmla="+- 0 3787 3354"/>
                  <a:gd name="T21" fmla="*/ T20 w 17384"/>
                  <a:gd name="T22" fmla="+- 0 15504 5573"/>
                  <a:gd name="T23" fmla="*/ 15504 h 10007"/>
                  <a:gd name="T24" fmla="+- 0 3751 3354"/>
                  <a:gd name="T25" fmla="*/ T24 w 17384"/>
                  <a:gd name="T26" fmla="+- 0 15504 5573"/>
                  <a:gd name="T27" fmla="*/ 15504 h 10007"/>
                  <a:gd name="T28" fmla="+- 0 3717 3354"/>
                  <a:gd name="T29" fmla="*/ T28 w 17384"/>
                  <a:gd name="T30" fmla="+- 0 15485 5573"/>
                  <a:gd name="T31" fmla="*/ 15485 h 10007"/>
                </a:gdLst>
                <a:ahLst/>
                <a:cxnLst>
                  <a:cxn ang="0">
                    <a:pos x="T1" y="T3"/>
                  </a:cxn>
                  <a:cxn ang="0">
                    <a:pos x="T5" y="T7"/>
                  </a:cxn>
                  <a:cxn ang="0">
                    <a:pos x="T9" y="T11"/>
                  </a:cxn>
                  <a:cxn ang="0">
                    <a:pos x="T13" y="T15"/>
                  </a:cxn>
                  <a:cxn ang="0">
                    <a:pos x="T17" y="T19"/>
                  </a:cxn>
                  <a:cxn ang="0">
                    <a:pos x="T21" y="T23"/>
                  </a:cxn>
                  <a:cxn ang="0">
                    <a:pos x="T25" y="T27"/>
                  </a:cxn>
                  <a:cxn ang="0">
                    <a:pos x="T29" y="T31"/>
                  </a:cxn>
                </a:cxnLst>
                <a:rect l="0" t="0" r="r" b="b"/>
                <a:pathLst>
                  <a:path w="17384" h="10007">
                    <a:moveTo>
                      <a:pt x="363" y="9912"/>
                    </a:moveTo>
                    <a:lnTo>
                      <a:pt x="257" y="9912"/>
                    </a:lnTo>
                    <a:lnTo>
                      <a:pt x="294" y="9931"/>
                    </a:lnTo>
                    <a:lnTo>
                      <a:pt x="333" y="9950"/>
                    </a:lnTo>
                    <a:lnTo>
                      <a:pt x="470" y="9950"/>
                    </a:lnTo>
                    <a:lnTo>
                      <a:pt x="433" y="9931"/>
                    </a:lnTo>
                    <a:lnTo>
                      <a:pt x="397" y="9931"/>
                    </a:lnTo>
                    <a:lnTo>
                      <a:pt x="363" y="9912"/>
                    </a:lnTo>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ts val="1400"/>
                  </a:lnSpc>
                  <a:spcBef>
                    <a:spcPts val="0"/>
                  </a:spcBef>
                  <a:spcAft>
                    <a:spcPct val="0"/>
                  </a:spcAft>
                  <a:buClrTx/>
                  <a:buSzTx/>
                  <a:buFontTx/>
                  <a:buNone/>
                  <a:tabLst/>
                  <a:defRPr/>
                </a:pPr>
                <a:endParaRPr kumimoji="0" lang="en-US" sz="1200" b="0" i="0" u="none" strike="noStrike" kern="0" cap="none" spc="0" normalizeH="0" baseline="0" noProof="0" dirty="0">
                  <a:ln>
                    <a:noFill/>
                  </a:ln>
                  <a:solidFill>
                    <a:srgbClr val="010024"/>
                  </a:solidFill>
                  <a:effectLst/>
                  <a:uLnTx/>
                  <a:uFillTx/>
                  <a:latin typeface="EYInterstate Regular" pitchFamily="1" charset="0"/>
                  <a:ea typeface="+mn-ea"/>
                  <a:cs typeface="+mn-cs"/>
                </a:endParaRPr>
              </a:p>
            </p:txBody>
          </p:sp>
          <p:sp>
            <p:nvSpPr>
              <p:cNvPr id="29" name="Freeform 10"/>
              <p:cNvSpPr>
                <a:spLocks/>
              </p:cNvSpPr>
              <p:nvPr/>
            </p:nvSpPr>
            <p:spPr bwMode="auto">
              <a:xfrm>
                <a:off x="3354" y="5573"/>
                <a:ext cx="17384" cy="10007"/>
              </a:xfrm>
              <a:custGeom>
                <a:avLst/>
                <a:gdLst>
                  <a:gd name="T0" fmla="+- 0 20481 3354"/>
                  <a:gd name="T1" fmla="*/ T0 w 17384"/>
                  <a:gd name="T2" fmla="+- 0 15485 5573"/>
                  <a:gd name="T3" fmla="*/ 15485 h 10007"/>
                  <a:gd name="T4" fmla="+- 0 20376 3354"/>
                  <a:gd name="T5" fmla="*/ T4 w 17384"/>
                  <a:gd name="T6" fmla="+- 0 15485 5573"/>
                  <a:gd name="T7" fmla="*/ 15485 h 10007"/>
                  <a:gd name="T8" fmla="+- 0 20341 3354"/>
                  <a:gd name="T9" fmla="*/ T8 w 17384"/>
                  <a:gd name="T10" fmla="+- 0 15504 5573"/>
                  <a:gd name="T11" fmla="*/ 15504 h 10007"/>
                  <a:gd name="T12" fmla="+- 0 20305 3354"/>
                  <a:gd name="T13" fmla="*/ T12 w 17384"/>
                  <a:gd name="T14" fmla="+- 0 15504 5573"/>
                  <a:gd name="T15" fmla="*/ 15504 h 10007"/>
                  <a:gd name="T16" fmla="+- 0 20269 3354"/>
                  <a:gd name="T17" fmla="*/ T16 w 17384"/>
                  <a:gd name="T18" fmla="+- 0 15523 5573"/>
                  <a:gd name="T19" fmla="*/ 15523 h 10007"/>
                  <a:gd name="T20" fmla="+- 0 20406 3354"/>
                  <a:gd name="T21" fmla="*/ T20 w 17384"/>
                  <a:gd name="T22" fmla="+- 0 15523 5573"/>
                  <a:gd name="T23" fmla="*/ 15523 h 10007"/>
                  <a:gd name="T24" fmla="+- 0 20444 3354"/>
                  <a:gd name="T25" fmla="*/ T24 w 17384"/>
                  <a:gd name="T26" fmla="+- 0 15504 5573"/>
                  <a:gd name="T27" fmla="*/ 15504 h 10007"/>
                  <a:gd name="T28" fmla="+- 0 20481 3354"/>
                  <a:gd name="T29" fmla="*/ T28 w 17384"/>
                  <a:gd name="T30" fmla="+- 0 15485 5573"/>
                  <a:gd name="T31" fmla="*/ 15485 h 10007"/>
                </a:gdLst>
                <a:ahLst/>
                <a:cxnLst>
                  <a:cxn ang="0">
                    <a:pos x="T1" y="T3"/>
                  </a:cxn>
                  <a:cxn ang="0">
                    <a:pos x="T5" y="T7"/>
                  </a:cxn>
                  <a:cxn ang="0">
                    <a:pos x="T9" y="T11"/>
                  </a:cxn>
                  <a:cxn ang="0">
                    <a:pos x="T13" y="T15"/>
                  </a:cxn>
                  <a:cxn ang="0">
                    <a:pos x="T17" y="T19"/>
                  </a:cxn>
                  <a:cxn ang="0">
                    <a:pos x="T21" y="T23"/>
                  </a:cxn>
                  <a:cxn ang="0">
                    <a:pos x="T25" y="T27"/>
                  </a:cxn>
                  <a:cxn ang="0">
                    <a:pos x="T29" y="T31"/>
                  </a:cxn>
                </a:cxnLst>
                <a:rect l="0" t="0" r="r" b="b"/>
                <a:pathLst>
                  <a:path w="17384" h="10007">
                    <a:moveTo>
                      <a:pt x="17127" y="9912"/>
                    </a:moveTo>
                    <a:lnTo>
                      <a:pt x="17022" y="9912"/>
                    </a:lnTo>
                    <a:lnTo>
                      <a:pt x="16987" y="9931"/>
                    </a:lnTo>
                    <a:lnTo>
                      <a:pt x="16951" y="9931"/>
                    </a:lnTo>
                    <a:lnTo>
                      <a:pt x="16915" y="9950"/>
                    </a:lnTo>
                    <a:lnTo>
                      <a:pt x="17052" y="9950"/>
                    </a:lnTo>
                    <a:lnTo>
                      <a:pt x="17090" y="9931"/>
                    </a:lnTo>
                    <a:lnTo>
                      <a:pt x="17127" y="9912"/>
                    </a:lnTo>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ts val="1400"/>
                  </a:lnSpc>
                  <a:spcBef>
                    <a:spcPts val="0"/>
                  </a:spcBef>
                  <a:spcAft>
                    <a:spcPct val="0"/>
                  </a:spcAft>
                  <a:buClrTx/>
                  <a:buSzTx/>
                  <a:buFontTx/>
                  <a:buNone/>
                  <a:tabLst/>
                  <a:defRPr/>
                </a:pPr>
                <a:endParaRPr kumimoji="0" lang="en-US" sz="1200" b="0" i="0" u="none" strike="noStrike" kern="0" cap="none" spc="0" normalizeH="0" baseline="0" noProof="0" dirty="0">
                  <a:ln>
                    <a:noFill/>
                  </a:ln>
                  <a:solidFill>
                    <a:srgbClr val="010024"/>
                  </a:solidFill>
                  <a:effectLst/>
                  <a:uLnTx/>
                  <a:uFillTx/>
                  <a:latin typeface="EYInterstate Regular" pitchFamily="1" charset="0"/>
                  <a:ea typeface="+mn-ea"/>
                  <a:cs typeface="+mn-cs"/>
                </a:endParaRPr>
              </a:p>
            </p:txBody>
          </p:sp>
          <p:sp>
            <p:nvSpPr>
              <p:cNvPr id="30" name="Freeform 11"/>
              <p:cNvSpPr>
                <a:spLocks/>
              </p:cNvSpPr>
              <p:nvPr/>
            </p:nvSpPr>
            <p:spPr bwMode="auto">
              <a:xfrm>
                <a:off x="3354" y="5573"/>
                <a:ext cx="17384" cy="10007"/>
              </a:xfrm>
              <a:custGeom>
                <a:avLst/>
                <a:gdLst>
                  <a:gd name="T0" fmla="+- 0 3562 3354"/>
                  <a:gd name="T1" fmla="*/ T0 w 17384"/>
                  <a:gd name="T2" fmla="+- 0 15429 5573"/>
                  <a:gd name="T3" fmla="*/ 15429 h 10007"/>
                  <a:gd name="T4" fmla="+- 0 3482 3354"/>
                  <a:gd name="T5" fmla="*/ T4 w 17384"/>
                  <a:gd name="T6" fmla="+- 0 15429 5573"/>
                  <a:gd name="T7" fmla="*/ 15429 h 10007"/>
                  <a:gd name="T8" fmla="+- 0 3511 3354"/>
                  <a:gd name="T9" fmla="*/ T8 w 17384"/>
                  <a:gd name="T10" fmla="+- 0 15448 5573"/>
                  <a:gd name="T11" fmla="*/ 15448 h 10007"/>
                  <a:gd name="T12" fmla="+- 0 3542 3354"/>
                  <a:gd name="T13" fmla="*/ T12 w 17384"/>
                  <a:gd name="T14" fmla="+- 0 15467 5573"/>
                  <a:gd name="T15" fmla="*/ 15467 h 10007"/>
                  <a:gd name="T16" fmla="+- 0 3576 3354"/>
                  <a:gd name="T17" fmla="*/ T16 w 17384"/>
                  <a:gd name="T18" fmla="+- 0 15485 5573"/>
                  <a:gd name="T19" fmla="*/ 15485 h 10007"/>
                  <a:gd name="T20" fmla="+- 0 3683 3354"/>
                  <a:gd name="T21" fmla="*/ T20 w 17384"/>
                  <a:gd name="T22" fmla="+- 0 15485 5573"/>
                  <a:gd name="T23" fmla="*/ 15485 h 10007"/>
                  <a:gd name="T24" fmla="+- 0 3651 3354"/>
                  <a:gd name="T25" fmla="*/ T24 w 17384"/>
                  <a:gd name="T26" fmla="+- 0 15467 5573"/>
                  <a:gd name="T27" fmla="*/ 15467 h 10007"/>
                  <a:gd name="T28" fmla="+- 0 3620 3354"/>
                  <a:gd name="T29" fmla="*/ T28 w 17384"/>
                  <a:gd name="T30" fmla="+- 0 15448 5573"/>
                  <a:gd name="T31" fmla="*/ 15448 h 10007"/>
                  <a:gd name="T32" fmla="+- 0 3590 3354"/>
                  <a:gd name="T33" fmla="*/ T32 w 17384"/>
                  <a:gd name="T34" fmla="+- 0 15448 5573"/>
                  <a:gd name="T35" fmla="*/ 15448 h 10007"/>
                  <a:gd name="T36" fmla="+- 0 3562 3354"/>
                  <a:gd name="T37" fmla="*/ T36 w 17384"/>
                  <a:gd name="T38" fmla="+- 0 15429 5573"/>
                  <a:gd name="T39" fmla="*/ 15429 h 10007"/>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Lst>
                <a:rect l="0" t="0" r="r" b="b"/>
                <a:pathLst>
                  <a:path w="17384" h="10007">
                    <a:moveTo>
                      <a:pt x="208" y="9856"/>
                    </a:moveTo>
                    <a:lnTo>
                      <a:pt x="128" y="9856"/>
                    </a:lnTo>
                    <a:lnTo>
                      <a:pt x="157" y="9875"/>
                    </a:lnTo>
                    <a:lnTo>
                      <a:pt x="188" y="9894"/>
                    </a:lnTo>
                    <a:lnTo>
                      <a:pt x="222" y="9912"/>
                    </a:lnTo>
                    <a:lnTo>
                      <a:pt x="329" y="9912"/>
                    </a:lnTo>
                    <a:lnTo>
                      <a:pt x="297" y="9894"/>
                    </a:lnTo>
                    <a:lnTo>
                      <a:pt x="266" y="9875"/>
                    </a:lnTo>
                    <a:lnTo>
                      <a:pt x="236" y="9875"/>
                    </a:lnTo>
                    <a:lnTo>
                      <a:pt x="208" y="9856"/>
                    </a:lnTo>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ts val="1400"/>
                  </a:lnSpc>
                  <a:spcBef>
                    <a:spcPts val="0"/>
                  </a:spcBef>
                  <a:spcAft>
                    <a:spcPct val="0"/>
                  </a:spcAft>
                  <a:buClrTx/>
                  <a:buSzTx/>
                  <a:buFontTx/>
                  <a:buNone/>
                  <a:tabLst/>
                  <a:defRPr/>
                </a:pPr>
                <a:endParaRPr kumimoji="0" lang="en-US" sz="1200" b="0" i="0" u="none" strike="noStrike" kern="0" cap="none" spc="0" normalizeH="0" baseline="0" noProof="0" dirty="0">
                  <a:ln>
                    <a:noFill/>
                  </a:ln>
                  <a:solidFill>
                    <a:srgbClr val="010024"/>
                  </a:solidFill>
                  <a:effectLst/>
                  <a:uLnTx/>
                  <a:uFillTx/>
                  <a:latin typeface="EYInterstate Regular" pitchFamily="1" charset="0"/>
                  <a:ea typeface="+mn-ea"/>
                  <a:cs typeface="+mn-cs"/>
                </a:endParaRPr>
              </a:p>
            </p:txBody>
          </p:sp>
          <p:sp>
            <p:nvSpPr>
              <p:cNvPr id="31" name="Freeform 12"/>
              <p:cNvSpPr>
                <a:spLocks/>
              </p:cNvSpPr>
              <p:nvPr/>
            </p:nvSpPr>
            <p:spPr bwMode="auto">
              <a:xfrm>
                <a:off x="3354" y="5573"/>
                <a:ext cx="17384" cy="10007"/>
              </a:xfrm>
              <a:custGeom>
                <a:avLst/>
                <a:gdLst>
                  <a:gd name="T0" fmla="+- 0 20610 3354"/>
                  <a:gd name="T1" fmla="*/ T0 w 17384"/>
                  <a:gd name="T2" fmla="+- 0 15429 5573"/>
                  <a:gd name="T3" fmla="*/ 15429 h 10007"/>
                  <a:gd name="T4" fmla="+- 0 20530 3354"/>
                  <a:gd name="T5" fmla="*/ T4 w 17384"/>
                  <a:gd name="T6" fmla="+- 0 15429 5573"/>
                  <a:gd name="T7" fmla="*/ 15429 h 10007"/>
                  <a:gd name="T8" fmla="+- 0 20502 3354"/>
                  <a:gd name="T9" fmla="*/ T8 w 17384"/>
                  <a:gd name="T10" fmla="+- 0 15448 5573"/>
                  <a:gd name="T11" fmla="*/ 15448 h 10007"/>
                  <a:gd name="T12" fmla="+- 0 20472 3354"/>
                  <a:gd name="T13" fmla="*/ T12 w 17384"/>
                  <a:gd name="T14" fmla="+- 0 15448 5573"/>
                  <a:gd name="T15" fmla="*/ 15448 h 10007"/>
                  <a:gd name="T16" fmla="+- 0 20442 3354"/>
                  <a:gd name="T17" fmla="*/ T16 w 17384"/>
                  <a:gd name="T18" fmla="+- 0 15467 5573"/>
                  <a:gd name="T19" fmla="*/ 15467 h 10007"/>
                  <a:gd name="T20" fmla="+- 0 20409 3354"/>
                  <a:gd name="T21" fmla="*/ T20 w 17384"/>
                  <a:gd name="T22" fmla="+- 0 15485 5573"/>
                  <a:gd name="T23" fmla="*/ 15485 h 10007"/>
                  <a:gd name="T24" fmla="+- 0 20517 3354"/>
                  <a:gd name="T25" fmla="*/ T24 w 17384"/>
                  <a:gd name="T26" fmla="+- 0 15485 5573"/>
                  <a:gd name="T27" fmla="*/ 15485 h 10007"/>
                  <a:gd name="T28" fmla="+- 0 20550 3354"/>
                  <a:gd name="T29" fmla="*/ T28 w 17384"/>
                  <a:gd name="T30" fmla="+- 0 15467 5573"/>
                  <a:gd name="T31" fmla="*/ 15467 h 10007"/>
                  <a:gd name="T32" fmla="+- 0 20581 3354"/>
                  <a:gd name="T33" fmla="*/ T32 w 17384"/>
                  <a:gd name="T34" fmla="+- 0 15448 5573"/>
                  <a:gd name="T35" fmla="*/ 15448 h 10007"/>
                  <a:gd name="T36" fmla="+- 0 20610 3354"/>
                  <a:gd name="T37" fmla="*/ T36 w 17384"/>
                  <a:gd name="T38" fmla="+- 0 15429 5573"/>
                  <a:gd name="T39" fmla="*/ 15429 h 10007"/>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Lst>
                <a:rect l="0" t="0" r="r" b="b"/>
                <a:pathLst>
                  <a:path w="17384" h="10007">
                    <a:moveTo>
                      <a:pt x="17256" y="9856"/>
                    </a:moveTo>
                    <a:lnTo>
                      <a:pt x="17176" y="9856"/>
                    </a:lnTo>
                    <a:lnTo>
                      <a:pt x="17148" y="9875"/>
                    </a:lnTo>
                    <a:lnTo>
                      <a:pt x="17118" y="9875"/>
                    </a:lnTo>
                    <a:lnTo>
                      <a:pt x="17088" y="9894"/>
                    </a:lnTo>
                    <a:lnTo>
                      <a:pt x="17055" y="9912"/>
                    </a:lnTo>
                    <a:lnTo>
                      <a:pt x="17163" y="9912"/>
                    </a:lnTo>
                    <a:lnTo>
                      <a:pt x="17196" y="9894"/>
                    </a:lnTo>
                    <a:lnTo>
                      <a:pt x="17227" y="9875"/>
                    </a:lnTo>
                    <a:lnTo>
                      <a:pt x="17256" y="9856"/>
                    </a:lnTo>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ts val="1400"/>
                  </a:lnSpc>
                  <a:spcBef>
                    <a:spcPts val="0"/>
                  </a:spcBef>
                  <a:spcAft>
                    <a:spcPct val="0"/>
                  </a:spcAft>
                  <a:buClrTx/>
                  <a:buSzTx/>
                  <a:buFontTx/>
                  <a:buNone/>
                  <a:tabLst/>
                  <a:defRPr/>
                </a:pPr>
                <a:endParaRPr kumimoji="0" lang="en-US" sz="1200" b="0" i="0" u="none" strike="noStrike" kern="0" cap="none" spc="0" normalizeH="0" baseline="0" noProof="0" dirty="0">
                  <a:ln>
                    <a:noFill/>
                  </a:ln>
                  <a:solidFill>
                    <a:srgbClr val="010024"/>
                  </a:solidFill>
                  <a:effectLst/>
                  <a:uLnTx/>
                  <a:uFillTx/>
                  <a:latin typeface="EYInterstate Regular" pitchFamily="1" charset="0"/>
                  <a:ea typeface="+mn-ea"/>
                  <a:cs typeface="+mn-cs"/>
                </a:endParaRPr>
              </a:p>
            </p:txBody>
          </p:sp>
          <p:sp>
            <p:nvSpPr>
              <p:cNvPr id="32" name="Freeform 13"/>
              <p:cNvSpPr>
                <a:spLocks/>
              </p:cNvSpPr>
              <p:nvPr/>
            </p:nvSpPr>
            <p:spPr bwMode="auto">
              <a:xfrm>
                <a:off x="3354" y="5573"/>
                <a:ext cx="17384" cy="10007"/>
              </a:xfrm>
              <a:custGeom>
                <a:avLst/>
                <a:gdLst>
                  <a:gd name="T0" fmla="+- 0 3487 3354"/>
                  <a:gd name="T1" fmla="*/ T0 w 17384"/>
                  <a:gd name="T2" fmla="+- 0 15391 5573"/>
                  <a:gd name="T3" fmla="*/ 15391 h 10007"/>
                  <a:gd name="T4" fmla="+- 0 3409 3354"/>
                  <a:gd name="T5" fmla="*/ T4 w 17384"/>
                  <a:gd name="T6" fmla="+- 0 15391 5573"/>
                  <a:gd name="T7" fmla="*/ 15391 h 10007"/>
                  <a:gd name="T8" fmla="+- 0 3431 3354"/>
                  <a:gd name="T9" fmla="*/ T8 w 17384"/>
                  <a:gd name="T10" fmla="+- 0 15410 5573"/>
                  <a:gd name="T11" fmla="*/ 15410 h 10007"/>
                  <a:gd name="T12" fmla="+- 0 3455 3354"/>
                  <a:gd name="T13" fmla="*/ T12 w 17384"/>
                  <a:gd name="T14" fmla="+- 0 15429 5573"/>
                  <a:gd name="T15" fmla="*/ 15429 h 10007"/>
                  <a:gd name="T16" fmla="+- 0 3536 3354"/>
                  <a:gd name="T17" fmla="*/ T16 w 17384"/>
                  <a:gd name="T18" fmla="+- 0 15429 5573"/>
                  <a:gd name="T19" fmla="*/ 15429 h 10007"/>
                  <a:gd name="T20" fmla="+- 0 3511 3354"/>
                  <a:gd name="T21" fmla="*/ T20 w 17384"/>
                  <a:gd name="T22" fmla="+- 0 15410 5573"/>
                  <a:gd name="T23" fmla="*/ 15410 h 10007"/>
                  <a:gd name="T24" fmla="+- 0 3487 3354"/>
                  <a:gd name="T25" fmla="*/ T24 w 17384"/>
                  <a:gd name="T26" fmla="+- 0 15391 5573"/>
                  <a:gd name="T27" fmla="*/ 15391 h 10007"/>
                </a:gdLst>
                <a:ahLst/>
                <a:cxnLst>
                  <a:cxn ang="0">
                    <a:pos x="T1" y="T3"/>
                  </a:cxn>
                  <a:cxn ang="0">
                    <a:pos x="T5" y="T7"/>
                  </a:cxn>
                  <a:cxn ang="0">
                    <a:pos x="T9" y="T11"/>
                  </a:cxn>
                  <a:cxn ang="0">
                    <a:pos x="T13" y="T15"/>
                  </a:cxn>
                  <a:cxn ang="0">
                    <a:pos x="T17" y="T19"/>
                  </a:cxn>
                  <a:cxn ang="0">
                    <a:pos x="T21" y="T23"/>
                  </a:cxn>
                  <a:cxn ang="0">
                    <a:pos x="T25" y="T27"/>
                  </a:cxn>
                </a:cxnLst>
                <a:rect l="0" t="0" r="r" b="b"/>
                <a:pathLst>
                  <a:path w="17384" h="10007">
                    <a:moveTo>
                      <a:pt x="133" y="9818"/>
                    </a:moveTo>
                    <a:lnTo>
                      <a:pt x="55" y="9818"/>
                    </a:lnTo>
                    <a:lnTo>
                      <a:pt x="77" y="9837"/>
                    </a:lnTo>
                    <a:lnTo>
                      <a:pt x="101" y="9856"/>
                    </a:lnTo>
                    <a:lnTo>
                      <a:pt x="182" y="9856"/>
                    </a:lnTo>
                    <a:lnTo>
                      <a:pt x="157" y="9837"/>
                    </a:lnTo>
                    <a:lnTo>
                      <a:pt x="133" y="9818"/>
                    </a:lnTo>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ts val="1400"/>
                  </a:lnSpc>
                  <a:spcBef>
                    <a:spcPts val="0"/>
                  </a:spcBef>
                  <a:spcAft>
                    <a:spcPct val="0"/>
                  </a:spcAft>
                  <a:buClrTx/>
                  <a:buSzTx/>
                  <a:buFontTx/>
                  <a:buNone/>
                  <a:tabLst/>
                  <a:defRPr/>
                </a:pPr>
                <a:endParaRPr kumimoji="0" lang="en-US" sz="1200" b="0" i="0" u="none" strike="noStrike" kern="0" cap="none" spc="0" normalizeH="0" baseline="0" noProof="0" dirty="0">
                  <a:ln>
                    <a:noFill/>
                  </a:ln>
                  <a:solidFill>
                    <a:srgbClr val="010024"/>
                  </a:solidFill>
                  <a:effectLst/>
                  <a:uLnTx/>
                  <a:uFillTx/>
                  <a:latin typeface="EYInterstate Regular" pitchFamily="1" charset="0"/>
                  <a:ea typeface="+mn-ea"/>
                  <a:cs typeface="+mn-cs"/>
                </a:endParaRPr>
              </a:p>
            </p:txBody>
          </p:sp>
          <p:sp>
            <p:nvSpPr>
              <p:cNvPr id="33" name="Freeform 14"/>
              <p:cNvSpPr>
                <a:spLocks/>
              </p:cNvSpPr>
              <p:nvPr/>
            </p:nvSpPr>
            <p:spPr bwMode="auto">
              <a:xfrm>
                <a:off x="3354" y="5573"/>
                <a:ext cx="17384" cy="10007"/>
              </a:xfrm>
              <a:custGeom>
                <a:avLst/>
                <a:gdLst>
                  <a:gd name="T0" fmla="+- 0 20683 3354"/>
                  <a:gd name="T1" fmla="*/ T0 w 17384"/>
                  <a:gd name="T2" fmla="+- 0 15391 5573"/>
                  <a:gd name="T3" fmla="*/ 15391 h 10007"/>
                  <a:gd name="T4" fmla="+- 0 20605 3354"/>
                  <a:gd name="T5" fmla="*/ T4 w 17384"/>
                  <a:gd name="T6" fmla="+- 0 15391 5573"/>
                  <a:gd name="T7" fmla="*/ 15391 h 10007"/>
                  <a:gd name="T8" fmla="+- 0 20582 3354"/>
                  <a:gd name="T9" fmla="*/ T8 w 17384"/>
                  <a:gd name="T10" fmla="+- 0 15410 5573"/>
                  <a:gd name="T11" fmla="*/ 15410 h 10007"/>
                  <a:gd name="T12" fmla="+- 0 20557 3354"/>
                  <a:gd name="T13" fmla="*/ T12 w 17384"/>
                  <a:gd name="T14" fmla="+- 0 15429 5573"/>
                  <a:gd name="T15" fmla="*/ 15429 h 10007"/>
                  <a:gd name="T16" fmla="+- 0 20637 3354"/>
                  <a:gd name="T17" fmla="*/ T16 w 17384"/>
                  <a:gd name="T18" fmla="+- 0 15429 5573"/>
                  <a:gd name="T19" fmla="*/ 15429 h 10007"/>
                  <a:gd name="T20" fmla="+- 0 20661 3354"/>
                  <a:gd name="T21" fmla="*/ T20 w 17384"/>
                  <a:gd name="T22" fmla="+- 0 15410 5573"/>
                  <a:gd name="T23" fmla="*/ 15410 h 10007"/>
                  <a:gd name="T24" fmla="+- 0 20683 3354"/>
                  <a:gd name="T25" fmla="*/ T24 w 17384"/>
                  <a:gd name="T26" fmla="+- 0 15391 5573"/>
                  <a:gd name="T27" fmla="*/ 15391 h 10007"/>
                </a:gdLst>
                <a:ahLst/>
                <a:cxnLst>
                  <a:cxn ang="0">
                    <a:pos x="T1" y="T3"/>
                  </a:cxn>
                  <a:cxn ang="0">
                    <a:pos x="T5" y="T7"/>
                  </a:cxn>
                  <a:cxn ang="0">
                    <a:pos x="T9" y="T11"/>
                  </a:cxn>
                  <a:cxn ang="0">
                    <a:pos x="T13" y="T15"/>
                  </a:cxn>
                  <a:cxn ang="0">
                    <a:pos x="T17" y="T19"/>
                  </a:cxn>
                  <a:cxn ang="0">
                    <a:pos x="T21" y="T23"/>
                  </a:cxn>
                  <a:cxn ang="0">
                    <a:pos x="T25" y="T27"/>
                  </a:cxn>
                </a:cxnLst>
                <a:rect l="0" t="0" r="r" b="b"/>
                <a:pathLst>
                  <a:path w="17384" h="10007">
                    <a:moveTo>
                      <a:pt x="17329" y="9818"/>
                    </a:moveTo>
                    <a:lnTo>
                      <a:pt x="17251" y="9818"/>
                    </a:lnTo>
                    <a:lnTo>
                      <a:pt x="17228" y="9837"/>
                    </a:lnTo>
                    <a:lnTo>
                      <a:pt x="17203" y="9856"/>
                    </a:lnTo>
                    <a:lnTo>
                      <a:pt x="17283" y="9856"/>
                    </a:lnTo>
                    <a:lnTo>
                      <a:pt x="17307" y="9837"/>
                    </a:lnTo>
                    <a:lnTo>
                      <a:pt x="17329" y="9818"/>
                    </a:lnTo>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ts val="1400"/>
                  </a:lnSpc>
                  <a:spcBef>
                    <a:spcPts val="0"/>
                  </a:spcBef>
                  <a:spcAft>
                    <a:spcPct val="0"/>
                  </a:spcAft>
                  <a:buClrTx/>
                  <a:buSzTx/>
                  <a:buFontTx/>
                  <a:buNone/>
                  <a:tabLst/>
                  <a:defRPr/>
                </a:pPr>
                <a:endParaRPr kumimoji="0" lang="en-US" sz="1200" b="0" i="0" u="none" strike="noStrike" kern="0" cap="none" spc="0" normalizeH="0" baseline="0" noProof="0" dirty="0">
                  <a:ln>
                    <a:noFill/>
                  </a:ln>
                  <a:solidFill>
                    <a:srgbClr val="010024"/>
                  </a:solidFill>
                  <a:effectLst/>
                  <a:uLnTx/>
                  <a:uFillTx/>
                  <a:latin typeface="EYInterstate Regular" pitchFamily="1" charset="0"/>
                  <a:ea typeface="+mn-ea"/>
                  <a:cs typeface="+mn-cs"/>
                </a:endParaRPr>
              </a:p>
            </p:txBody>
          </p:sp>
          <p:sp>
            <p:nvSpPr>
              <p:cNvPr id="34" name="Freeform 15"/>
              <p:cNvSpPr>
                <a:spLocks/>
              </p:cNvSpPr>
              <p:nvPr/>
            </p:nvSpPr>
            <p:spPr bwMode="auto">
              <a:xfrm>
                <a:off x="3354" y="5573"/>
                <a:ext cx="17384" cy="10007"/>
              </a:xfrm>
              <a:custGeom>
                <a:avLst/>
                <a:gdLst>
                  <a:gd name="T0" fmla="+- 0 20710 3354"/>
                  <a:gd name="T1" fmla="*/ T0 w 17384"/>
                  <a:gd name="T2" fmla="+- 0 15372 5573"/>
                  <a:gd name="T3" fmla="*/ 15372 h 10007"/>
                  <a:gd name="T4" fmla="+- 0 3384 3354"/>
                  <a:gd name="T5" fmla="*/ T4 w 17384"/>
                  <a:gd name="T6" fmla="+- 0 15372 5573"/>
                  <a:gd name="T7" fmla="*/ 15372 h 10007"/>
                  <a:gd name="T8" fmla="+- 0 3390 3354"/>
                  <a:gd name="T9" fmla="*/ T8 w 17384"/>
                  <a:gd name="T10" fmla="+- 0 15391 5573"/>
                  <a:gd name="T11" fmla="*/ 15391 h 10007"/>
                  <a:gd name="T12" fmla="+- 0 20703 3354"/>
                  <a:gd name="T13" fmla="*/ T12 w 17384"/>
                  <a:gd name="T14" fmla="+- 0 15391 5573"/>
                  <a:gd name="T15" fmla="*/ 15391 h 10007"/>
                  <a:gd name="T16" fmla="+- 0 20710 3354"/>
                  <a:gd name="T17" fmla="*/ T16 w 17384"/>
                  <a:gd name="T18" fmla="+- 0 15372 5573"/>
                  <a:gd name="T19" fmla="*/ 15372 h 10007"/>
                </a:gdLst>
                <a:ahLst/>
                <a:cxnLst>
                  <a:cxn ang="0">
                    <a:pos x="T1" y="T3"/>
                  </a:cxn>
                  <a:cxn ang="0">
                    <a:pos x="T5" y="T7"/>
                  </a:cxn>
                  <a:cxn ang="0">
                    <a:pos x="T9" y="T11"/>
                  </a:cxn>
                  <a:cxn ang="0">
                    <a:pos x="T13" y="T15"/>
                  </a:cxn>
                  <a:cxn ang="0">
                    <a:pos x="T17" y="T19"/>
                  </a:cxn>
                </a:cxnLst>
                <a:rect l="0" t="0" r="r" b="b"/>
                <a:pathLst>
                  <a:path w="17384" h="10007">
                    <a:moveTo>
                      <a:pt x="17356" y="9799"/>
                    </a:moveTo>
                    <a:lnTo>
                      <a:pt x="30" y="9799"/>
                    </a:lnTo>
                    <a:lnTo>
                      <a:pt x="36" y="9818"/>
                    </a:lnTo>
                    <a:lnTo>
                      <a:pt x="17349" y="9818"/>
                    </a:lnTo>
                    <a:lnTo>
                      <a:pt x="17356" y="9799"/>
                    </a:lnTo>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ts val="1400"/>
                  </a:lnSpc>
                  <a:spcBef>
                    <a:spcPts val="0"/>
                  </a:spcBef>
                  <a:spcAft>
                    <a:spcPct val="0"/>
                  </a:spcAft>
                  <a:buClrTx/>
                  <a:buSzTx/>
                  <a:buFontTx/>
                  <a:buNone/>
                  <a:tabLst/>
                  <a:defRPr/>
                </a:pPr>
                <a:endParaRPr kumimoji="0" lang="en-US" sz="1200" b="0" i="0" u="none" strike="noStrike" kern="0" cap="none" spc="0" normalizeH="0" baseline="0" noProof="0" dirty="0">
                  <a:ln>
                    <a:noFill/>
                  </a:ln>
                  <a:solidFill>
                    <a:srgbClr val="010024"/>
                  </a:solidFill>
                  <a:effectLst/>
                  <a:uLnTx/>
                  <a:uFillTx/>
                  <a:latin typeface="EYInterstate Regular" pitchFamily="1" charset="0"/>
                  <a:ea typeface="+mn-ea"/>
                  <a:cs typeface="+mn-cs"/>
                </a:endParaRPr>
              </a:p>
            </p:txBody>
          </p:sp>
          <p:sp>
            <p:nvSpPr>
              <p:cNvPr id="35" name="Freeform 16"/>
              <p:cNvSpPr>
                <a:spLocks/>
              </p:cNvSpPr>
              <p:nvPr/>
            </p:nvSpPr>
            <p:spPr bwMode="auto">
              <a:xfrm>
                <a:off x="3354" y="5573"/>
                <a:ext cx="17384" cy="10007"/>
              </a:xfrm>
              <a:custGeom>
                <a:avLst/>
                <a:gdLst>
                  <a:gd name="T0" fmla="+- 0 3396 3354"/>
                  <a:gd name="T1" fmla="*/ T0 w 17384"/>
                  <a:gd name="T2" fmla="+- 0 15335 5573"/>
                  <a:gd name="T3" fmla="*/ 15335 h 10007"/>
                  <a:gd name="T4" fmla="+- 0 3356 3354"/>
                  <a:gd name="T5" fmla="*/ T4 w 17384"/>
                  <a:gd name="T6" fmla="+- 0 15335 5573"/>
                  <a:gd name="T7" fmla="*/ 15335 h 10007"/>
                  <a:gd name="T8" fmla="+- 0 3365 3354"/>
                  <a:gd name="T9" fmla="*/ T8 w 17384"/>
                  <a:gd name="T10" fmla="+- 0 15372 5573"/>
                  <a:gd name="T11" fmla="*/ 15372 h 10007"/>
                  <a:gd name="T12" fmla="+- 0 20722 3354"/>
                  <a:gd name="T13" fmla="*/ T12 w 17384"/>
                  <a:gd name="T14" fmla="+- 0 15372 5573"/>
                  <a:gd name="T15" fmla="*/ 15372 h 10007"/>
                  <a:gd name="T16" fmla="+- 0 20736 3354"/>
                  <a:gd name="T17" fmla="*/ T16 w 17384"/>
                  <a:gd name="T18" fmla="+- 0 15354 5573"/>
                  <a:gd name="T19" fmla="*/ 15354 h 10007"/>
                  <a:gd name="T20" fmla="+- 0 3399 3354"/>
                  <a:gd name="T21" fmla="*/ T20 w 17384"/>
                  <a:gd name="T22" fmla="+- 0 15354 5573"/>
                  <a:gd name="T23" fmla="*/ 15354 h 10007"/>
                  <a:gd name="T24" fmla="+- 0 3396 3354"/>
                  <a:gd name="T25" fmla="*/ T24 w 17384"/>
                  <a:gd name="T26" fmla="+- 0 15335 5573"/>
                  <a:gd name="T27" fmla="*/ 15335 h 10007"/>
                </a:gdLst>
                <a:ahLst/>
                <a:cxnLst>
                  <a:cxn ang="0">
                    <a:pos x="T1" y="T3"/>
                  </a:cxn>
                  <a:cxn ang="0">
                    <a:pos x="T5" y="T7"/>
                  </a:cxn>
                  <a:cxn ang="0">
                    <a:pos x="T9" y="T11"/>
                  </a:cxn>
                  <a:cxn ang="0">
                    <a:pos x="T13" y="T15"/>
                  </a:cxn>
                  <a:cxn ang="0">
                    <a:pos x="T17" y="T19"/>
                  </a:cxn>
                  <a:cxn ang="0">
                    <a:pos x="T21" y="T23"/>
                  </a:cxn>
                  <a:cxn ang="0">
                    <a:pos x="T25" y="T27"/>
                  </a:cxn>
                </a:cxnLst>
                <a:rect l="0" t="0" r="r" b="b"/>
                <a:pathLst>
                  <a:path w="17384" h="10007">
                    <a:moveTo>
                      <a:pt x="42" y="9762"/>
                    </a:moveTo>
                    <a:lnTo>
                      <a:pt x="2" y="9762"/>
                    </a:lnTo>
                    <a:lnTo>
                      <a:pt x="11" y="9799"/>
                    </a:lnTo>
                    <a:lnTo>
                      <a:pt x="17368" y="9799"/>
                    </a:lnTo>
                    <a:lnTo>
                      <a:pt x="17382" y="9781"/>
                    </a:lnTo>
                    <a:lnTo>
                      <a:pt x="45" y="9781"/>
                    </a:lnTo>
                    <a:lnTo>
                      <a:pt x="42" y="9762"/>
                    </a:lnTo>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ts val="1400"/>
                  </a:lnSpc>
                  <a:spcBef>
                    <a:spcPts val="0"/>
                  </a:spcBef>
                  <a:spcAft>
                    <a:spcPct val="0"/>
                  </a:spcAft>
                  <a:buClrTx/>
                  <a:buSzTx/>
                  <a:buFontTx/>
                  <a:buNone/>
                  <a:tabLst/>
                  <a:defRPr/>
                </a:pPr>
                <a:endParaRPr kumimoji="0" lang="en-US" sz="1200" b="0" i="0" u="none" strike="noStrike" kern="0" cap="none" spc="0" normalizeH="0" baseline="0" noProof="0" dirty="0">
                  <a:ln>
                    <a:noFill/>
                  </a:ln>
                  <a:solidFill>
                    <a:srgbClr val="010024"/>
                  </a:solidFill>
                  <a:effectLst/>
                  <a:uLnTx/>
                  <a:uFillTx/>
                  <a:latin typeface="EYInterstate Regular" pitchFamily="1" charset="0"/>
                  <a:ea typeface="+mn-ea"/>
                  <a:cs typeface="+mn-cs"/>
                </a:endParaRPr>
              </a:p>
            </p:txBody>
          </p:sp>
          <p:sp>
            <p:nvSpPr>
              <p:cNvPr id="36" name="Freeform 17"/>
              <p:cNvSpPr>
                <a:spLocks/>
              </p:cNvSpPr>
              <p:nvPr/>
            </p:nvSpPr>
            <p:spPr bwMode="auto">
              <a:xfrm>
                <a:off x="3354" y="5573"/>
                <a:ext cx="17384" cy="10007"/>
              </a:xfrm>
              <a:custGeom>
                <a:avLst/>
                <a:gdLst>
                  <a:gd name="T0" fmla="+- 0 20738 3354"/>
                  <a:gd name="T1" fmla="*/ T0 w 17384"/>
                  <a:gd name="T2" fmla="+- 0 15071 5573"/>
                  <a:gd name="T3" fmla="*/ 15071 h 10007"/>
                  <a:gd name="T4" fmla="+- 0 20701 3354"/>
                  <a:gd name="T5" fmla="*/ T4 w 17384"/>
                  <a:gd name="T6" fmla="+- 0 15071 5573"/>
                  <a:gd name="T7" fmla="*/ 15071 h 10007"/>
                  <a:gd name="T8" fmla="+- 0 20701 3354"/>
                  <a:gd name="T9" fmla="*/ T8 w 17384"/>
                  <a:gd name="T10" fmla="+- 0 15335 5573"/>
                  <a:gd name="T11" fmla="*/ 15335 h 10007"/>
                  <a:gd name="T12" fmla="+- 0 20701 3354"/>
                  <a:gd name="T13" fmla="*/ T12 w 17384"/>
                  <a:gd name="T14" fmla="+- 0 15335 5573"/>
                  <a:gd name="T15" fmla="*/ 15335 h 10007"/>
                  <a:gd name="T16" fmla="+- 0 20696 3354"/>
                  <a:gd name="T17" fmla="*/ T16 w 17384"/>
                  <a:gd name="T18" fmla="+- 0 15354 5573"/>
                  <a:gd name="T19" fmla="*/ 15354 h 10007"/>
                  <a:gd name="T20" fmla="+- 0 20736 3354"/>
                  <a:gd name="T21" fmla="*/ T20 w 17384"/>
                  <a:gd name="T22" fmla="+- 0 15354 5573"/>
                  <a:gd name="T23" fmla="*/ 15354 h 10007"/>
                  <a:gd name="T24" fmla="+- 0 20738 3354"/>
                  <a:gd name="T25" fmla="*/ T24 w 17384"/>
                  <a:gd name="T26" fmla="+- 0 15335 5573"/>
                  <a:gd name="T27" fmla="*/ 15335 h 10007"/>
                  <a:gd name="T28" fmla="+- 0 20738 3354"/>
                  <a:gd name="T29" fmla="*/ T28 w 17384"/>
                  <a:gd name="T30" fmla="+- 0 15071 5573"/>
                  <a:gd name="T31" fmla="*/ 15071 h 10007"/>
                </a:gdLst>
                <a:ahLst/>
                <a:cxnLst>
                  <a:cxn ang="0">
                    <a:pos x="T1" y="T3"/>
                  </a:cxn>
                  <a:cxn ang="0">
                    <a:pos x="T5" y="T7"/>
                  </a:cxn>
                  <a:cxn ang="0">
                    <a:pos x="T9" y="T11"/>
                  </a:cxn>
                  <a:cxn ang="0">
                    <a:pos x="T13" y="T15"/>
                  </a:cxn>
                  <a:cxn ang="0">
                    <a:pos x="T17" y="T19"/>
                  </a:cxn>
                  <a:cxn ang="0">
                    <a:pos x="T21" y="T23"/>
                  </a:cxn>
                  <a:cxn ang="0">
                    <a:pos x="T25" y="T27"/>
                  </a:cxn>
                  <a:cxn ang="0">
                    <a:pos x="T29" y="T31"/>
                  </a:cxn>
                </a:cxnLst>
                <a:rect l="0" t="0" r="r" b="b"/>
                <a:pathLst>
                  <a:path w="17384" h="10007">
                    <a:moveTo>
                      <a:pt x="17384" y="9498"/>
                    </a:moveTo>
                    <a:lnTo>
                      <a:pt x="17347" y="9498"/>
                    </a:lnTo>
                    <a:lnTo>
                      <a:pt x="17347" y="9762"/>
                    </a:lnTo>
                    <a:lnTo>
                      <a:pt x="17342" y="9781"/>
                    </a:lnTo>
                    <a:lnTo>
                      <a:pt x="17382" y="9781"/>
                    </a:lnTo>
                    <a:lnTo>
                      <a:pt x="17384" y="9762"/>
                    </a:lnTo>
                    <a:lnTo>
                      <a:pt x="17384" y="9498"/>
                    </a:lnTo>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ts val="1400"/>
                  </a:lnSpc>
                  <a:spcBef>
                    <a:spcPts val="0"/>
                  </a:spcBef>
                  <a:spcAft>
                    <a:spcPct val="0"/>
                  </a:spcAft>
                  <a:buClrTx/>
                  <a:buSzTx/>
                  <a:buFontTx/>
                  <a:buNone/>
                  <a:tabLst/>
                  <a:defRPr/>
                </a:pPr>
                <a:endParaRPr kumimoji="0" lang="en-US" sz="1200" b="0" i="0" u="none" strike="noStrike" kern="0" cap="none" spc="0" normalizeH="0" baseline="0" noProof="0" dirty="0">
                  <a:ln>
                    <a:noFill/>
                  </a:ln>
                  <a:solidFill>
                    <a:srgbClr val="010024"/>
                  </a:solidFill>
                  <a:effectLst/>
                  <a:uLnTx/>
                  <a:uFillTx/>
                  <a:latin typeface="EYInterstate Regular" pitchFamily="1" charset="0"/>
                  <a:ea typeface="+mn-ea"/>
                  <a:cs typeface="+mn-cs"/>
                </a:endParaRPr>
              </a:p>
            </p:txBody>
          </p:sp>
          <p:sp>
            <p:nvSpPr>
              <p:cNvPr id="37" name="Freeform 18"/>
              <p:cNvSpPr>
                <a:spLocks/>
              </p:cNvSpPr>
              <p:nvPr/>
            </p:nvSpPr>
            <p:spPr bwMode="auto">
              <a:xfrm>
                <a:off x="3354" y="5573"/>
                <a:ext cx="17384" cy="10007"/>
              </a:xfrm>
              <a:custGeom>
                <a:avLst/>
                <a:gdLst>
                  <a:gd name="T0" fmla="+- 0 20725 3354"/>
                  <a:gd name="T1" fmla="*/ T0 w 17384"/>
                  <a:gd name="T2" fmla="+- 0 15033 5573"/>
                  <a:gd name="T3" fmla="*/ 15033 h 10007"/>
                  <a:gd name="T4" fmla="+- 0 3367 3354"/>
                  <a:gd name="T5" fmla="*/ T4 w 17384"/>
                  <a:gd name="T6" fmla="+- 0 15033 5573"/>
                  <a:gd name="T7" fmla="*/ 15033 h 10007"/>
                  <a:gd name="T8" fmla="+- 0 3354 3354"/>
                  <a:gd name="T9" fmla="*/ T8 w 17384"/>
                  <a:gd name="T10" fmla="+- 0 15052 5573"/>
                  <a:gd name="T11" fmla="*/ 15052 h 10007"/>
                  <a:gd name="T12" fmla="+- 0 3354 3354"/>
                  <a:gd name="T13" fmla="*/ T12 w 17384"/>
                  <a:gd name="T14" fmla="+- 0 15335 5573"/>
                  <a:gd name="T15" fmla="*/ 15335 h 10007"/>
                  <a:gd name="T16" fmla="+- 0 3391 3354"/>
                  <a:gd name="T17" fmla="*/ T16 w 17384"/>
                  <a:gd name="T18" fmla="+- 0 15335 5573"/>
                  <a:gd name="T19" fmla="*/ 15335 h 10007"/>
                  <a:gd name="T20" fmla="+- 0 3391 3354"/>
                  <a:gd name="T21" fmla="*/ T20 w 17384"/>
                  <a:gd name="T22" fmla="+- 0 15071 5573"/>
                  <a:gd name="T23" fmla="*/ 15071 h 10007"/>
                  <a:gd name="T24" fmla="+- 0 20738 3354"/>
                  <a:gd name="T25" fmla="*/ T24 w 17384"/>
                  <a:gd name="T26" fmla="+- 0 15071 5573"/>
                  <a:gd name="T27" fmla="*/ 15071 h 10007"/>
                  <a:gd name="T28" fmla="+- 0 20738 3354"/>
                  <a:gd name="T29" fmla="*/ T28 w 17384"/>
                  <a:gd name="T30" fmla="+- 0 15052 5573"/>
                  <a:gd name="T31" fmla="*/ 15052 h 10007"/>
                  <a:gd name="T32" fmla="+- 0 20725 3354"/>
                  <a:gd name="T33" fmla="*/ T32 w 17384"/>
                  <a:gd name="T34" fmla="+- 0 15033 5573"/>
                  <a:gd name="T35" fmla="*/ 15033 h 10007"/>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Lst>
                <a:rect l="0" t="0" r="r" b="b"/>
                <a:pathLst>
                  <a:path w="17384" h="10007">
                    <a:moveTo>
                      <a:pt x="17371" y="9460"/>
                    </a:moveTo>
                    <a:lnTo>
                      <a:pt x="13" y="9460"/>
                    </a:lnTo>
                    <a:lnTo>
                      <a:pt x="0" y="9479"/>
                    </a:lnTo>
                    <a:lnTo>
                      <a:pt x="0" y="9762"/>
                    </a:lnTo>
                    <a:lnTo>
                      <a:pt x="37" y="9762"/>
                    </a:lnTo>
                    <a:lnTo>
                      <a:pt x="37" y="9498"/>
                    </a:lnTo>
                    <a:lnTo>
                      <a:pt x="17384" y="9498"/>
                    </a:lnTo>
                    <a:lnTo>
                      <a:pt x="17384" y="9479"/>
                    </a:lnTo>
                    <a:lnTo>
                      <a:pt x="17371" y="9460"/>
                    </a:lnTo>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ts val="1400"/>
                  </a:lnSpc>
                  <a:spcBef>
                    <a:spcPts val="0"/>
                  </a:spcBef>
                  <a:spcAft>
                    <a:spcPct val="0"/>
                  </a:spcAft>
                  <a:buClrTx/>
                  <a:buSzTx/>
                  <a:buFontTx/>
                  <a:buNone/>
                  <a:tabLst/>
                  <a:defRPr/>
                </a:pPr>
                <a:endParaRPr kumimoji="0" lang="en-US" sz="1200" b="0" i="0" u="none" strike="noStrike" kern="0" cap="none" spc="0" normalizeH="0" baseline="0" noProof="0" dirty="0">
                  <a:ln>
                    <a:noFill/>
                  </a:ln>
                  <a:solidFill>
                    <a:srgbClr val="010024"/>
                  </a:solidFill>
                  <a:effectLst/>
                  <a:uLnTx/>
                  <a:uFillTx/>
                  <a:latin typeface="EYInterstate Regular" pitchFamily="1" charset="0"/>
                  <a:ea typeface="+mn-ea"/>
                  <a:cs typeface="+mn-cs"/>
                </a:endParaRPr>
              </a:p>
            </p:txBody>
          </p:sp>
          <p:sp>
            <p:nvSpPr>
              <p:cNvPr id="38" name="Freeform 19"/>
              <p:cNvSpPr>
                <a:spLocks/>
              </p:cNvSpPr>
              <p:nvPr/>
            </p:nvSpPr>
            <p:spPr bwMode="auto">
              <a:xfrm>
                <a:off x="3354" y="5573"/>
                <a:ext cx="17384" cy="10007"/>
              </a:xfrm>
              <a:custGeom>
                <a:avLst/>
                <a:gdLst>
                  <a:gd name="T0" fmla="+- 0 13138 3354"/>
                  <a:gd name="T1" fmla="*/ T0 w 17384"/>
                  <a:gd name="T2" fmla="+- 0 15240 5573"/>
                  <a:gd name="T3" fmla="*/ 15240 h 10007"/>
                  <a:gd name="T4" fmla="+- 0 10948 3354"/>
                  <a:gd name="T5" fmla="*/ T4 w 17384"/>
                  <a:gd name="T6" fmla="+- 0 15240 5573"/>
                  <a:gd name="T7" fmla="*/ 15240 h 10007"/>
                  <a:gd name="T8" fmla="+- 0 10970 3354"/>
                  <a:gd name="T9" fmla="*/ T8 w 17384"/>
                  <a:gd name="T10" fmla="+- 0 15259 5573"/>
                  <a:gd name="T11" fmla="*/ 15259 h 10007"/>
                  <a:gd name="T12" fmla="+- 0 13116 3354"/>
                  <a:gd name="T13" fmla="*/ T12 w 17384"/>
                  <a:gd name="T14" fmla="+- 0 15259 5573"/>
                  <a:gd name="T15" fmla="*/ 15259 h 10007"/>
                  <a:gd name="T16" fmla="+- 0 13138 3354"/>
                  <a:gd name="T17" fmla="*/ T16 w 17384"/>
                  <a:gd name="T18" fmla="+- 0 15240 5573"/>
                  <a:gd name="T19" fmla="*/ 15240 h 10007"/>
                </a:gdLst>
                <a:ahLst/>
                <a:cxnLst>
                  <a:cxn ang="0">
                    <a:pos x="T1" y="T3"/>
                  </a:cxn>
                  <a:cxn ang="0">
                    <a:pos x="T5" y="T7"/>
                  </a:cxn>
                  <a:cxn ang="0">
                    <a:pos x="T9" y="T11"/>
                  </a:cxn>
                  <a:cxn ang="0">
                    <a:pos x="T13" y="T15"/>
                  </a:cxn>
                  <a:cxn ang="0">
                    <a:pos x="T17" y="T19"/>
                  </a:cxn>
                </a:cxnLst>
                <a:rect l="0" t="0" r="r" b="b"/>
                <a:pathLst>
                  <a:path w="17384" h="10007">
                    <a:moveTo>
                      <a:pt x="9784" y="9667"/>
                    </a:moveTo>
                    <a:lnTo>
                      <a:pt x="7594" y="9667"/>
                    </a:lnTo>
                    <a:lnTo>
                      <a:pt x="7616" y="9686"/>
                    </a:lnTo>
                    <a:lnTo>
                      <a:pt x="9762" y="9686"/>
                    </a:lnTo>
                    <a:lnTo>
                      <a:pt x="9784" y="9667"/>
                    </a:lnTo>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ts val="1400"/>
                  </a:lnSpc>
                  <a:spcBef>
                    <a:spcPts val="0"/>
                  </a:spcBef>
                  <a:spcAft>
                    <a:spcPct val="0"/>
                  </a:spcAft>
                  <a:buClrTx/>
                  <a:buSzTx/>
                  <a:buFontTx/>
                  <a:buNone/>
                  <a:tabLst/>
                  <a:defRPr/>
                </a:pPr>
                <a:endParaRPr kumimoji="0" lang="en-US" sz="1200" b="0" i="0" u="none" strike="noStrike" kern="0" cap="none" spc="0" normalizeH="0" baseline="0" noProof="0" dirty="0">
                  <a:ln>
                    <a:noFill/>
                  </a:ln>
                  <a:solidFill>
                    <a:srgbClr val="010024"/>
                  </a:solidFill>
                  <a:effectLst/>
                  <a:uLnTx/>
                  <a:uFillTx/>
                  <a:latin typeface="EYInterstate Regular" pitchFamily="1" charset="0"/>
                  <a:ea typeface="+mn-ea"/>
                  <a:cs typeface="+mn-cs"/>
                </a:endParaRPr>
              </a:p>
            </p:txBody>
          </p:sp>
          <p:sp>
            <p:nvSpPr>
              <p:cNvPr id="39" name="Freeform 20"/>
              <p:cNvSpPr>
                <a:spLocks/>
              </p:cNvSpPr>
              <p:nvPr/>
            </p:nvSpPr>
            <p:spPr bwMode="auto">
              <a:xfrm>
                <a:off x="3354" y="5573"/>
                <a:ext cx="17384" cy="10007"/>
              </a:xfrm>
              <a:custGeom>
                <a:avLst/>
                <a:gdLst>
                  <a:gd name="T0" fmla="+- 0 10857 3354"/>
                  <a:gd name="T1" fmla="*/ T0 w 17384"/>
                  <a:gd name="T2" fmla="+- 0 15071 5573"/>
                  <a:gd name="T3" fmla="*/ 15071 h 10007"/>
                  <a:gd name="T4" fmla="+- 0 10818 3354"/>
                  <a:gd name="T5" fmla="*/ T4 w 17384"/>
                  <a:gd name="T6" fmla="+- 0 15071 5573"/>
                  <a:gd name="T7" fmla="*/ 15071 h 10007"/>
                  <a:gd name="T8" fmla="+- 0 10821 3354"/>
                  <a:gd name="T9" fmla="*/ T8 w 17384"/>
                  <a:gd name="T10" fmla="+- 0 15090 5573"/>
                  <a:gd name="T11" fmla="*/ 15090 h 10007"/>
                  <a:gd name="T12" fmla="+- 0 10841 3354"/>
                  <a:gd name="T13" fmla="*/ T12 w 17384"/>
                  <a:gd name="T14" fmla="+- 0 15146 5573"/>
                  <a:gd name="T15" fmla="*/ 15146 h 10007"/>
                  <a:gd name="T16" fmla="+- 0 10863 3354"/>
                  <a:gd name="T17" fmla="*/ T16 w 17384"/>
                  <a:gd name="T18" fmla="+- 0 15184 5573"/>
                  <a:gd name="T19" fmla="*/ 15184 h 10007"/>
                  <a:gd name="T20" fmla="+- 0 10877 3354"/>
                  <a:gd name="T21" fmla="*/ T20 w 17384"/>
                  <a:gd name="T22" fmla="+- 0 15184 5573"/>
                  <a:gd name="T23" fmla="*/ 15184 h 10007"/>
                  <a:gd name="T24" fmla="+- 0 10892 3354"/>
                  <a:gd name="T25" fmla="*/ T24 w 17384"/>
                  <a:gd name="T26" fmla="+- 0 15203 5573"/>
                  <a:gd name="T27" fmla="*/ 15203 h 10007"/>
                  <a:gd name="T28" fmla="+- 0 10909 3354"/>
                  <a:gd name="T29" fmla="*/ T28 w 17384"/>
                  <a:gd name="T30" fmla="+- 0 15222 5573"/>
                  <a:gd name="T31" fmla="*/ 15222 h 10007"/>
                  <a:gd name="T32" fmla="+- 0 10928 3354"/>
                  <a:gd name="T33" fmla="*/ T32 w 17384"/>
                  <a:gd name="T34" fmla="+- 0 15240 5573"/>
                  <a:gd name="T35" fmla="*/ 15240 h 10007"/>
                  <a:gd name="T36" fmla="+- 0 13159 3354"/>
                  <a:gd name="T37" fmla="*/ T36 w 17384"/>
                  <a:gd name="T38" fmla="+- 0 15240 5573"/>
                  <a:gd name="T39" fmla="*/ 15240 h 10007"/>
                  <a:gd name="T40" fmla="+- 0 13178 3354"/>
                  <a:gd name="T41" fmla="*/ T40 w 17384"/>
                  <a:gd name="T42" fmla="+- 0 15222 5573"/>
                  <a:gd name="T43" fmla="*/ 15222 h 10007"/>
                  <a:gd name="T44" fmla="+- 0 10977 3354"/>
                  <a:gd name="T45" fmla="*/ T44 w 17384"/>
                  <a:gd name="T46" fmla="+- 0 15222 5573"/>
                  <a:gd name="T47" fmla="*/ 15222 h 10007"/>
                  <a:gd name="T48" fmla="+- 0 10956 3354"/>
                  <a:gd name="T49" fmla="*/ T48 w 17384"/>
                  <a:gd name="T50" fmla="+- 0 15203 5573"/>
                  <a:gd name="T51" fmla="*/ 15203 h 10007"/>
                  <a:gd name="T52" fmla="+- 0 10937 3354"/>
                  <a:gd name="T53" fmla="*/ T52 w 17384"/>
                  <a:gd name="T54" fmla="+- 0 15203 5573"/>
                  <a:gd name="T55" fmla="*/ 15203 h 10007"/>
                  <a:gd name="T56" fmla="+- 0 10919 3354"/>
                  <a:gd name="T57" fmla="*/ T56 w 17384"/>
                  <a:gd name="T58" fmla="+- 0 15184 5573"/>
                  <a:gd name="T59" fmla="*/ 15184 h 10007"/>
                  <a:gd name="T60" fmla="+- 0 10879 3354"/>
                  <a:gd name="T61" fmla="*/ T60 w 17384"/>
                  <a:gd name="T62" fmla="+- 0 15127 5573"/>
                  <a:gd name="T63" fmla="*/ 15127 h 10007"/>
                  <a:gd name="T64" fmla="+- 0 10862 3354"/>
                  <a:gd name="T65" fmla="*/ T64 w 17384"/>
                  <a:gd name="T66" fmla="+- 0 15090 5573"/>
                  <a:gd name="T67" fmla="*/ 15090 h 10007"/>
                  <a:gd name="T68" fmla="+- 0 10857 3354"/>
                  <a:gd name="T69" fmla="*/ T68 w 17384"/>
                  <a:gd name="T70" fmla="+- 0 15071 5573"/>
                  <a:gd name="T71" fmla="*/ 15071 h 10007"/>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 ang="0">
                    <a:pos x="T41" y="T43"/>
                  </a:cxn>
                  <a:cxn ang="0">
                    <a:pos x="T45" y="T47"/>
                  </a:cxn>
                  <a:cxn ang="0">
                    <a:pos x="T49" y="T51"/>
                  </a:cxn>
                  <a:cxn ang="0">
                    <a:pos x="T53" y="T55"/>
                  </a:cxn>
                  <a:cxn ang="0">
                    <a:pos x="T57" y="T59"/>
                  </a:cxn>
                  <a:cxn ang="0">
                    <a:pos x="T61" y="T63"/>
                  </a:cxn>
                  <a:cxn ang="0">
                    <a:pos x="T65" y="T67"/>
                  </a:cxn>
                  <a:cxn ang="0">
                    <a:pos x="T69" y="T71"/>
                  </a:cxn>
                </a:cxnLst>
                <a:rect l="0" t="0" r="r" b="b"/>
                <a:pathLst>
                  <a:path w="17384" h="10007">
                    <a:moveTo>
                      <a:pt x="7503" y="9498"/>
                    </a:moveTo>
                    <a:lnTo>
                      <a:pt x="7464" y="9498"/>
                    </a:lnTo>
                    <a:lnTo>
                      <a:pt x="7467" y="9517"/>
                    </a:lnTo>
                    <a:lnTo>
                      <a:pt x="7487" y="9573"/>
                    </a:lnTo>
                    <a:lnTo>
                      <a:pt x="7509" y="9611"/>
                    </a:lnTo>
                    <a:lnTo>
                      <a:pt x="7523" y="9611"/>
                    </a:lnTo>
                    <a:lnTo>
                      <a:pt x="7538" y="9630"/>
                    </a:lnTo>
                    <a:lnTo>
                      <a:pt x="7555" y="9649"/>
                    </a:lnTo>
                    <a:lnTo>
                      <a:pt x="7574" y="9667"/>
                    </a:lnTo>
                    <a:lnTo>
                      <a:pt x="9805" y="9667"/>
                    </a:lnTo>
                    <a:lnTo>
                      <a:pt x="9824" y="9649"/>
                    </a:lnTo>
                    <a:lnTo>
                      <a:pt x="7623" y="9649"/>
                    </a:lnTo>
                    <a:lnTo>
                      <a:pt x="7602" y="9630"/>
                    </a:lnTo>
                    <a:lnTo>
                      <a:pt x="7583" y="9630"/>
                    </a:lnTo>
                    <a:lnTo>
                      <a:pt x="7565" y="9611"/>
                    </a:lnTo>
                    <a:lnTo>
                      <a:pt x="7525" y="9554"/>
                    </a:lnTo>
                    <a:lnTo>
                      <a:pt x="7508" y="9517"/>
                    </a:lnTo>
                    <a:lnTo>
                      <a:pt x="7503" y="9498"/>
                    </a:lnTo>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ts val="1400"/>
                  </a:lnSpc>
                  <a:spcBef>
                    <a:spcPts val="0"/>
                  </a:spcBef>
                  <a:spcAft>
                    <a:spcPct val="0"/>
                  </a:spcAft>
                  <a:buClrTx/>
                  <a:buSzTx/>
                  <a:buFontTx/>
                  <a:buNone/>
                  <a:tabLst/>
                  <a:defRPr/>
                </a:pPr>
                <a:endParaRPr kumimoji="0" lang="en-US" sz="1200" b="0" i="0" u="none" strike="noStrike" kern="0" cap="none" spc="0" normalizeH="0" baseline="0" noProof="0" dirty="0">
                  <a:ln>
                    <a:noFill/>
                  </a:ln>
                  <a:solidFill>
                    <a:srgbClr val="010024"/>
                  </a:solidFill>
                  <a:effectLst/>
                  <a:uLnTx/>
                  <a:uFillTx/>
                  <a:latin typeface="EYInterstate Regular" pitchFamily="1" charset="0"/>
                  <a:ea typeface="+mn-ea"/>
                  <a:cs typeface="+mn-cs"/>
                </a:endParaRPr>
              </a:p>
            </p:txBody>
          </p:sp>
          <p:sp>
            <p:nvSpPr>
              <p:cNvPr id="40" name="Freeform 21"/>
              <p:cNvSpPr>
                <a:spLocks/>
              </p:cNvSpPr>
              <p:nvPr/>
            </p:nvSpPr>
            <p:spPr bwMode="auto">
              <a:xfrm>
                <a:off x="3354" y="5573"/>
                <a:ext cx="17384" cy="10007"/>
              </a:xfrm>
              <a:custGeom>
                <a:avLst/>
                <a:gdLst>
                  <a:gd name="T0" fmla="+- 0 13274 3354"/>
                  <a:gd name="T1" fmla="*/ T0 w 17384"/>
                  <a:gd name="T2" fmla="+- 0 15071 5573"/>
                  <a:gd name="T3" fmla="*/ 15071 h 10007"/>
                  <a:gd name="T4" fmla="+- 0 13238 3354"/>
                  <a:gd name="T5" fmla="*/ T4 w 17384"/>
                  <a:gd name="T6" fmla="+- 0 15071 5573"/>
                  <a:gd name="T7" fmla="*/ 15071 h 10007"/>
                  <a:gd name="T8" fmla="+- 0 13234 3354"/>
                  <a:gd name="T9" fmla="*/ T8 w 17384"/>
                  <a:gd name="T10" fmla="+- 0 15090 5573"/>
                  <a:gd name="T11" fmla="*/ 15090 h 10007"/>
                  <a:gd name="T12" fmla="+- 0 13228 3354"/>
                  <a:gd name="T13" fmla="*/ T12 w 17384"/>
                  <a:gd name="T14" fmla="+- 0 15109 5573"/>
                  <a:gd name="T15" fmla="*/ 15109 h 10007"/>
                  <a:gd name="T16" fmla="+- 0 13220 3354"/>
                  <a:gd name="T17" fmla="*/ T16 w 17384"/>
                  <a:gd name="T18" fmla="+- 0 15127 5573"/>
                  <a:gd name="T19" fmla="*/ 15127 h 10007"/>
                  <a:gd name="T20" fmla="+- 0 13210 3354"/>
                  <a:gd name="T21" fmla="*/ T20 w 17384"/>
                  <a:gd name="T22" fmla="+- 0 15146 5573"/>
                  <a:gd name="T23" fmla="*/ 15146 h 10007"/>
                  <a:gd name="T24" fmla="+- 0 13198 3354"/>
                  <a:gd name="T25" fmla="*/ T24 w 17384"/>
                  <a:gd name="T26" fmla="+- 0 15146 5573"/>
                  <a:gd name="T27" fmla="*/ 15146 h 10007"/>
                  <a:gd name="T28" fmla="+- 0 13184 3354"/>
                  <a:gd name="T29" fmla="*/ T28 w 17384"/>
                  <a:gd name="T30" fmla="+- 0 15165 5573"/>
                  <a:gd name="T31" fmla="*/ 15165 h 10007"/>
                  <a:gd name="T32" fmla="+- 0 13168 3354"/>
                  <a:gd name="T33" fmla="*/ T32 w 17384"/>
                  <a:gd name="T34" fmla="+- 0 15184 5573"/>
                  <a:gd name="T35" fmla="*/ 15184 h 10007"/>
                  <a:gd name="T36" fmla="+- 0 13150 3354"/>
                  <a:gd name="T37" fmla="*/ T36 w 17384"/>
                  <a:gd name="T38" fmla="+- 0 15203 5573"/>
                  <a:gd name="T39" fmla="*/ 15203 h 10007"/>
                  <a:gd name="T40" fmla="+- 0 13130 3354"/>
                  <a:gd name="T41" fmla="*/ T40 w 17384"/>
                  <a:gd name="T42" fmla="+- 0 15222 5573"/>
                  <a:gd name="T43" fmla="*/ 15222 h 10007"/>
                  <a:gd name="T44" fmla="+- 0 13195 3354"/>
                  <a:gd name="T45" fmla="*/ T44 w 17384"/>
                  <a:gd name="T46" fmla="+- 0 15222 5573"/>
                  <a:gd name="T47" fmla="*/ 15222 h 10007"/>
                  <a:gd name="T48" fmla="+- 0 13238 3354"/>
                  <a:gd name="T49" fmla="*/ T48 w 17384"/>
                  <a:gd name="T50" fmla="+- 0 15165 5573"/>
                  <a:gd name="T51" fmla="*/ 15165 h 10007"/>
                  <a:gd name="T52" fmla="+- 0 13265 3354"/>
                  <a:gd name="T53" fmla="*/ T52 w 17384"/>
                  <a:gd name="T54" fmla="+- 0 15109 5573"/>
                  <a:gd name="T55" fmla="*/ 15109 h 10007"/>
                  <a:gd name="T56" fmla="+- 0 13270 3354"/>
                  <a:gd name="T57" fmla="*/ T56 w 17384"/>
                  <a:gd name="T58" fmla="+- 0 15090 5573"/>
                  <a:gd name="T59" fmla="*/ 15090 h 10007"/>
                  <a:gd name="T60" fmla="+- 0 13274 3354"/>
                  <a:gd name="T61" fmla="*/ T60 w 17384"/>
                  <a:gd name="T62" fmla="+- 0 15071 5573"/>
                  <a:gd name="T63" fmla="*/ 15071 h 10007"/>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 ang="0">
                    <a:pos x="T41" y="T43"/>
                  </a:cxn>
                  <a:cxn ang="0">
                    <a:pos x="T45" y="T47"/>
                  </a:cxn>
                  <a:cxn ang="0">
                    <a:pos x="T49" y="T51"/>
                  </a:cxn>
                  <a:cxn ang="0">
                    <a:pos x="T53" y="T55"/>
                  </a:cxn>
                  <a:cxn ang="0">
                    <a:pos x="T57" y="T59"/>
                  </a:cxn>
                  <a:cxn ang="0">
                    <a:pos x="T61" y="T63"/>
                  </a:cxn>
                </a:cxnLst>
                <a:rect l="0" t="0" r="r" b="b"/>
                <a:pathLst>
                  <a:path w="17384" h="10007">
                    <a:moveTo>
                      <a:pt x="9920" y="9498"/>
                    </a:moveTo>
                    <a:lnTo>
                      <a:pt x="9884" y="9498"/>
                    </a:lnTo>
                    <a:lnTo>
                      <a:pt x="9880" y="9517"/>
                    </a:lnTo>
                    <a:lnTo>
                      <a:pt x="9874" y="9536"/>
                    </a:lnTo>
                    <a:lnTo>
                      <a:pt x="9866" y="9554"/>
                    </a:lnTo>
                    <a:lnTo>
                      <a:pt x="9856" y="9573"/>
                    </a:lnTo>
                    <a:lnTo>
                      <a:pt x="9844" y="9573"/>
                    </a:lnTo>
                    <a:lnTo>
                      <a:pt x="9830" y="9592"/>
                    </a:lnTo>
                    <a:lnTo>
                      <a:pt x="9814" y="9611"/>
                    </a:lnTo>
                    <a:lnTo>
                      <a:pt x="9796" y="9630"/>
                    </a:lnTo>
                    <a:lnTo>
                      <a:pt x="9776" y="9649"/>
                    </a:lnTo>
                    <a:lnTo>
                      <a:pt x="9841" y="9649"/>
                    </a:lnTo>
                    <a:lnTo>
                      <a:pt x="9884" y="9592"/>
                    </a:lnTo>
                    <a:lnTo>
                      <a:pt x="9911" y="9536"/>
                    </a:lnTo>
                    <a:lnTo>
                      <a:pt x="9916" y="9517"/>
                    </a:lnTo>
                    <a:lnTo>
                      <a:pt x="9920" y="9498"/>
                    </a:lnTo>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ts val="1400"/>
                  </a:lnSpc>
                  <a:spcBef>
                    <a:spcPts val="0"/>
                  </a:spcBef>
                  <a:spcAft>
                    <a:spcPct val="0"/>
                  </a:spcAft>
                  <a:buClrTx/>
                  <a:buSzTx/>
                  <a:buFontTx/>
                  <a:buNone/>
                  <a:tabLst/>
                  <a:defRPr/>
                </a:pPr>
                <a:endParaRPr kumimoji="0" lang="en-US" sz="1200" b="0" i="0" u="none" strike="noStrike" kern="0" cap="none" spc="0" normalizeH="0" baseline="0" noProof="0" dirty="0">
                  <a:ln>
                    <a:noFill/>
                  </a:ln>
                  <a:solidFill>
                    <a:srgbClr val="010024"/>
                  </a:solidFill>
                  <a:effectLst/>
                  <a:uLnTx/>
                  <a:uFillTx/>
                  <a:latin typeface="EYInterstate Regular" pitchFamily="1" charset="0"/>
                  <a:ea typeface="+mn-ea"/>
                  <a:cs typeface="+mn-cs"/>
                </a:endParaRPr>
              </a:p>
            </p:txBody>
          </p:sp>
          <p:sp>
            <p:nvSpPr>
              <p:cNvPr id="41" name="Freeform 22"/>
              <p:cNvSpPr>
                <a:spLocks/>
              </p:cNvSpPr>
              <p:nvPr/>
            </p:nvSpPr>
            <p:spPr bwMode="auto">
              <a:xfrm>
                <a:off x="3354" y="5573"/>
                <a:ext cx="17384" cy="10007"/>
              </a:xfrm>
              <a:custGeom>
                <a:avLst/>
                <a:gdLst>
                  <a:gd name="T0" fmla="+- 0 18772 3354"/>
                  <a:gd name="T1" fmla="*/ T0 w 17384"/>
                  <a:gd name="T2" fmla="+- 0 5592 5573"/>
                  <a:gd name="T3" fmla="*/ 5592 h 10007"/>
                  <a:gd name="T4" fmla="+- 0 5323 3354"/>
                  <a:gd name="T5" fmla="*/ T4 w 17384"/>
                  <a:gd name="T6" fmla="+- 0 5592 5573"/>
                  <a:gd name="T7" fmla="*/ 5592 h 10007"/>
                  <a:gd name="T8" fmla="+- 0 5285 3354"/>
                  <a:gd name="T9" fmla="*/ T8 w 17384"/>
                  <a:gd name="T10" fmla="+- 0 5611 5573"/>
                  <a:gd name="T11" fmla="*/ 5611 h 10007"/>
                  <a:gd name="T12" fmla="+- 0 5248 3354"/>
                  <a:gd name="T13" fmla="*/ T12 w 17384"/>
                  <a:gd name="T14" fmla="+- 0 5629 5573"/>
                  <a:gd name="T15" fmla="*/ 5629 h 10007"/>
                  <a:gd name="T16" fmla="+- 0 5212 3354"/>
                  <a:gd name="T17" fmla="*/ T16 w 17384"/>
                  <a:gd name="T18" fmla="+- 0 5648 5573"/>
                  <a:gd name="T19" fmla="*/ 5648 h 10007"/>
                  <a:gd name="T20" fmla="+- 0 5178 3354"/>
                  <a:gd name="T21" fmla="*/ T20 w 17384"/>
                  <a:gd name="T22" fmla="+- 0 5667 5573"/>
                  <a:gd name="T23" fmla="*/ 5667 h 10007"/>
                  <a:gd name="T24" fmla="+- 0 5147 3354"/>
                  <a:gd name="T25" fmla="*/ T24 w 17384"/>
                  <a:gd name="T26" fmla="+- 0 5705 5573"/>
                  <a:gd name="T27" fmla="*/ 5705 h 10007"/>
                  <a:gd name="T28" fmla="+- 0 5117 3354"/>
                  <a:gd name="T29" fmla="*/ T28 w 17384"/>
                  <a:gd name="T30" fmla="+- 0 5724 5573"/>
                  <a:gd name="T31" fmla="*/ 5724 h 10007"/>
                  <a:gd name="T32" fmla="+- 0 5089 3354"/>
                  <a:gd name="T33" fmla="*/ T32 w 17384"/>
                  <a:gd name="T34" fmla="+- 0 5761 5573"/>
                  <a:gd name="T35" fmla="*/ 5761 h 10007"/>
                  <a:gd name="T36" fmla="+- 0 5064 3354"/>
                  <a:gd name="T37" fmla="*/ T36 w 17384"/>
                  <a:gd name="T38" fmla="+- 0 5780 5573"/>
                  <a:gd name="T39" fmla="*/ 5780 h 10007"/>
                  <a:gd name="T40" fmla="+- 0 5041 3354"/>
                  <a:gd name="T41" fmla="*/ T40 w 17384"/>
                  <a:gd name="T42" fmla="+- 0 5818 5573"/>
                  <a:gd name="T43" fmla="*/ 5818 h 10007"/>
                  <a:gd name="T44" fmla="+- 0 5004 3354"/>
                  <a:gd name="T45" fmla="*/ T44 w 17384"/>
                  <a:gd name="T46" fmla="+- 0 5893 5573"/>
                  <a:gd name="T47" fmla="*/ 5893 h 10007"/>
                  <a:gd name="T48" fmla="+- 0 4978 3354"/>
                  <a:gd name="T49" fmla="*/ T48 w 17384"/>
                  <a:gd name="T50" fmla="+- 0 5969 5573"/>
                  <a:gd name="T51" fmla="*/ 5969 h 10007"/>
                  <a:gd name="T52" fmla="+- 0 4964 3354"/>
                  <a:gd name="T53" fmla="*/ T52 w 17384"/>
                  <a:gd name="T54" fmla="+- 0 6063 5573"/>
                  <a:gd name="T55" fmla="*/ 6063 h 10007"/>
                  <a:gd name="T56" fmla="+- 0 4962 3354"/>
                  <a:gd name="T57" fmla="*/ T56 w 17384"/>
                  <a:gd name="T58" fmla="+- 0 6101 5573"/>
                  <a:gd name="T59" fmla="*/ 6101 h 10007"/>
                  <a:gd name="T60" fmla="+- 0 4962 3354"/>
                  <a:gd name="T61" fmla="*/ T60 w 17384"/>
                  <a:gd name="T62" fmla="+- 0 14864 5573"/>
                  <a:gd name="T63" fmla="*/ 14864 h 10007"/>
                  <a:gd name="T64" fmla="+- 0 4969 3354"/>
                  <a:gd name="T65" fmla="*/ T64 w 17384"/>
                  <a:gd name="T66" fmla="+- 0 14939 5573"/>
                  <a:gd name="T67" fmla="*/ 14939 h 10007"/>
                  <a:gd name="T68" fmla="+- 0 4987 3354"/>
                  <a:gd name="T69" fmla="*/ T68 w 17384"/>
                  <a:gd name="T70" fmla="+- 0 15014 5573"/>
                  <a:gd name="T71" fmla="*/ 15014 h 10007"/>
                  <a:gd name="T72" fmla="+- 0 3382 3354"/>
                  <a:gd name="T73" fmla="*/ T72 w 17384"/>
                  <a:gd name="T74" fmla="+- 0 15033 5573"/>
                  <a:gd name="T75" fmla="*/ 15033 h 10007"/>
                  <a:gd name="T76" fmla="+- 0 5030 3354"/>
                  <a:gd name="T77" fmla="*/ T76 w 17384"/>
                  <a:gd name="T78" fmla="+- 0 15033 5573"/>
                  <a:gd name="T79" fmla="*/ 15033 h 10007"/>
                  <a:gd name="T80" fmla="+- 0 5024 3354"/>
                  <a:gd name="T81" fmla="*/ T80 w 17384"/>
                  <a:gd name="T82" fmla="+- 0 15014 5573"/>
                  <a:gd name="T83" fmla="*/ 15014 h 10007"/>
                  <a:gd name="T84" fmla="+- 0 5018 3354"/>
                  <a:gd name="T85" fmla="*/ T84 w 17384"/>
                  <a:gd name="T86" fmla="+- 0 14995 5573"/>
                  <a:gd name="T87" fmla="*/ 14995 h 10007"/>
                  <a:gd name="T88" fmla="+- 0 5002 3354"/>
                  <a:gd name="T89" fmla="*/ T88 w 17384"/>
                  <a:gd name="T90" fmla="+- 0 14920 5573"/>
                  <a:gd name="T91" fmla="*/ 14920 h 10007"/>
                  <a:gd name="T92" fmla="+- 0 4999 3354"/>
                  <a:gd name="T93" fmla="*/ T92 w 17384"/>
                  <a:gd name="T94" fmla="+- 0 14864 5573"/>
                  <a:gd name="T95" fmla="*/ 14864 h 10007"/>
                  <a:gd name="T96" fmla="+- 0 4999 3354"/>
                  <a:gd name="T97" fmla="*/ T96 w 17384"/>
                  <a:gd name="T98" fmla="+- 0 6101 5573"/>
                  <a:gd name="T99" fmla="*/ 6101 h 10007"/>
                  <a:gd name="T100" fmla="+- 0 5005 3354"/>
                  <a:gd name="T101" fmla="*/ T100 w 17384"/>
                  <a:gd name="T102" fmla="+- 0 6025 5573"/>
                  <a:gd name="T103" fmla="*/ 6025 h 10007"/>
                  <a:gd name="T104" fmla="+- 0 5024 3354"/>
                  <a:gd name="T105" fmla="*/ T104 w 17384"/>
                  <a:gd name="T106" fmla="+- 0 5950 5573"/>
                  <a:gd name="T107" fmla="*/ 5950 h 10007"/>
                  <a:gd name="T108" fmla="+- 0 5054 3354"/>
                  <a:gd name="T109" fmla="*/ T108 w 17384"/>
                  <a:gd name="T110" fmla="+- 0 5874 5573"/>
                  <a:gd name="T111" fmla="*/ 5874 h 10007"/>
                  <a:gd name="T112" fmla="+- 0 5094 3354"/>
                  <a:gd name="T113" fmla="*/ T112 w 17384"/>
                  <a:gd name="T114" fmla="+- 0 5818 5573"/>
                  <a:gd name="T115" fmla="*/ 5818 h 10007"/>
                  <a:gd name="T116" fmla="+- 0 5117 3354"/>
                  <a:gd name="T117" fmla="*/ T116 w 17384"/>
                  <a:gd name="T118" fmla="+- 0 5780 5573"/>
                  <a:gd name="T119" fmla="*/ 5780 h 10007"/>
                  <a:gd name="T120" fmla="+- 0 5143 3354"/>
                  <a:gd name="T121" fmla="*/ T120 w 17384"/>
                  <a:gd name="T122" fmla="+- 0 5761 5573"/>
                  <a:gd name="T123" fmla="*/ 5761 h 10007"/>
                  <a:gd name="T124" fmla="+- 0 5170 3354"/>
                  <a:gd name="T125" fmla="*/ T124 w 17384"/>
                  <a:gd name="T126" fmla="+- 0 5724 5573"/>
                  <a:gd name="T127" fmla="*/ 5724 h 10007"/>
                  <a:gd name="T128" fmla="+- 0 5200 3354"/>
                  <a:gd name="T129" fmla="*/ T128 w 17384"/>
                  <a:gd name="T130" fmla="+- 0 5705 5573"/>
                  <a:gd name="T131" fmla="*/ 5705 h 10007"/>
                  <a:gd name="T132" fmla="+- 0 5231 3354"/>
                  <a:gd name="T133" fmla="*/ T132 w 17384"/>
                  <a:gd name="T134" fmla="+- 0 5686 5573"/>
                  <a:gd name="T135" fmla="*/ 5686 h 10007"/>
                  <a:gd name="T136" fmla="+- 0 5264 3354"/>
                  <a:gd name="T137" fmla="*/ T136 w 17384"/>
                  <a:gd name="T138" fmla="+- 0 5667 5573"/>
                  <a:gd name="T139" fmla="*/ 5667 h 10007"/>
                  <a:gd name="T140" fmla="+- 0 5299 3354"/>
                  <a:gd name="T141" fmla="*/ T140 w 17384"/>
                  <a:gd name="T142" fmla="+- 0 5648 5573"/>
                  <a:gd name="T143" fmla="*/ 5648 h 10007"/>
                  <a:gd name="T144" fmla="+- 0 5335 3354"/>
                  <a:gd name="T145" fmla="*/ T144 w 17384"/>
                  <a:gd name="T146" fmla="+- 0 5629 5573"/>
                  <a:gd name="T147" fmla="*/ 5629 h 10007"/>
                  <a:gd name="T148" fmla="+- 0 5372 3354"/>
                  <a:gd name="T149" fmla="*/ T148 w 17384"/>
                  <a:gd name="T150" fmla="+- 0 5629 5573"/>
                  <a:gd name="T151" fmla="*/ 5629 h 10007"/>
                  <a:gd name="T152" fmla="+- 0 5410 3354"/>
                  <a:gd name="T153" fmla="*/ T152 w 17384"/>
                  <a:gd name="T154" fmla="+- 0 5611 5573"/>
                  <a:gd name="T155" fmla="*/ 5611 h 10007"/>
                  <a:gd name="T156" fmla="+- 0 18810 3354"/>
                  <a:gd name="T157" fmla="*/ T156 w 17384"/>
                  <a:gd name="T158" fmla="+- 0 5611 5573"/>
                  <a:gd name="T159" fmla="*/ 5611 h 10007"/>
                  <a:gd name="T160" fmla="+- 0 18772 3354"/>
                  <a:gd name="T161" fmla="*/ T160 w 17384"/>
                  <a:gd name="T162" fmla="+- 0 5592 5573"/>
                  <a:gd name="T163" fmla="*/ 5592 h 10007"/>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 ang="0">
                    <a:pos x="T41" y="T43"/>
                  </a:cxn>
                  <a:cxn ang="0">
                    <a:pos x="T45" y="T47"/>
                  </a:cxn>
                  <a:cxn ang="0">
                    <a:pos x="T49" y="T51"/>
                  </a:cxn>
                  <a:cxn ang="0">
                    <a:pos x="T53" y="T55"/>
                  </a:cxn>
                  <a:cxn ang="0">
                    <a:pos x="T57" y="T59"/>
                  </a:cxn>
                  <a:cxn ang="0">
                    <a:pos x="T61" y="T63"/>
                  </a:cxn>
                  <a:cxn ang="0">
                    <a:pos x="T65" y="T67"/>
                  </a:cxn>
                  <a:cxn ang="0">
                    <a:pos x="T69" y="T71"/>
                  </a:cxn>
                  <a:cxn ang="0">
                    <a:pos x="T73" y="T75"/>
                  </a:cxn>
                  <a:cxn ang="0">
                    <a:pos x="T77" y="T79"/>
                  </a:cxn>
                  <a:cxn ang="0">
                    <a:pos x="T81" y="T83"/>
                  </a:cxn>
                  <a:cxn ang="0">
                    <a:pos x="T85" y="T87"/>
                  </a:cxn>
                  <a:cxn ang="0">
                    <a:pos x="T89" y="T91"/>
                  </a:cxn>
                  <a:cxn ang="0">
                    <a:pos x="T93" y="T95"/>
                  </a:cxn>
                  <a:cxn ang="0">
                    <a:pos x="T97" y="T99"/>
                  </a:cxn>
                  <a:cxn ang="0">
                    <a:pos x="T101" y="T103"/>
                  </a:cxn>
                  <a:cxn ang="0">
                    <a:pos x="T105" y="T107"/>
                  </a:cxn>
                  <a:cxn ang="0">
                    <a:pos x="T109" y="T111"/>
                  </a:cxn>
                  <a:cxn ang="0">
                    <a:pos x="T113" y="T115"/>
                  </a:cxn>
                  <a:cxn ang="0">
                    <a:pos x="T117" y="T119"/>
                  </a:cxn>
                  <a:cxn ang="0">
                    <a:pos x="T121" y="T123"/>
                  </a:cxn>
                  <a:cxn ang="0">
                    <a:pos x="T125" y="T127"/>
                  </a:cxn>
                  <a:cxn ang="0">
                    <a:pos x="T129" y="T131"/>
                  </a:cxn>
                  <a:cxn ang="0">
                    <a:pos x="T133" y="T135"/>
                  </a:cxn>
                  <a:cxn ang="0">
                    <a:pos x="T137" y="T139"/>
                  </a:cxn>
                  <a:cxn ang="0">
                    <a:pos x="T141" y="T143"/>
                  </a:cxn>
                  <a:cxn ang="0">
                    <a:pos x="T145" y="T147"/>
                  </a:cxn>
                  <a:cxn ang="0">
                    <a:pos x="T149" y="T151"/>
                  </a:cxn>
                  <a:cxn ang="0">
                    <a:pos x="T153" y="T155"/>
                  </a:cxn>
                  <a:cxn ang="0">
                    <a:pos x="T157" y="T159"/>
                  </a:cxn>
                  <a:cxn ang="0">
                    <a:pos x="T161" y="T163"/>
                  </a:cxn>
                </a:cxnLst>
                <a:rect l="0" t="0" r="r" b="b"/>
                <a:pathLst>
                  <a:path w="17384" h="10007">
                    <a:moveTo>
                      <a:pt x="15418" y="19"/>
                    </a:moveTo>
                    <a:lnTo>
                      <a:pt x="1969" y="19"/>
                    </a:lnTo>
                    <a:lnTo>
                      <a:pt x="1931" y="38"/>
                    </a:lnTo>
                    <a:lnTo>
                      <a:pt x="1894" y="56"/>
                    </a:lnTo>
                    <a:lnTo>
                      <a:pt x="1858" y="75"/>
                    </a:lnTo>
                    <a:lnTo>
                      <a:pt x="1824" y="94"/>
                    </a:lnTo>
                    <a:lnTo>
                      <a:pt x="1793" y="132"/>
                    </a:lnTo>
                    <a:lnTo>
                      <a:pt x="1763" y="151"/>
                    </a:lnTo>
                    <a:lnTo>
                      <a:pt x="1735" y="188"/>
                    </a:lnTo>
                    <a:lnTo>
                      <a:pt x="1710" y="207"/>
                    </a:lnTo>
                    <a:lnTo>
                      <a:pt x="1687" y="245"/>
                    </a:lnTo>
                    <a:lnTo>
                      <a:pt x="1650" y="320"/>
                    </a:lnTo>
                    <a:lnTo>
                      <a:pt x="1624" y="396"/>
                    </a:lnTo>
                    <a:lnTo>
                      <a:pt x="1610" y="490"/>
                    </a:lnTo>
                    <a:lnTo>
                      <a:pt x="1608" y="528"/>
                    </a:lnTo>
                    <a:lnTo>
                      <a:pt x="1608" y="9291"/>
                    </a:lnTo>
                    <a:lnTo>
                      <a:pt x="1615" y="9366"/>
                    </a:lnTo>
                    <a:lnTo>
                      <a:pt x="1633" y="9441"/>
                    </a:lnTo>
                    <a:lnTo>
                      <a:pt x="28" y="9460"/>
                    </a:lnTo>
                    <a:lnTo>
                      <a:pt x="1676" y="9460"/>
                    </a:lnTo>
                    <a:lnTo>
                      <a:pt x="1670" y="9441"/>
                    </a:lnTo>
                    <a:lnTo>
                      <a:pt x="1664" y="9422"/>
                    </a:lnTo>
                    <a:lnTo>
                      <a:pt x="1648" y="9347"/>
                    </a:lnTo>
                    <a:lnTo>
                      <a:pt x="1645" y="9291"/>
                    </a:lnTo>
                    <a:lnTo>
                      <a:pt x="1645" y="528"/>
                    </a:lnTo>
                    <a:lnTo>
                      <a:pt x="1651" y="452"/>
                    </a:lnTo>
                    <a:lnTo>
                      <a:pt x="1670" y="377"/>
                    </a:lnTo>
                    <a:lnTo>
                      <a:pt x="1700" y="301"/>
                    </a:lnTo>
                    <a:lnTo>
                      <a:pt x="1740" y="245"/>
                    </a:lnTo>
                    <a:lnTo>
                      <a:pt x="1763" y="207"/>
                    </a:lnTo>
                    <a:lnTo>
                      <a:pt x="1789" y="188"/>
                    </a:lnTo>
                    <a:lnTo>
                      <a:pt x="1816" y="151"/>
                    </a:lnTo>
                    <a:lnTo>
                      <a:pt x="1846" y="132"/>
                    </a:lnTo>
                    <a:lnTo>
                      <a:pt x="1877" y="113"/>
                    </a:lnTo>
                    <a:lnTo>
                      <a:pt x="1910" y="94"/>
                    </a:lnTo>
                    <a:lnTo>
                      <a:pt x="1945" y="75"/>
                    </a:lnTo>
                    <a:lnTo>
                      <a:pt x="1981" y="56"/>
                    </a:lnTo>
                    <a:lnTo>
                      <a:pt x="2018" y="56"/>
                    </a:lnTo>
                    <a:lnTo>
                      <a:pt x="2056" y="38"/>
                    </a:lnTo>
                    <a:lnTo>
                      <a:pt x="15456" y="38"/>
                    </a:lnTo>
                    <a:lnTo>
                      <a:pt x="15418" y="19"/>
                    </a:lnTo>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ts val="1400"/>
                  </a:lnSpc>
                  <a:spcBef>
                    <a:spcPts val="0"/>
                  </a:spcBef>
                  <a:spcAft>
                    <a:spcPct val="0"/>
                  </a:spcAft>
                  <a:buClrTx/>
                  <a:buSzTx/>
                  <a:buFontTx/>
                  <a:buNone/>
                  <a:tabLst/>
                  <a:defRPr/>
                </a:pPr>
                <a:endParaRPr kumimoji="0" lang="en-US" sz="1200" b="0" i="0" u="none" strike="noStrike" kern="0" cap="none" spc="0" normalizeH="0" baseline="0" noProof="0" dirty="0">
                  <a:ln>
                    <a:noFill/>
                  </a:ln>
                  <a:solidFill>
                    <a:srgbClr val="010024"/>
                  </a:solidFill>
                  <a:effectLst/>
                  <a:uLnTx/>
                  <a:uFillTx/>
                  <a:latin typeface="EYInterstate Regular" pitchFamily="1" charset="0"/>
                  <a:ea typeface="+mn-ea"/>
                  <a:cs typeface="+mn-cs"/>
                </a:endParaRPr>
              </a:p>
            </p:txBody>
          </p:sp>
          <p:sp>
            <p:nvSpPr>
              <p:cNvPr id="42" name="Freeform 23"/>
              <p:cNvSpPr>
                <a:spLocks/>
              </p:cNvSpPr>
              <p:nvPr/>
            </p:nvSpPr>
            <p:spPr bwMode="auto">
              <a:xfrm>
                <a:off x="3354" y="5573"/>
                <a:ext cx="17384" cy="10007"/>
              </a:xfrm>
              <a:custGeom>
                <a:avLst/>
                <a:gdLst>
                  <a:gd name="T0" fmla="+- 0 6506 3354"/>
                  <a:gd name="T1" fmla="*/ T0 w 17384"/>
                  <a:gd name="T2" fmla="+- 0 14826 5573"/>
                  <a:gd name="T3" fmla="*/ 14826 h 10007"/>
                  <a:gd name="T4" fmla="+- 0 6468 3354"/>
                  <a:gd name="T5" fmla="*/ T4 w 17384"/>
                  <a:gd name="T6" fmla="+- 0 14826 5573"/>
                  <a:gd name="T7" fmla="*/ 14826 h 10007"/>
                  <a:gd name="T8" fmla="+- 0 6425 3354"/>
                  <a:gd name="T9" fmla="*/ T8 w 17384"/>
                  <a:gd name="T10" fmla="+- 0 15014 5573"/>
                  <a:gd name="T11" fmla="*/ 15014 h 10007"/>
                  <a:gd name="T12" fmla="+- 0 6424 3354"/>
                  <a:gd name="T13" fmla="*/ T12 w 17384"/>
                  <a:gd name="T14" fmla="+- 0 15033 5573"/>
                  <a:gd name="T15" fmla="*/ 15033 h 10007"/>
                  <a:gd name="T16" fmla="+- 0 6461 3354"/>
                  <a:gd name="T17" fmla="*/ T16 w 17384"/>
                  <a:gd name="T18" fmla="+- 0 15033 5573"/>
                  <a:gd name="T19" fmla="*/ 15033 h 10007"/>
                  <a:gd name="T20" fmla="+- 0 6506 3354"/>
                  <a:gd name="T21" fmla="*/ T20 w 17384"/>
                  <a:gd name="T22" fmla="+- 0 14826 5573"/>
                  <a:gd name="T23" fmla="*/ 14826 h 10007"/>
                </a:gdLst>
                <a:ahLst/>
                <a:cxnLst>
                  <a:cxn ang="0">
                    <a:pos x="T1" y="T3"/>
                  </a:cxn>
                  <a:cxn ang="0">
                    <a:pos x="T5" y="T7"/>
                  </a:cxn>
                  <a:cxn ang="0">
                    <a:pos x="T9" y="T11"/>
                  </a:cxn>
                  <a:cxn ang="0">
                    <a:pos x="T13" y="T15"/>
                  </a:cxn>
                  <a:cxn ang="0">
                    <a:pos x="T17" y="T19"/>
                  </a:cxn>
                  <a:cxn ang="0">
                    <a:pos x="T21" y="T23"/>
                  </a:cxn>
                </a:cxnLst>
                <a:rect l="0" t="0" r="r" b="b"/>
                <a:pathLst>
                  <a:path w="17384" h="10007">
                    <a:moveTo>
                      <a:pt x="3152" y="9253"/>
                    </a:moveTo>
                    <a:lnTo>
                      <a:pt x="3114" y="9253"/>
                    </a:lnTo>
                    <a:lnTo>
                      <a:pt x="3071" y="9441"/>
                    </a:lnTo>
                    <a:lnTo>
                      <a:pt x="3070" y="9460"/>
                    </a:lnTo>
                    <a:lnTo>
                      <a:pt x="3107" y="9460"/>
                    </a:lnTo>
                    <a:lnTo>
                      <a:pt x="3152" y="9253"/>
                    </a:lnTo>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ts val="1400"/>
                  </a:lnSpc>
                  <a:spcBef>
                    <a:spcPts val="0"/>
                  </a:spcBef>
                  <a:spcAft>
                    <a:spcPct val="0"/>
                  </a:spcAft>
                  <a:buClrTx/>
                  <a:buSzTx/>
                  <a:buFontTx/>
                  <a:buNone/>
                  <a:tabLst/>
                  <a:defRPr/>
                </a:pPr>
                <a:endParaRPr kumimoji="0" lang="en-US" sz="1200" b="0" i="0" u="none" strike="noStrike" kern="0" cap="none" spc="0" normalizeH="0" baseline="0" noProof="0" dirty="0">
                  <a:ln>
                    <a:noFill/>
                  </a:ln>
                  <a:solidFill>
                    <a:srgbClr val="010024"/>
                  </a:solidFill>
                  <a:effectLst/>
                  <a:uLnTx/>
                  <a:uFillTx/>
                  <a:latin typeface="EYInterstate Regular" pitchFamily="1" charset="0"/>
                  <a:ea typeface="+mn-ea"/>
                  <a:cs typeface="+mn-cs"/>
                </a:endParaRPr>
              </a:p>
            </p:txBody>
          </p:sp>
          <p:sp>
            <p:nvSpPr>
              <p:cNvPr id="43" name="Freeform 24"/>
              <p:cNvSpPr>
                <a:spLocks/>
              </p:cNvSpPr>
              <p:nvPr/>
            </p:nvSpPr>
            <p:spPr bwMode="auto">
              <a:xfrm>
                <a:off x="3354" y="5573"/>
                <a:ext cx="17384" cy="10007"/>
              </a:xfrm>
              <a:custGeom>
                <a:avLst/>
                <a:gdLst>
                  <a:gd name="T0" fmla="+- 0 17584 3354"/>
                  <a:gd name="T1" fmla="*/ T0 w 17384"/>
                  <a:gd name="T2" fmla="+- 0 14826 5573"/>
                  <a:gd name="T3" fmla="*/ 14826 h 10007"/>
                  <a:gd name="T4" fmla="+- 0 17547 3354"/>
                  <a:gd name="T5" fmla="*/ T4 w 17384"/>
                  <a:gd name="T6" fmla="+- 0 14826 5573"/>
                  <a:gd name="T7" fmla="*/ 14826 h 10007"/>
                  <a:gd name="T8" fmla="+- 0 17592 3354"/>
                  <a:gd name="T9" fmla="*/ T8 w 17384"/>
                  <a:gd name="T10" fmla="+- 0 15033 5573"/>
                  <a:gd name="T11" fmla="*/ 15033 h 10007"/>
                  <a:gd name="T12" fmla="+- 0 17629 3354"/>
                  <a:gd name="T13" fmla="*/ T12 w 17384"/>
                  <a:gd name="T14" fmla="+- 0 15033 5573"/>
                  <a:gd name="T15" fmla="*/ 15033 h 10007"/>
                  <a:gd name="T16" fmla="+- 0 17627 3354"/>
                  <a:gd name="T17" fmla="*/ T16 w 17384"/>
                  <a:gd name="T18" fmla="+- 0 15014 5573"/>
                  <a:gd name="T19" fmla="*/ 15014 h 10007"/>
                  <a:gd name="T20" fmla="+- 0 17584 3354"/>
                  <a:gd name="T21" fmla="*/ T20 w 17384"/>
                  <a:gd name="T22" fmla="+- 0 14826 5573"/>
                  <a:gd name="T23" fmla="*/ 14826 h 10007"/>
                </a:gdLst>
                <a:ahLst/>
                <a:cxnLst>
                  <a:cxn ang="0">
                    <a:pos x="T1" y="T3"/>
                  </a:cxn>
                  <a:cxn ang="0">
                    <a:pos x="T5" y="T7"/>
                  </a:cxn>
                  <a:cxn ang="0">
                    <a:pos x="T9" y="T11"/>
                  </a:cxn>
                  <a:cxn ang="0">
                    <a:pos x="T13" y="T15"/>
                  </a:cxn>
                  <a:cxn ang="0">
                    <a:pos x="T17" y="T19"/>
                  </a:cxn>
                  <a:cxn ang="0">
                    <a:pos x="T21" y="T23"/>
                  </a:cxn>
                </a:cxnLst>
                <a:rect l="0" t="0" r="r" b="b"/>
                <a:pathLst>
                  <a:path w="17384" h="10007">
                    <a:moveTo>
                      <a:pt x="14230" y="9253"/>
                    </a:moveTo>
                    <a:lnTo>
                      <a:pt x="14193" y="9253"/>
                    </a:lnTo>
                    <a:lnTo>
                      <a:pt x="14238" y="9460"/>
                    </a:lnTo>
                    <a:lnTo>
                      <a:pt x="14275" y="9460"/>
                    </a:lnTo>
                    <a:lnTo>
                      <a:pt x="14273" y="9441"/>
                    </a:lnTo>
                    <a:lnTo>
                      <a:pt x="14230" y="9253"/>
                    </a:lnTo>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ts val="1400"/>
                  </a:lnSpc>
                  <a:spcBef>
                    <a:spcPts val="0"/>
                  </a:spcBef>
                  <a:spcAft>
                    <a:spcPct val="0"/>
                  </a:spcAft>
                  <a:buClrTx/>
                  <a:buSzTx/>
                  <a:buFontTx/>
                  <a:buNone/>
                  <a:tabLst/>
                  <a:defRPr/>
                </a:pPr>
                <a:endParaRPr kumimoji="0" lang="en-US" sz="1200" b="0" i="0" u="none" strike="noStrike" kern="0" cap="none" spc="0" normalizeH="0" baseline="0" noProof="0" dirty="0">
                  <a:ln>
                    <a:noFill/>
                  </a:ln>
                  <a:solidFill>
                    <a:srgbClr val="010024"/>
                  </a:solidFill>
                  <a:effectLst/>
                  <a:uLnTx/>
                  <a:uFillTx/>
                  <a:latin typeface="EYInterstate Regular" pitchFamily="1" charset="0"/>
                  <a:ea typeface="+mn-ea"/>
                  <a:cs typeface="+mn-cs"/>
                </a:endParaRPr>
              </a:p>
            </p:txBody>
          </p:sp>
          <p:sp>
            <p:nvSpPr>
              <p:cNvPr id="44" name="Freeform 25"/>
              <p:cNvSpPr>
                <a:spLocks/>
              </p:cNvSpPr>
              <p:nvPr/>
            </p:nvSpPr>
            <p:spPr bwMode="auto">
              <a:xfrm>
                <a:off x="3354" y="5573"/>
                <a:ext cx="17384" cy="10007"/>
              </a:xfrm>
              <a:custGeom>
                <a:avLst/>
                <a:gdLst>
                  <a:gd name="T0" fmla="+- 0 18810 3354"/>
                  <a:gd name="T1" fmla="*/ T0 w 17384"/>
                  <a:gd name="T2" fmla="+- 0 5611 5573"/>
                  <a:gd name="T3" fmla="*/ 5611 h 10007"/>
                  <a:gd name="T4" fmla="+- 0 18685 3354"/>
                  <a:gd name="T5" fmla="*/ T4 w 17384"/>
                  <a:gd name="T6" fmla="+- 0 5611 5573"/>
                  <a:gd name="T7" fmla="*/ 5611 h 10007"/>
                  <a:gd name="T8" fmla="+- 0 18723 3354"/>
                  <a:gd name="T9" fmla="*/ T8 w 17384"/>
                  <a:gd name="T10" fmla="+- 0 5629 5573"/>
                  <a:gd name="T11" fmla="*/ 5629 h 10007"/>
                  <a:gd name="T12" fmla="+- 0 18760 3354"/>
                  <a:gd name="T13" fmla="*/ T12 w 17384"/>
                  <a:gd name="T14" fmla="+- 0 5629 5573"/>
                  <a:gd name="T15" fmla="*/ 5629 h 10007"/>
                  <a:gd name="T16" fmla="+- 0 18796 3354"/>
                  <a:gd name="T17" fmla="*/ T16 w 17384"/>
                  <a:gd name="T18" fmla="+- 0 5648 5573"/>
                  <a:gd name="T19" fmla="*/ 5648 h 10007"/>
                  <a:gd name="T20" fmla="+- 0 18863 3354"/>
                  <a:gd name="T21" fmla="*/ T20 w 17384"/>
                  <a:gd name="T22" fmla="+- 0 5686 5573"/>
                  <a:gd name="T23" fmla="*/ 5686 h 10007"/>
                  <a:gd name="T24" fmla="+- 0 18924 3354"/>
                  <a:gd name="T25" fmla="*/ T24 w 17384"/>
                  <a:gd name="T26" fmla="+- 0 5724 5573"/>
                  <a:gd name="T27" fmla="*/ 5724 h 10007"/>
                  <a:gd name="T28" fmla="+- 0 18952 3354"/>
                  <a:gd name="T29" fmla="*/ T28 w 17384"/>
                  <a:gd name="T30" fmla="+- 0 5761 5573"/>
                  <a:gd name="T31" fmla="*/ 5761 h 10007"/>
                  <a:gd name="T32" fmla="+- 0 18978 3354"/>
                  <a:gd name="T33" fmla="*/ T32 w 17384"/>
                  <a:gd name="T34" fmla="+- 0 5780 5573"/>
                  <a:gd name="T35" fmla="*/ 5780 h 10007"/>
                  <a:gd name="T36" fmla="+- 0 19001 3354"/>
                  <a:gd name="T37" fmla="*/ T36 w 17384"/>
                  <a:gd name="T38" fmla="+- 0 5818 5573"/>
                  <a:gd name="T39" fmla="*/ 5818 h 10007"/>
                  <a:gd name="T40" fmla="+- 0 19022 3354"/>
                  <a:gd name="T41" fmla="*/ T40 w 17384"/>
                  <a:gd name="T42" fmla="+- 0 5837 5573"/>
                  <a:gd name="T43" fmla="*/ 5837 h 10007"/>
                  <a:gd name="T44" fmla="+- 0 19041 3354"/>
                  <a:gd name="T45" fmla="*/ T44 w 17384"/>
                  <a:gd name="T46" fmla="+- 0 5874 5573"/>
                  <a:gd name="T47" fmla="*/ 5874 h 10007"/>
                  <a:gd name="T48" fmla="+- 0 19071 3354"/>
                  <a:gd name="T49" fmla="*/ T48 w 17384"/>
                  <a:gd name="T50" fmla="+- 0 5950 5573"/>
                  <a:gd name="T51" fmla="*/ 5950 h 10007"/>
                  <a:gd name="T52" fmla="+- 0 19089 3354"/>
                  <a:gd name="T53" fmla="*/ T52 w 17384"/>
                  <a:gd name="T54" fmla="+- 0 6025 5573"/>
                  <a:gd name="T55" fmla="*/ 6025 h 10007"/>
                  <a:gd name="T56" fmla="+- 0 19096 3354"/>
                  <a:gd name="T57" fmla="*/ T56 w 17384"/>
                  <a:gd name="T58" fmla="+- 0 6101 5573"/>
                  <a:gd name="T59" fmla="*/ 6101 h 10007"/>
                  <a:gd name="T60" fmla="+- 0 19096 3354"/>
                  <a:gd name="T61" fmla="*/ T60 w 17384"/>
                  <a:gd name="T62" fmla="+- 0 14864 5573"/>
                  <a:gd name="T63" fmla="*/ 14864 h 10007"/>
                  <a:gd name="T64" fmla="+- 0 19089 3354"/>
                  <a:gd name="T65" fmla="*/ T64 w 17384"/>
                  <a:gd name="T66" fmla="+- 0 14939 5573"/>
                  <a:gd name="T67" fmla="*/ 14939 h 10007"/>
                  <a:gd name="T68" fmla="+- 0 19069 3354"/>
                  <a:gd name="T69" fmla="*/ T68 w 17384"/>
                  <a:gd name="T70" fmla="+- 0 15014 5573"/>
                  <a:gd name="T71" fmla="*/ 15014 h 10007"/>
                  <a:gd name="T72" fmla="+- 0 17629 3354"/>
                  <a:gd name="T73" fmla="*/ T72 w 17384"/>
                  <a:gd name="T74" fmla="+- 0 15033 5573"/>
                  <a:gd name="T75" fmla="*/ 15033 h 10007"/>
                  <a:gd name="T76" fmla="+- 0 19104 3354"/>
                  <a:gd name="T77" fmla="*/ T76 w 17384"/>
                  <a:gd name="T78" fmla="+- 0 15033 5573"/>
                  <a:gd name="T79" fmla="*/ 15033 h 10007"/>
                  <a:gd name="T80" fmla="+- 0 19124 3354"/>
                  <a:gd name="T81" fmla="*/ T80 w 17384"/>
                  <a:gd name="T82" fmla="+- 0 14958 5573"/>
                  <a:gd name="T83" fmla="*/ 14958 h 10007"/>
                  <a:gd name="T84" fmla="+- 0 19132 3354"/>
                  <a:gd name="T85" fmla="*/ T84 w 17384"/>
                  <a:gd name="T86" fmla="+- 0 14882 5573"/>
                  <a:gd name="T87" fmla="*/ 14882 h 10007"/>
                  <a:gd name="T88" fmla="+- 0 19132 3354"/>
                  <a:gd name="T89" fmla="*/ T88 w 17384"/>
                  <a:gd name="T90" fmla="+- 0 6101 5573"/>
                  <a:gd name="T91" fmla="*/ 6101 h 10007"/>
                  <a:gd name="T92" fmla="+- 0 19131 3354"/>
                  <a:gd name="T93" fmla="*/ T92 w 17384"/>
                  <a:gd name="T94" fmla="+- 0 6063 5573"/>
                  <a:gd name="T95" fmla="*/ 6063 h 10007"/>
                  <a:gd name="T96" fmla="+- 0 19117 3354"/>
                  <a:gd name="T97" fmla="*/ T96 w 17384"/>
                  <a:gd name="T98" fmla="+- 0 5969 5573"/>
                  <a:gd name="T99" fmla="*/ 5969 h 10007"/>
                  <a:gd name="T100" fmla="+- 0 19091 3354"/>
                  <a:gd name="T101" fmla="*/ T100 w 17384"/>
                  <a:gd name="T102" fmla="+- 0 5893 5573"/>
                  <a:gd name="T103" fmla="*/ 5893 h 10007"/>
                  <a:gd name="T104" fmla="+- 0 19053 3354"/>
                  <a:gd name="T105" fmla="*/ T104 w 17384"/>
                  <a:gd name="T106" fmla="+- 0 5818 5573"/>
                  <a:gd name="T107" fmla="*/ 5818 h 10007"/>
                  <a:gd name="T108" fmla="+- 0 19005 3354"/>
                  <a:gd name="T109" fmla="*/ T108 w 17384"/>
                  <a:gd name="T110" fmla="+- 0 5761 5573"/>
                  <a:gd name="T111" fmla="*/ 5761 h 10007"/>
                  <a:gd name="T112" fmla="+- 0 18978 3354"/>
                  <a:gd name="T113" fmla="*/ T112 w 17384"/>
                  <a:gd name="T114" fmla="+- 0 5724 5573"/>
                  <a:gd name="T115" fmla="*/ 5724 h 10007"/>
                  <a:gd name="T116" fmla="+- 0 18948 3354"/>
                  <a:gd name="T117" fmla="*/ T116 w 17384"/>
                  <a:gd name="T118" fmla="+- 0 5705 5573"/>
                  <a:gd name="T119" fmla="*/ 5705 h 10007"/>
                  <a:gd name="T120" fmla="+- 0 18916 3354"/>
                  <a:gd name="T121" fmla="*/ T120 w 17384"/>
                  <a:gd name="T122" fmla="+- 0 5667 5573"/>
                  <a:gd name="T123" fmla="*/ 5667 h 10007"/>
                  <a:gd name="T124" fmla="+- 0 18883 3354"/>
                  <a:gd name="T125" fmla="*/ T124 w 17384"/>
                  <a:gd name="T126" fmla="+- 0 5648 5573"/>
                  <a:gd name="T127" fmla="*/ 5648 h 10007"/>
                  <a:gd name="T128" fmla="+- 0 18847 3354"/>
                  <a:gd name="T129" fmla="*/ T128 w 17384"/>
                  <a:gd name="T130" fmla="+- 0 5629 5573"/>
                  <a:gd name="T131" fmla="*/ 5629 h 10007"/>
                  <a:gd name="T132" fmla="+- 0 18810 3354"/>
                  <a:gd name="T133" fmla="*/ T132 w 17384"/>
                  <a:gd name="T134" fmla="+- 0 5611 5573"/>
                  <a:gd name="T135" fmla="*/ 5611 h 10007"/>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 ang="0">
                    <a:pos x="T41" y="T43"/>
                  </a:cxn>
                  <a:cxn ang="0">
                    <a:pos x="T45" y="T47"/>
                  </a:cxn>
                  <a:cxn ang="0">
                    <a:pos x="T49" y="T51"/>
                  </a:cxn>
                  <a:cxn ang="0">
                    <a:pos x="T53" y="T55"/>
                  </a:cxn>
                  <a:cxn ang="0">
                    <a:pos x="T57" y="T59"/>
                  </a:cxn>
                  <a:cxn ang="0">
                    <a:pos x="T61" y="T63"/>
                  </a:cxn>
                  <a:cxn ang="0">
                    <a:pos x="T65" y="T67"/>
                  </a:cxn>
                  <a:cxn ang="0">
                    <a:pos x="T69" y="T71"/>
                  </a:cxn>
                  <a:cxn ang="0">
                    <a:pos x="T73" y="T75"/>
                  </a:cxn>
                  <a:cxn ang="0">
                    <a:pos x="T77" y="T79"/>
                  </a:cxn>
                  <a:cxn ang="0">
                    <a:pos x="T81" y="T83"/>
                  </a:cxn>
                  <a:cxn ang="0">
                    <a:pos x="T85" y="T87"/>
                  </a:cxn>
                  <a:cxn ang="0">
                    <a:pos x="T89" y="T91"/>
                  </a:cxn>
                  <a:cxn ang="0">
                    <a:pos x="T93" y="T95"/>
                  </a:cxn>
                  <a:cxn ang="0">
                    <a:pos x="T97" y="T99"/>
                  </a:cxn>
                  <a:cxn ang="0">
                    <a:pos x="T101" y="T103"/>
                  </a:cxn>
                  <a:cxn ang="0">
                    <a:pos x="T105" y="T107"/>
                  </a:cxn>
                  <a:cxn ang="0">
                    <a:pos x="T109" y="T111"/>
                  </a:cxn>
                  <a:cxn ang="0">
                    <a:pos x="T113" y="T115"/>
                  </a:cxn>
                  <a:cxn ang="0">
                    <a:pos x="T117" y="T119"/>
                  </a:cxn>
                  <a:cxn ang="0">
                    <a:pos x="T121" y="T123"/>
                  </a:cxn>
                  <a:cxn ang="0">
                    <a:pos x="T125" y="T127"/>
                  </a:cxn>
                  <a:cxn ang="0">
                    <a:pos x="T129" y="T131"/>
                  </a:cxn>
                  <a:cxn ang="0">
                    <a:pos x="T133" y="T135"/>
                  </a:cxn>
                </a:cxnLst>
                <a:rect l="0" t="0" r="r" b="b"/>
                <a:pathLst>
                  <a:path w="17384" h="10007">
                    <a:moveTo>
                      <a:pt x="15456" y="38"/>
                    </a:moveTo>
                    <a:lnTo>
                      <a:pt x="15331" y="38"/>
                    </a:lnTo>
                    <a:lnTo>
                      <a:pt x="15369" y="56"/>
                    </a:lnTo>
                    <a:lnTo>
                      <a:pt x="15406" y="56"/>
                    </a:lnTo>
                    <a:lnTo>
                      <a:pt x="15442" y="75"/>
                    </a:lnTo>
                    <a:lnTo>
                      <a:pt x="15509" y="113"/>
                    </a:lnTo>
                    <a:lnTo>
                      <a:pt x="15570" y="151"/>
                    </a:lnTo>
                    <a:lnTo>
                      <a:pt x="15598" y="188"/>
                    </a:lnTo>
                    <a:lnTo>
                      <a:pt x="15624" y="207"/>
                    </a:lnTo>
                    <a:lnTo>
                      <a:pt x="15647" y="245"/>
                    </a:lnTo>
                    <a:lnTo>
                      <a:pt x="15668" y="264"/>
                    </a:lnTo>
                    <a:lnTo>
                      <a:pt x="15687" y="301"/>
                    </a:lnTo>
                    <a:lnTo>
                      <a:pt x="15717" y="377"/>
                    </a:lnTo>
                    <a:lnTo>
                      <a:pt x="15735" y="452"/>
                    </a:lnTo>
                    <a:lnTo>
                      <a:pt x="15742" y="528"/>
                    </a:lnTo>
                    <a:lnTo>
                      <a:pt x="15742" y="9291"/>
                    </a:lnTo>
                    <a:lnTo>
                      <a:pt x="15735" y="9366"/>
                    </a:lnTo>
                    <a:lnTo>
                      <a:pt x="15715" y="9441"/>
                    </a:lnTo>
                    <a:lnTo>
                      <a:pt x="14275" y="9460"/>
                    </a:lnTo>
                    <a:lnTo>
                      <a:pt x="15750" y="9460"/>
                    </a:lnTo>
                    <a:lnTo>
                      <a:pt x="15770" y="9385"/>
                    </a:lnTo>
                    <a:lnTo>
                      <a:pt x="15778" y="9309"/>
                    </a:lnTo>
                    <a:lnTo>
                      <a:pt x="15778" y="528"/>
                    </a:lnTo>
                    <a:lnTo>
                      <a:pt x="15777" y="490"/>
                    </a:lnTo>
                    <a:lnTo>
                      <a:pt x="15763" y="396"/>
                    </a:lnTo>
                    <a:lnTo>
                      <a:pt x="15737" y="320"/>
                    </a:lnTo>
                    <a:lnTo>
                      <a:pt x="15699" y="245"/>
                    </a:lnTo>
                    <a:lnTo>
                      <a:pt x="15651" y="188"/>
                    </a:lnTo>
                    <a:lnTo>
                      <a:pt x="15624" y="151"/>
                    </a:lnTo>
                    <a:lnTo>
                      <a:pt x="15594" y="132"/>
                    </a:lnTo>
                    <a:lnTo>
                      <a:pt x="15562" y="94"/>
                    </a:lnTo>
                    <a:lnTo>
                      <a:pt x="15529" y="75"/>
                    </a:lnTo>
                    <a:lnTo>
                      <a:pt x="15493" y="56"/>
                    </a:lnTo>
                    <a:lnTo>
                      <a:pt x="15456" y="38"/>
                    </a:lnTo>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ts val="1400"/>
                  </a:lnSpc>
                  <a:spcBef>
                    <a:spcPts val="0"/>
                  </a:spcBef>
                  <a:spcAft>
                    <a:spcPct val="0"/>
                  </a:spcAft>
                  <a:buClrTx/>
                  <a:buSzTx/>
                  <a:buFontTx/>
                  <a:buNone/>
                  <a:tabLst/>
                  <a:defRPr/>
                </a:pPr>
                <a:endParaRPr kumimoji="0" lang="en-US" sz="1200" b="0" i="0" u="none" strike="noStrike" kern="0" cap="none" spc="0" normalizeH="0" baseline="0" noProof="0" dirty="0">
                  <a:ln>
                    <a:noFill/>
                  </a:ln>
                  <a:solidFill>
                    <a:srgbClr val="010024"/>
                  </a:solidFill>
                  <a:effectLst/>
                  <a:uLnTx/>
                  <a:uFillTx/>
                  <a:latin typeface="EYInterstate Regular" pitchFamily="1" charset="0"/>
                  <a:ea typeface="+mn-ea"/>
                  <a:cs typeface="+mn-cs"/>
                </a:endParaRPr>
              </a:p>
            </p:txBody>
          </p:sp>
          <p:sp>
            <p:nvSpPr>
              <p:cNvPr id="45" name="Freeform 26"/>
              <p:cNvSpPr>
                <a:spLocks/>
              </p:cNvSpPr>
              <p:nvPr/>
            </p:nvSpPr>
            <p:spPr bwMode="auto">
              <a:xfrm>
                <a:off x="3354" y="5573"/>
                <a:ext cx="17384" cy="10007"/>
              </a:xfrm>
              <a:custGeom>
                <a:avLst/>
                <a:gdLst>
                  <a:gd name="T0" fmla="+- 0 18951 3354"/>
                  <a:gd name="T1" fmla="*/ T0 w 17384"/>
                  <a:gd name="T2" fmla="+- 0 14807 5573"/>
                  <a:gd name="T3" fmla="*/ 14807 h 10007"/>
                  <a:gd name="T4" fmla="+- 0 5145 3354"/>
                  <a:gd name="T5" fmla="*/ T4 w 17384"/>
                  <a:gd name="T6" fmla="+- 0 14807 5573"/>
                  <a:gd name="T7" fmla="*/ 14807 h 10007"/>
                  <a:gd name="T8" fmla="+- 0 5165 3354"/>
                  <a:gd name="T9" fmla="*/ T8 w 17384"/>
                  <a:gd name="T10" fmla="+- 0 14826 5573"/>
                  <a:gd name="T11" fmla="*/ 14826 h 10007"/>
                  <a:gd name="T12" fmla="+- 0 18931 3354"/>
                  <a:gd name="T13" fmla="*/ T12 w 17384"/>
                  <a:gd name="T14" fmla="+- 0 14826 5573"/>
                  <a:gd name="T15" fmla="*/ 14826 h 10007"/>
                  <a:gd name="T16" fmla="+- 0 18951 3354"/>
                  <a:gd name="T17" fmla="*/ T16 w 17384"/>
                  <a:gd name="T18" fmla="+- 0 14807 5573"/>
                  <a:gd name="T19" fmla="*/ 14807 h 10007"/>
                </a:gdLst>
                <a:ahLst/>
                <a:cxnLst>
                  <a:cxn ang="0">
                    <a:pos x="T1" y="T3"/>
                  </a:cxn>
                  <a:cxn ang="0">
                    <a:pos x="T5" y="T7"/>
                  </a:cxn>
                  <a:cxn ang="0">
                    <a:pos x="T9" y="T11"/>
                  </a:cxn>
                  <a:cxn ang="0">
                    <a:pos x="T13" y="T15"/>
                  </a:cxn>
                  <a:cxn ang="0">
                    <a:pos x="T17" y="T19"/>
                  </a:cxn>
                </a:cxnLst>
                <a:rect l="0" t="0" r="r" b="b"/>
                <a:pathLst>
                  <a:path w="17384" h="10007">
                    <a:moveTo>
                      <a:pt x="15597" y="9234"/>
                    </a:moveTo>
                    <a:lnTo>
                      <a:pt x="1791" y="9234"/>
                    </a:lnTo>
                    <a:lnTo>
                      <a:pt x="1811" y="9253"/>
                    </a:lnTo>
                    <a:lnTo>
                      <a:pt x="15577" y="9253"/>
                    </a:lnTo>
                    <a:lnTo>
                      <a:pt x="15597" y="9234"/>
                    </a:lnTo>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ts val="1400"/>
                  </a:lnSpc>
                  <a:spcBef>
                    <a:spcPts val="0"/>
                  </a:spcBef>
                  <a:spcAft>
                    <a:spcPct val="0"/>
                  </a:spcAft>
                  <a:buClrTx/>
                  <a:buSzTx/>
                  <a:buFontTx/>
                  <a:buNone/>
                  <a:tabLst/>
                  <a:defRPr/>
                </a:pPr>
                <a:endParaRPr kumimoji="0" lang="en-US" sz="1200" b="0" i="0" u="none" strike="noStrike" kern="0" cap="none" spc="0" normalizeH="0" baseline="0" noProof="0" dirty="0">
                  <a:ln>
                    <a:noFill/>
                  </a:ln>
                  <a:solidFill>
                    <a:srgbClr val="010024"/>
                  </a:solidFill>
                  <a:effectLst/>
                  <a:uLnTx/>
                  <a:uFillTx/>
                  <a:latin typeface="EYInterstate Regular" pitchFamily="1" charset="0"/>
                  <a:ea typeface="+mn-ea"/>
                  <a:cs typeface="+mn-cs"/>
                </a:endParaRPr>
              </a:p>
            </p:txBody>
          </p:sp>
          <p:sp>
            <p:nvSpPr>
              <p:cNvPr id="46" name="Freeform 27"/>
              <p:cNvSpPr>
                <a:spLocks/>
              </p:cNvSpPr>
              <p:nvPr/>
            </p:nvSpPr>
            <p:spPr bwMode="auto">
              <a:xfrm>
                <a:off x="3354" y="5573"/>
                <a:ext cx="17384" cy="10007"/>
              </a:xfrm>
              <a:custGeom>
                <a:avLst/>
                <a:gdLst>
                  <a:gd name="T0" fmla="+- 0 5451 3354"/>
                  <a:gd name="T1" fmla="*/ T0 w 17384"/>
                  <a:gd name="T2" fmla="+- 0 5686 5573"/>
                  <a:gd name="T3" fmla="*/ 5686 h 10007"/>
                  <a:gd name="T4" fmla="+- 0 5314 3354"/>
                  <a:gd name="T5" fmla="*/ T4 w 17384"/>
                  <a:gd name="T6" fmla="+- 0 5686 5573"/>
                  <a:gd name="T7" fmla="*/ 5686 h 10007"/>
                  <a:gd name="T8" fmla="+- 0 5283 3354"/>
                  <a:gd name="T9" fmla="*/ T8 w 17384"/>
                  <a:gd name="T10" fmla="+- 0 5705 5573"/>
                  <a:gd name="T11" fmla="*/ 5705 h 10007"/>
                  <a:gd name="T12" fmla="+- 0 5226 3354"/>
                  <a:gd name="T13" fmla="*/ T12 w 17384"/>
                  <a:gd name="T14" fmla="+- 0 5742 5573"/>
                  <a:gd name="T15" fmla="*/ 5742 h 10007"/>
                  <a:gd name="T16" fmla="+- 0 5175 3354"/>
                  <a:gd name="T17" fmla="*/ T16 w 17384"/>
                  <a:gd name="T18" fmla="+- 0 5780 5573"/>
                  <a:gd name="T19" fmla="*/ 5780 h 10007"/>
                  <a:gd name="T20" fmla="+- 0 5153 3354"/>
                  <a:gd name="T21" fmla="*/ T20 w 17384"/>
                  <a:gd name="T22" fmla="+- 0 5818 5573"/>
                  <a:gd name="T23" fmla="*/ 5818 h 10007"/>
                  <a:gd name="T24" fmla="+- 0 5132 3354"/>
                  <a:gd name="T25" fmla="*/ T24 w 17384"/>
                  <a:gd name="T26" fmla="+- 0 5837 5573"/>
                  <a:gd name="T27" fmla="*/ 5837 h 10007"/>
                  <a:gd name="T28" fmla="+- 0 5113 3354"/>
                  <a:gd name="T29" fmla="*/ T28 w 17384"/>
                  <a:gd name="T30" fmla="+- 0 5856 5573"/>
                  <a:gd name="T31" fmla="*/ 5856 h 10007"/>
                  <a:gd name="T32" fmla="+- 0 5096 3354"/>
                  <a:gd name="T33" fmla="*/ T32 w 17384"/>
                  <a:gd name="T34" fmla="+- 0 5893 5573"/>
                  <a:gd name="T35" fmla="*/ 5893 h 10007"/>
                  <a:gd name="T36" fmla="+- 0 5082 3354"/>
                  <a:gd name="T37" fmla="*/ T36 w 17384"/>
                  <a:gd name="T38" fmla="+- 0 5931 5573"/>
                  <a:gd name="T39" fmla="*/ 5931 h 10007"/>
                  <a:gd name="T40" fmla="+- 0 5070 3354"/>
                  <a:gd name="T41" fmla="*/ T40 w 17384"/>
                  <a:gd name="T42" fmla="+- 0 5950 5573"/>
                  <a:gd name="T43" fmla="*/ 5950 h 10007"/>
                  <a:gd name="T44" fmla="+- 0 5060 3354"/>
                  <a:gd name="T45" fmla="*/ T44 w 17384"/>
                  <a:gd name="T46" fmla="+- 0 5987 5573"/>
                  <a:gd name="T47" fmla="*/ 5987 h 10007"/>
                  <a:gd name="T48" fmla="+- 0 5053 3354"/>
                  <a:gd name="T49" fmla="*/ T48 w 17384"/>
                  <a:gd name="T50" fmla="+- 0 6025 5573"/>
                  <a:gd name="T51" fmla="*/ 6025 h 10007"/>
                  <a:gd name="T52" fmla="+- 0 5049 3354"/>
                  <a:gd name="T53" fmla="*/ T52 w 17384"/>
                  <a:gd name="T54" fmla="+- 0 6063 5573"/>
                  <a:gd name="T55" fmla="*/ 6063 h 10007"/>
                  <a:gd name="T56" fmla="+- 0 5047 3354"/>
                  <a:gd name="T57" fmla="*/ T56 w 17384"/>
                  <a:gd name="T58" fmla="+- 0 6101 5573"/>
                  <a:gd name="T59" fmla="*/ 6101 h 10007"/>
                  <a:gd name="T60" fmla="+- 0 5047 3354"/>
                  <a:gd name="T61" fmla="*/ T60 w 17384"/>
                  <a:gd name="T62" fmla="+- 0 14656 5573"/>
                  <a:gd name="T63" fmla="*/ 14656 h 10007"/>
                  <a:gd name="T64" fmla="+- 0 5069 3354"/>
                  <a:gd name="T65" fmla="*/ T64 w 17384"/>
                  <a:gd name="T66" fmla="+- 0 14732 5573"/>
                  <a:gd name="T67" fmla="*/ 14732 h 10007"/>
                  <a:gd name="T68" fmla="+- 0 5109 3354"/>
                  <a:gd name="T69" fmla="*/ T68 w 17384"/>
                  <a:gd name="T70" fmla="+- 0 14788 5573"/>
                  <a:gd name="T71" fmla="*/ 14788 h 10007"/>
                  <a:gd name="T72" fmla="+- 0 5127 3354"/>
                  <a:gd name="T73" fmla="*/ T72 w 17384"/>
                  <a:gd name="T74" fmla="+- 0 14807 5573"/>
                  <a:gd name="T75" fmla="*/ 14807 h 10007"/>
                  <a:gd name="T76" fmla="+- 0 18969 3354"/>
                  <a:gd name="T77" fmla="*/ T76 w 17384"/>
                  <a:gd name="T78" fmla="+- 0 14807 5573"/>
                  <a:gd name="T79" fmla="*/ 14807 h 10007"/>
                  <a:gd name="T80" fmla="+- 0 18986 3354"/>
                  <a:gd name="T81" fmla="*/ T80 w 17384"/>
                  <a:gd name="T82" fmla="+- 0 14788 5573"/>
                  <a:gd name="T83" fmla="*/ 14788 h 10007"/>
                  <a:gd name="T84" fmla="+- 0 5165 3354"/>
                  <a:gd name="T85" fmla="*/ T84 w 17384"/>
                  <a:gd name="T86" fmla="+- 0 14788 5573"/>
                  <a:gd name="T87" fmla="*/ 14788 h 10007"/>
                  <a:gd name="T88" fmla="+- 0 5146 3354"/>
                  <a:gd name="T89" fmla="*/ T88 w 17384"/>
                  <a:gd name="T90" fmla="+- 0 14769 5573"/>
                  <a:gd name="T91" fmla="*/ 14769 h 10007"/>
                  <a:gd name="T92" fmla="+- 0 5103 3354"/>
                  <a:gd name="T93" fmla="*/ T92 w 17384"/>
                  <a:gd name="T94" fmla="+- 0 14713 5573"/>
                  <a:gd name="T95" fmla="*/ 14713 h 10007"/>
                  <a:gd name="T96" fmla="+- 0 5084 3354"/>
                  <a:gd name="T97" fmla="*/ T96 w 17384"/>
                  <a:gd name="T98" fmla="+- 0 13789 5573"/>
                  <a:gd name="T99" fmla="*/ 13789 h 10007"/>
                  <a:gd name="T100" fmla="+- 0 5084 3354"/>
                  <a:gd name="T101" fmla="*/ T100 w 17384"/>
                  <a:gd name="T102" fmla="+- 0 6101 5573"/>
                  <a:gd name="T103" fmla="*/ 6101 h 10007"/>
                  <a:gd name="T104" fmla="+- 0 5085 3354"/>
                  <a:gd name="T105" fmla="*/ T104 w 17384"/>
                  <a:gd name="T106" fmla="+- 0 6063 5573"/>
                  <a:gd name="T107" fmla="*/ 6063 h 10007"/>
                  <a:gd name="T108" fmla="+- 0 5089 3354"/>
                  <a:gd name="T109" fmla="*/ T108 w 17384"/>
                  <a:gd name="T110" fmla="+- 0 6025 5573"/>
                  <a:gd name="T111" fmla="*/ 6025 h 10007"/>
                  <a:gd name="T112" fmla="+- 0 5096 3354"/>
                  <a:gd name="T113" fmla="*/ T112 w 17384"/>
                  <a:gd name="T114" fmla="+- 0 5987 5573"/>
                  <a:gd name="T115" fmla="*/ 5987 h 10007"/>
                  <a:gd name="T116" fmla="+- 0 5104 3354"/>
                  <a:gd name="T117" fmla="*/ T116 w 17384"/>
                  <a:gd name="T118" fmla="+- 0 5969 5573"/>
                  <a:gd name="T119" fmla="*/ 5969 h 10007"/>
                  <a:gd name="T120" fmla="+- 0 5115 3354"/>
                  <a:gd name="T121" fmla="*/ T120 w 17384"/>
                  <a:gd name="T122" fmla="+- 0 5931 5573"/>
                  <a:gd name="T123" fmla="*/ 5931 h 10007"/>
                  <a:gd name="T124" fmla="+- 0 5129 3354"/>
                  <a:gd name="T125" fmla="*/ T124 w 17384"/>
                  <a:gd name="T126" fmla="+- 0 5912 5573"/>
                  <a:gd name="T127" fmla="*/ 5912 h 10007"/>
                  <a:gd name="T128" fmla="+- 0 5144 3354"/>
                  <a:gd name="T129" fmla="*/ T128 w 17384"/>
                  <a:gd name="T130" fmla="+- 0 5874 5573"/>
                  <a:gd name="T131" fmla="*/ 5874 h 10007"/>
                  <a:gd name="T132" fmla="+- 0 5161 3354"/>
                  <a:gd name="T133" fmla="*/ T132 w 17384"/>
                  <a:gd name="T134" fmla="+- 0 5856 5573"/>
                  <a:gd name="T135" fmla="*/ 5856 h 10007"/>
                  <a:gd name="T136" fmla="+- 0 5180 3354"/>
                  <a:gd name="T137" fmla="*/ T136 w 17384"/>
                  <a:gd name="T138" fmla="+- 0 5837 5573"/>
                  <a:gd name="T139" fmla="*/ 5837 h 10007"/>
                  <a:gd name="T140" fmla="+- 0 5201 3354"/>
                  <a:gd name="T141" fmla="*/ T140 w 17384"/>
                  <a:gd name="T142" fmla="+- 0 5818 5573"/>
                  <a:gd name="T143" fmla="*/ 5818 h 10007"/>
                  <a:gd name="T144" fmla="+- 0 5224 3354"/>
                  <a:gd name="T145" fmla="*/ T144 w 17384"/>
                  <a:gd name="T146" fmla="+- 0 5780 5573"/>
                  <a:gd name="T147" fmla="*/ 5780 h 10007"/>
                  <a:gd name="T148" fmla="+- 0 5248 3354"/>
                  <a:gd name="T149" fmla="*/ T148 w 17384"/>
                  <a:gd name="T150" fmla="+- 0 5761 5573"/>
                  <a:gd name="T151" fmla="*/ 5761 h 10007"/>
                  <a:gd name="T152" fmla="+- 0 5273 3354"/>
                  <a:gd name="T153" fmla="*/ T152 w 17384"/>
                  <a:gd name="T154" fmla="+- 0 5761 5573"/>
                  <a:gd name="T155" fmla="*/ 5761 h 10007"/>
                  <a:gd name="T156" fmla="+- 0 5300 3354"/>
                  <a:gd name="T157" fmla="*/ T156 w 17384"/>
                  <a:gd name="T158" fmla="+- 0 5742 5573"/>
                  <a:gd name="T159" fmla="*/ 5742 h 10007"/>
                  <a:gd name="T160" fmla="+- 0 5328 3354"/>
                  <a:gd name="T161" fmla="*/ T160 w 17384"/>
                  <a:gd name="T162" fmla="+- 0 5724 5573"/>
                  <a:gd name="T163" fmla="*/ 5724 h 10007"/>
                  <a:gd name="T164" fmla="+- 0 5357 3354"/>
                  <a:gd name="T165" fmla="*/ T164 w 17384"/>
                  <a:gd name="T166" fmla="+- 0 5705 5573"/>
                  <a:gd name="T167" fmla="*/ 5705 h 10007"/>
                  <a:gd name="T168" fmla="+- 0 5419 3354"/>
                  <a:gd name="T169" fmla="*/ T168 w 17384"/>
                  <a:gd name="T170" fmla="+- 0 5705 5573"/>
                  <a:gd name="T171" fmla="*/ 5705 h 10007"/>
                  <a:gd name="T172" fmla="+- 0 5451 3354"/>
                  <a:gd name="T173" fmla="*/ T172 w 17384"/>
                  <a:gd name="T174" fmla="+- 0 5686 5573"/>
                  <a:gd name="T175" fmla="*/ 5686 h 10007"/>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 ang="0">
                    <a:pos x="T41" y="T43"/>
                  </a:cxn>
                  <a:cxn ang="0">
                    <a:pos x="T45" y="T47"/>
                  </a:cxn>
                  <a:cxn ang="0">
                    <a:pos x="T49" y="T51"/>
                  </a:cxn>
                  <a:cxn ang="0">
                    <a:pos x="T53" y="T55"/>
                  </a:cxn>
                  <a:cxn ang="0">
                    <a:pos x="T57" y="T59"/>
                  </a:cxn>
                  <a:cxn ang="0">
                    <a:pos x="T61" y="T63"/>
                  </a:cxn>
                  <a:cxn ang="0">
                    <a:pos x="T65" y="T67"/>
                  </a:cxn>
                  <a:cxn ang="0">
                    <a:pos x="T69" y="T71"/>
                  </a:cxn>
                  <a:cxn ang="0">
                    <a:pos x="T73" y="T75"/>
                  </a:cxn>
                  <a:cxn ang="0">
                    <a:pos x="T77" y="T79"/>
                  </a:cxn>
                  <a:cxn ang="0">
                    <a:pos x="T81" y="T83"/>
                  </a:cxn>
                  <a:cxn ang="0">
                    <a:pos x="T85" y="T87"/>
                  </a:cxn>
                  <a:cxn ang="0">
                    <a:pos x="T89" y="T91"/>
                  </a:cxn>
                  <a:cxn ang="0">
                    <a:pos x="T93" y="T95"/>
                  </a:cxn>
                  <a:cxn ang="0">
                    <a:pos x="T97" y="T99"/>
                  </a:cxn>
                  <a:cxn ang="0">
                    <a:pos x="T101" y="T103"/>
                  </a:cxn>
                  <a:cxn ang="0">
                    <a:pos x="T105" y="T107"/>
                  </a:cxn>
                  <a:cxn ang="0">
                    <a:pos x="T109" y="T111"/>
                  </a:cxn>
                  <a:cxn ang="0">
                    <a:pos x="T113" y="T115"/>
                  </a:cxn>
                  <a:cxn ang="0">
                    <a:pos x="T117" y="T119"/>
                  </a:cxn>
                  <a:cxn ang="0">
                    <a:pos x="T121" y="T123"/>
                  </a:cxn>
                  <a:cxn ang="0">
                    <a:pos x="T125" y="T127"/>
                  </a:cxn>
                  <a:cxn ang="0">
                    <a:pos x="T129" y="T131"/>
                  </a:cxn>
                  <a:cxn ang="0">
                    <a:pos x="T133" y="T135"/>
                  </a:cxn>
                  <a:cxn ang="0">
                    <a:pos x="T137" y="T139"/>
                  </a:cxn>
                  <a:cxn ang="0">
                    <a:pos x="T141" y="T143"/>
                  </a:cxn>
                  <a:cxn ang="0">
                    <a:pos x="T145" y="T147"/>
                  </a:cxn>
                  <a:cxn ang="0">
                    <a:pos x="T149" y="T151"/>
                  </a:cxn>
                  <a:cxn ang="0">
                    <a:pos x="T153" y="T155"/>
                  </a:cxn>
                  <a:cxn ang="0">
                    <a:pos x="T157" y="T159"/>
                  </a:cxn>
                  <a:cxn ang="0">
                    <a:pos x="T161" y="T163"/>
                  </a:cxn>
                  <a:cxn ang="0">
                    <a:pos x="T165" y="T167"/>
                  </a:cxn>
                  <a:cxn ang="0">
                    <a:pos x="T169" y="T171"/>
                  </a:cxn>
                  <a:cxn ang="0">
                    <a:pos x="T173" y="T175"/>
                  </a:cxn>
                </a:cxnLst>
                <a:rect l="0" t="0" r="r" b="b"/>
                <a:pathLst>
                  <a:path w="17384" h="10007">
                    <a:moveTo>
                      <a:pt x="2097" y="113"/>
                    </a:moveTo>
                    <a:lnTo>
                      <a:pt x="1960" y="113"/>
                    </a:lnTo>
                    <a:lnTo>
                      <a:pt x="1929" y="132"/>
                    </a:lnTo>
                    <a:lnTo>
                      <a:pt x="1872" y="169"/>
                    </a:lnTo>
                    <a:lnTo>
                      <a:pt x="1821" y="207"/>
                    </a:lnTo>
                    <a:lnTo>
                      <a:pt x="1799" y="245"/>
                    </a:lnTo>
                    <a:lnTo>
                      <a:pt x="1778" y="264"/>
                    </a:lnTo>
                    <a:lnTo>
                      <a:pt x="1759" y="283"/>
                    </a:lnTo>
                    <a:lnTo>
                      <a:pt x="1742" y="320"/>
                    </a:lnTo>
                    <a:lnTo>
                      <a:pt x="1728" y="358"/>
                    </a:lnTo>
                    <a:lnTo>
                      <a:pt x="1716" y="377"/>
                    </a:lnTo>
                    <a:lnTo>
                      <a:pt x="1706" y="414"/>
                    </a:lnTo>
                    <a:lnTo>
                      <a:pt x="1699" y="452"/>
                    </a:lnTo>
                    <a:lnTo>
                      <a:pt x="1695" y="490"/>
                    </a:lnTo>
                    <a:lnTo>
                      <a:pt x="1693" y="528"/>
                    </a:lnTo>
                    <a:lnTo>
                      <a:pt x="1693" y="9083"/>
                    </a:lnTo>
                    <a:lnTo>
                      <a:pt x="1715" y="9159"/>
                    </a:lnTo>
                    <a:lnTo>
                      <a:pt x="1755" y="9215"/>
                    </a:lnTo>
                    <a:lnTo>
                      <a:pt x="1773" y="9234"/>
                    </a:lnTo>
                    <a:lnTo>
                      <a:pt x="15615" y="9234"/>
                    </a:lnTo>
                    <a:lnTo>
                      <a:pt x="15632" y="9215"/>
                    </a:lnTo>
                    <a:lnTo>
                      <a:pt x="1811" y="9215"/>
                    </a:lnTo>
                    <a:lnTo>
                      <a:pt x="1792" y="9196"/>
                    </a:lnTo>
                    <a:lnTo>
                      <a:pt x="1749" y="9140"/>
                    </a:lnTo>
                    <a:lnTo>
                      <a:pt x="1730" y="8216"/>
                    </a:lnTo>
                    <a:lnTo>
                      <a:pt x="1730" y="528"/>
                    </a:lnTo>
                    <a:lnTo>
                      <a:pt x="1731" y="490"/>
                    </a:lnTo>
                    <a:lnTo>
                      <a:pt x="1735" y="452"/>
                    </a:lnTo>
                    <a:lnTo>
                      <a:pt x="1742" y="414"/>
                    </a:lnTo>
                    <a:lnTo>
                      <a:pt x="1750" y="396"/>
                    </a:lnTo>
                    <a:lnTo>
                      <a:pt x="1761" y="358"/>
                    </a:lnTo>
                    <a:lnTo>
                      <a:pt x="1775" y="339"/>
                    </a:lnTo>
                    <a:lnTo>
                      <a:pt x="1790" y="301"/>
                    </a:lnTo>
                    <a:lnTo>
                      <a:pt x="1807" y="283"/>
                    </a:lnTo>
                    <a:lnTo>
                      <a:pt x="1826" y="264"/>
                    </a:lnTo>
                    <a:lnTo>
                      <a:pt x="1847" y="245"/>
                    </a:lnTo>
                    <a:lnTo>
                      <a:pt x="1870" y="207"/>
                    </a:lnTo>
                    <a:lnTo>
                      <a:pt x="1894" y="188"/>
                    </a:lnTo>
                    <a:lnTo>
                      <a:pt x="1919" y="188"/>
                    </a:lnTo>
                    <a:lnTo>
                      <a:pt x="1946" y="169"/>
                    </a:lnTo>
                    <a:lnTo>
                      <a:pt x="1974" y="151"/>
                    </a:lnTo>
                    <a:lnTo>
                      <a:pt x="2003" y="132"/>
                    </a:lnTo>
                    <a:lnTo>
                      <a:pt x="2065" y="132"/>
                    </a:lnTo>
                    <a:lnTo>
                      <a:pt x="2097" y="113"/>
                    </a:lnTo>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ts val="1400"/>
                  </a:lnSpc>
                  <a:spcBef>
                    <a:spcPts val="0"/>
                  </a:spcBef>
                  <a:spcAft>
                    <a:spcPct val="0"/>
                  </a:spcAft>
                  <a:buClrTx/>
                  <a:buSzTx/>
                  <a:buFontTx/>
                  <a:buNone/>
                  <a:tabLst/>
                  <a:defRPr/>
                </a:pPr>
                <a:endParaRPr kumimoji="0" lang="en-US" sz="1200" b="0" i="0" u="none" strike="noStrike" kern="0" cap="none" spc="0" normalizeH="0" baseline="0" noProof="0" dirty="0">
                  <a:ln>
                    <a:noFill/>
                  </a:ln>
                  <a:solidFill>
                    <a:srgbClr val="010024"/>
                  </a:solidFill>
                  <a:effectLst/>
                  <a:uLnTx/>
                  <a:uFillTx/>
                  <a:latin typeface="EYInterstate Regular" pitchFamily="1" charset="0"/>
                  <a:ea typeface="+mn-ea"/>
                  <a:cs typeface="+mn-cs"/>
                </a:endParaRPr>
              </a:p>
            </p:txBody>
          </p:sp>
          <p:sp>
            <p:nvSpPr>
              <p:cNvPr id="47" name="Freeform 28"/>
              <p:cNvSpPr>
                <a:spLocks/>
              </p:cNvSpPr>
              <p:nvPr/>
            </p:nvSpPr>
            <p:spPr bwMode="auto">
              <a:xfrm>
                <a:off x="3354" y="5573"/>
                <a:ext cx="17384" cy="10007"/>
              </a:xfrm>
              <a:custGeom>
                <a:avLst/>
                <a:gdLst>
                  <a:gd name="T0" fmla="+- 0 18781 3354"/>
                  <a:gd name="T1" fmla="*/ T0 w 17384"/>
                  <a:gd name="T2" fmla="+- 0 5686 5573"/>
                  <a:gd name="T3" fmla="*/ 5686 h 10007"/>
                  <a:gd name="T4" fmla="+- 0 18644 3354"/>
                  <a:gd name="T5" fmla="*/ T4 w 17384"/>
                  <a:gd name="T6" fmla="+- 0 5686 5573"/>
                  <a:gd name="T7" fmla="*/ 5686 h 10007"/>
                  <a:gd name="T8" fmla="+- 0 18676 3354"/>
                  <a:gd name="T9" fmla="*/ T8 w 17384"/>
                  <a:gd name="T10" fmla="+- 0 5705 5573"/>
                  <a:gd name="T11" fmla="*/ 5705 h 10007"/>
                  <a:gd name="T12" fmla="+- 0 18737 3354"/>
                  <a:gd name="T13" fmla="*/ T12 w 17384"/>
                  <a:gd name="T14" fmla="+- 0 5705 5573"/>
                  <a:gd name="T15" fmla="*/ 5705 h 10007"/>
                  <a:gd name="T16" fmla="+- 0 18767 3354"/>
                  <a:gd name="T17" fmla="*/ T16 w 17384"/>
                  <a:gd name="T18" fmla="+- 0 5724 5573"/>
                  <a:gd name="T19" fmla="*/ 5724 h 10007"/>
                  <a:gd name="T20" fmla="+- 0 18795 3354"/>
                  <a:gd name="T21" fmla="*/ T20 w 17384"/>
                  <a:gd name="T22" fmla="+- 0 5742 5573"/>
                  <a:gd name="T23" fmla="*/ 5742 h 10007"/>
                  <a:gd name="T24" fmla="+- 0 18822 3354"/>
                  <a:gd name="T25" fmla="*/ T24 w 17384"/>
                  <a:gd name="T26" fmla="+- 0 5761 5573"/>
                  <a:gd name="T27" fmla="*/ 5761 h 10007"/>
                  <a:gd name="T28" fmla="+- 0 18847 3354"/>
                  <a:gd name="T29" fmla="*/ T28 w 17384"/>
                  <a:gd name="T30" fmla="+- 0 5761 5573"/>
                  <a:gd name="T31" fmla="*/ 5761 h 10007"/>
                  <a:gd name="T32" fmla="+- 0 18871 3354"/>
                  <a:gd name="T33" fmla="*/ T32 w 17384"/>
                  <a:gd name="T34" fmla="+- 0 5780 5573"/>
                  <a:gd name="T35" fmla="*/ 5780 h 10007"/>
                  <a:gd name="T36" fmla="+- 0 18894 3354"/>
                  <a:gd name="T37" fmla="*/ T36 w 17384"/>
                  <a:gd name="T38" fmla="+- 0 5818 5573"/>
                  <a:gd name="T39" fmla="*/ 5818 h 10007"/>
                  <a:gd name="T40" fmla="+- 0 18914 3354"/>
                  <a:gd name="T41" fmla="*/ T40 w 17384"/>
                  <a:gd name="T42" fmla="+- 0 5837 5573"/>
                  <a:gd name="T43" fmla="*/ 5837 h 10007"/>
                  <a:gd name="T44" fmla="+- 0 18934 3354"/>
                  <a:gd name="T45" fmla="*/ T44 w 17384"/>
                  <a:gd name="T46" fmla="+- 0 5856 5573"/>
                  <a:gd name="T47" fmla="*/ 5856 h 10007"/>
                  <a:gd name="T48" fmla="+- 0 18951 3354"/>
                  <a:gd name="T49" fmla="*/ T48 w 17384"/>
                  <a:gd name="T50" fmla="+- 0 5874 5573"/>
                  <a:gd name="T51" fmla="*/ 5874 h 10007"/>
                  <a:gd name="T52" fmla="+- 0 18966 3354"/>
                  <a:gd name="T53" fmla="*/ T52 w 17384"/>
                  <a:gd name="T54" fmla="+- 0 5912 5573"/>
                  <a:gd name="T55" fmla="*/ 5912 h 10007"/>
                  <a:gd name="T56" fmla="+- 0 18979 3354"/>
                  <a:gd name="T57" fmla="*/ T56 w 17384"/>
                  <a:gd name="T58" fmla="+- 0 5931 5573"/>
                  <a:gd name="T59" fmla="*/ 5931 h 10007"/>
                  <a:gd name="T60" fmla="+- 0 18990 3354"/>
                  <a:gd name="T61" fmla="*/ T60 w 17384"/>
                  <a:gd name="T62" fmla="+- 0 5969 5573"/>
                  <a:gd name="T63" fmla="*/ 5969 h 10007"/>
                  <a:gd name="T64" fmla="+- 0 18999 3354"/>
                  <a:gd name="T65" fmla="*/ T64 w 17384"/>
                  <a:gd name="T66" fmla="+- 0 5987 5573"/>
                  <a:gd name="T67" fmla="*/ 5987 h 10007"/>
                  <a:gd name="T68" fmla="+- 0 19005 3354"/>
                  <a:gd name="T69" fmla="*/ T68 w 17384"/>
                  <a:gd name="T70" fmla="+- 0 6025 5573"/>
                  <a:gd name="T71" fmla="*/ 6025 h 10007"/>
                  <a:gd name="T72" fmla="+- 0 19009 3354"/>
                  <a:gd name="T73" fmla="*/ T72 w 17384"/>
                  <a:gd name="T74" fmla="+- 0 6063 5573"/>
                  <a:gd name="T75" fmla="*/ 6063 h 10007"/>
                  <a:gd name="T76" fmla="+- 0 19011 3354"/>
                  <a:gd name="T77" fmla="*/ T76 w 17384"/>
                  <a:gd name="T78" fmla="+- 0 6101 5573"/>
                  <a:gd name="T79" fmla="*/ 6101 h 10007"/>
                  <a:gd name="T80" fmla="+- 0 19011 3354"/>
                  <a:gd name="T81" fmla="*/ T80 w 17384"/>
                  <a:gd name="T82" fmla="+- 0 14656 5573"/>
                  <a:gd name="T83" fmla="*/ 14656 h 10007"/>
                  <a:gd name="T84" fmla="+- 0 18984 3354"/>
                  <a:gd name="T85" fmla="*/ T84 w 17384"/>
                  <a:gd name="T86" fmla="+- 0 14732 5573"/>
                  <a:gd name="T87" fmla="*/ 14732 h 10007"/>
                  <a:gd name="T88" fmla="+- 0 18954 3354"/>
                  <a:gd name="T89" fmla="*/ T88 w 17384"/>
                  <a:gd name="T90" fmla="+- 0 14769 5573"/>
                  <a:gd name="T91" fmla="*/ 14769 h 10007"/>
                  <a:gd name="T92" fmla="+- 0 18936 3354"/>
                  <a:gd name="T93" fmla="*/ T92 w 17384"/>
                  <a:gd name="T94" fmla="+- 0 14769 5573"/>
                  <a:gd name="T95" fmla="*/ 14769 h 10007"/>
                  <a:gd name="T96" fmla="+- 0 18916 3354"/>
                  <a:gd name="T97" fmla="*/ T96 w 17384"/>
                  <a:gd name="T98" fmla="+- 0 14788 5573"/>
                  <a:gd name="T99" fmla="*/ 14788 h 10007"/>
                  <a:gd name="T100" fmla="+- 0 18986 3354"/>
                  <a:gd name="T101" fmla="*/ T100 w 17384"/>
                  <a:gd name="T102" fmla="+- 0 14788 5573"/>
                  <a:gd name="T103" fmla="*/ 14788 h 10007"/>
                  <a:gd name="T104" fmla="+- 0 19002 3354"/>
                  <a:gd name="T105" fmla="*/ T104 w 17384"/>
                  <a:gd name="T106" fmla="+- 0 14769 5573"/>
                  <a:gd name="T107" fmla="*/ 14769 h 10007"/>
                  <a:gd name="T108" fmla="+- 0 19035 3354"/>
                  <a:gd name="T109" fmla="*/ T108 w 17384"/>
                  <a:gd name="T110" fmla="+- 0 14713 5573"/>
                  <a:gd name="T111" fmla="*/ 14713 h 10007"/>
                  <a:gd name="T112" fmla="+- 0 19047 3354"/>
                  <a:gd name="T113" fmla="*/ T112 w 17384"/>
                  <a:gd name="T114" fmla="+- 0 13789 5573"/>
                  <a:gd name="T115" fmla="*/ 13789 h 10007"/>
                  <a:gd name="T116" fmla="+- 0 19047 3354"/>
                  <a:gd name="T117" fmla="*/ T116 w 17384"/>
                  <a:gd name="T118" fmla="+- 0 6101 5573"/>
                  <a:gd name="T119" fmla="*/ 6101 h 10007"/>
                  <a:gd name="T120" fmla="+- 0 19042 3354"/>
                  <a:gd name="T121" fmla="*/ T120 w 17384"/>
                  <a:gd name="T122" fmla="+- 0 6025 5573"/>
                  <a:gd name="T123" fmla="*/ 6025 h 10007"/>
                  <a:gd name="T124" fmla="+- 0 19025 3354"/>
                  <a:gd name="T125" fmla="*/ T124 w 17384"/>
                  <a:gd name="T126" fmla="+- 0 5950 5573"/>
                  <a:gd name="T127" fmla="*/ 5950 h 10007"/>
                  <a:gd name="T128" fmla="+- 0 19013 3354"/>
                  <a:gd name="T129" fmla="*/ T128 w 17384"/>
                  <a:gd name="T130" fmla="+- 0 5931 5573"/>
                  <a:gd name="T131" fmla="*/ 5931 h 10007"/>
                  <a:gd name="T132" fmla="+- 0 18999 3354"/>
                  <a:gd name="T133" fmla="*/ T132 w 17384"/>
                  <a:gd name="T134" fmla="+- 0 5893 5573"/>
                  <a:gd name="T135" fmla="*/ 5893 h 10007"/>
                  <a:gd name="T136" fmla="+- 0 18982 3354"/>
                  <a:gd name="T137" fmla="*/ T136 w 17384"/>
                  <a:gd name="T138" fmla="+- 0 5856 5573"/>
                  <a:gd name="T139" fmla="*/ 5856 h 10007"/>
                  <a:gd name="T140" fmla="+- 0 18963 3354"/>
                  <a:gd name="T141" fmla="*/ T140 w 17384"/>
                  <a:gd name="T142" fmla="+- 0 5837 5573"/>
                  <a:gd name="T143" fmla="*/ 5837 h 10007"/>
                  <a:gd name="T144" fmla="+- 0 18942 3354"/>
                  <a:gd name="T145" fmla="*/ T144 w 17384"/>
                  <a:gd name="T146" fmla="+- 0 5818 5573"/>
                  <a:gd name="T147" fmla="*/ 5818 h 10007"/>
                  <a:gd name="T148" fmla="+- 0 18919 3354"/>
                  <a:gd name="T149" fmla="*/ T148 w 17384"/>
                  <a:gd name="T150" fmla="+- 0 5780 5573"/>
                  <a:gd name="T151" fmla="*/ 5780 h 10007"/>
                  <a:gd name="T152" fmla="+- 0 18895 3354"/>
                  <a:gd name="T153" fmla="*/ T152 w 17384"/>
                  <a:gd name="T154" fmla="+- 0 5761 5573"/>
                  <a:gd name="T155" fmla="*/ 5761 h 10007"/>
                  <a:gd name="T156" fmla="+- 0 18869 3354"/>
                  <a:gd name="T157" fmla="*/ T156 w 17384"/>
                  <a:gd name="T158" fmla="+- 0 5742 5573"/>
                  <a:gd name="T159" fmla="*/ 5742 h 10007"/>
                  <a:gd name="T160" fmla="+- 0 18841 3354"/>
                  <a:gd name="T161" fmla="*/ T160 w 17384"/>
                  <a:gd name="T162" fmla="+- 0 5724 5573"/>
                  <a:gd name="T163" fmla="*/ 5724 h 10007"/>
                  <a:gd name="T164" fmla="+- 0 18812 3354"/>
                  <a:gd name="T165" fmla="*/ T164 w 17384"/>
                  <a:gd name="T166" fmla="+- 0 5705 5573"/>
                  <a:gd name="T167" fmla="*/ 5705 h 10007"/>
                  <a:gd name="T168" fmla="+- 0 18781 3354"/>
                  <a:gd name="T169" fmla="*/ T168 w 17384"/>
                  <a:gd name="T170" fmla="+- 0 5686 5573"/>
                  <a:gd name="T171" fmla="*/ 5686 h 10007"/>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 ang="0">
                    <a:pos x="T41" y="T43"/>
                  </a:cxn>
                  <a:cxn ang="0">
                    <a:pos x="T45" y="T47"/>
                  </a:cxn>
                  <a:cxn ang="0">
                    <a:pos x="T49" y="T51"/>
                  </a:cxn>
                  <a:cxn ang="0">
                    <a:pos x="T53" y="T55"/>
                  </a:cxn>
                  <a:cxn ang="0">
                    <a:pos x="T57" y="T59"/>
                  </a:cxn>
                  <a:cxn ang="0">
                    <a:pos x="T61" y="T63"/>
                  </a:cxn>
                  <a:cxn ang="0">
                    <a:pos x="T65" y="T67"/>
                  </a:cxn>
                  <a:cxn ang="0">
                    <a:pos x="T69" y="T71"/>
                  </a:cxn>
                  <a:cxn ang="0">
                    <a:pos x="T73" y="T75"/>
                  </a:cxn>
                  <a:cxn ang="0">
                    <a:pos x="T77" y="T79"/>
                  </a:cxn>
                  <a:cxn ang="0">
                    <a:pos x="T81" y="T83"/>
                  </a:cxn>
                  <a:cxn ang="0">
                    <a:pos x="T85" y="T87"/>
                  </a:cxn>
                  <a:cxn ang="0">
                    <a:pos x="T89" y="T91"/>
                  </a:cxn>
                  <a:cxn ang="0">
                    <a:pos x="T93" y="T95"/>
                  </a:cxn>
                  <a:cxn ang="0">
                    <a:pos x="T97" y="T99"/>
                  </a:cxn>
                  <a:cxn ang="0">
                    <a:pos x="T101" y="T103"/>
                  </a:cxn>
                  <a:cxn ang="0">
                    <a:pos x="T105" y="T107"/>
                  </a:cxn>
                  <a:cxn ang="0">
                    <a:pos x="T109" y="T111"/>
                  </a:cxn>
                  <a:cxn ang="0">
                    <a:pos x="T113" y="T115"/>
                  </a:cxn>
                  <a:cxn ang="0">
                    <a:pos x="T117" y="T119"/>
                  </a:cxn>
                  <a:cxn ang="0">
                    <a:pos x="T121" y="T123"/>
                  </a:cxn>
                  <a:cxn ang="0">
                    <a:pos x="T125" y="T127"/>
                  </a:cxn>
                  <a:cxn ang="0">
                    <a:pos x="T129" y="T131"/>
                  </a:cxn>
                  <a:cxn ang="0">
                    <a:pos x="T133" y="T135"/>
                  </a:cxn>
                  <a:cxn ang="0">
                    <a:pos x="T137" y="T139"/>
                  </a:cxn>
                  <a:cxn ang="0">
                    <a:pos x="T141" y="T143"/>
                  </a:cxn>
                  <a:cxn ang="0">
                    <a:pos x="T145" y="T147"/>
                  </a:cxn>
                  <a:cxn ang="0">
                    <a:pos x="T149" y="T151"/>
                  </a:cxn>
                  <a:cxn ang="0">
                    <a:pos x="T153" y="T155"/>
                  </a:cxn>
                  <a:cxn ang="0">
                    <a:pos x="T157" y="T159"/>
                  </a:cxn>
                  <a:cxn ang="0">
                    <a:pos x="T161" y="T163"/>
                  </a:cxn>
                  <a:cxn ang="0">
                    <a:pos x="T165" y="T167"/>
                  </a:cxn>
                  <a:cxn ang="0">
                    <a:pos x="T169" y="T171"/>
                  </a:cxn>
                </a:cxnLst>
                <a:rect l="0" t="0" r="r" b="b"/>
                <a:pathLst>
                  <a:path w="17384" h="10007">
                    <a:moveTo>
                      <a:pt x="15427" y="113"/>
                    </a:moveTo>
                    <a:lnTo>
                      <a:pt x="15290" y="113"/>
                    </a:lnTo>
                    <a:lnTo>
                      <a:pt x="15322" y="132"/>
                    </a:lnTo>
                    <a:lnTo>
                      <a:pt x="15383" y="132"/>
                    </a:lnTo>
                    <a:lnTo>
                      <a:pt x="15413" y="151"/>
                    </a:lnTo>
                    <a:lnTo>
                      <a:pt x="15441" y="169"/>
                    </a:lnTo>
                    <a:lnTo>
                      <a:pt x="15468" y="188"/>
                    </a:lnTo>
                    <a:lnTo>
                      <a:pt x="15493" y="188"/>
                    </a:lnTo>
                    <a:lnTo>
                      <a:pt x="15517" y="207"/>
                    </a:lnTo>
                    <a:lnTo>
                      <a:pt x="15540" y="245"/>
                    </a:lnTo>
                    <a:lnTo>
                      <a:pt x="15560" y="264"/>
                    </a:lnTo>
                    <a:lnTo>
                      <a:pt x="15580" y="283"/>
                    </a:lnTo>
                    <a:lnTo>
                      <a:pt x="15597" y="301"/>
                    </a:lnTo>
                    <a:lnTo>
                      <a:pt x="15612" y="339"/>
                    </a:lnTo>
                    <a:lnTo>
                      <a:pt x="15625" y="358"/>
                    </a:lnTo>
                    <a:lnTo>
                      <a:pt x="15636" y="396"/>
                    </a:lnTo>
                    <a:lnTo>
                      <a:pt x="15645" y="414"/>
                    </a:lnTo>
                    <a:lnTo>
                      <a:pt x="15651" y="452"/>
                    </a:lnTo>
                    <a:lnTo>
                      <a:pt x="15655" y="490"/>
                    </a:lnTo>
                    <a:lnTo>
                      <a:pt x="15657" y="528"/>
                    </a:lnTo>
                    <a:lnTo>
                      <a:pt x="15657" y="9083"/>
                    </a:lnTo>
                    <a:lnTo>
                      <a:pt x="15630" y="9159"/>
                    </a:lnTo>
                    <a:lnTo>
                      <a:pt x="15600" y="9196"/>
                    </a:lnTo>
                    <a:lnTo>
                      <a:pt x="15582" y="9196"/>
                    </a:lnTo>
                    <a:lnTo>
                      <a:pt x="15562" y="9215"/>
                    </a:lnTo>
                    <a:lnTo>
                      <a:pt x="15632" y="9215"/>
                    </a:lnTo>
                    <a:lnTo>
                      <a:pt x="15648" y="9196"/>
                    </a:lnTo>
                    <a:lnTo>
                      <a:pt x="15681" y="9140"/>
                    </a:lnTo>
                    <a:lnTo>
                      <a:pt x="15693" y="8216"/>
                    </a:lnTo>
                    <a:lnTo>
                      <a:pt x="15693" y="528"/>
                    </a:lnTo>
                    <a:lnTo>
                      <a:pt x="15688" y="452"/>
                    </a:lnTo>
                    <a:lnTo>
                      <a:pt x="15671" y="377"/>
                    </a:lnTo>
                    <a:lnTo>
                      <a:pt x="15659" y="358"/>
                    </a:lnTo>
                    <a:lnTo>
                      <a:pt x="15645" y="320"/>
                    </a:lnTo>
                    <a:lnTo>
                      <a:pt x="15628" y="283"/>
                    </a:lnTo>
                    <a:lnTo>
                      <a:pt x="15609" y="264"/>
                    </a:lnTo>
                    <a:lnTo>
                      <a:pt x="15588" y="245"/>
                    </a:lnTo>
                    <a:lnTo>
                      <a:pt x="15565" y="207"/>
                    </a:lnTo>
                    <a:lnTo>
                      <a:pt x="15541" y="188"/>
                    </a:lnTo>
                    <a:lnTo>
                      <a:pt x="15515" y="169"/>
                    </a:lnTo>
                    <a:lnTo>
                      <a:pt x="15487" y="151"/>
                    </a:lnTo>
                    <a:lnTo>
                      <a:pt x="15458" y="132"/>
                    </a:lnTo>
                    <a:lnTo>
                      <a:pt x="15427" y="113"/>
                    </a:lnTo>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ts val="1400"/>
                  </a:lnSpc>
                  <a:spcBef>
                    <a:spcPts val="0"/>
                  </a:spcBef>
                  <a:spcAft>
                    <a:spcPct val="0"/>
                  </a:spcAft>
                  <a:buClrTx/>
                  <a:buSzTx/>
                  <a:buFontTx/>
                  <a:buNone/>
                  <a:tabLst/>
                  <a:defRPr/>
                </a:pPr>
                <a:endParaRPr kumimoji="0" lang="en-US" sz="1200" b="0" i="0" u="none" strike="noStrike" kern="0" cap="none" spc="0" normalizeH="0" baseline="0" noProof="0" dirty="0">
                  <a:ln>
                    <a:noFill/>
                  </a:ln>
                  <a:solidFill>
                    <a:srgbClr val="010024"/>
                  </a:solidFill>
                  <a:effectLst/>
                  <a:uLnTx/>
                  <a:uFillTx/>
                  <a:latin typeface="EYInterstate Regular" pitchFamily="1" charset="0"/>
                  <a:ea typeface="+mn-ea"/>
                  <a:cs typeface="+mn-cs"/>
                </a:endParaRPr>
              </a:p>
            </p:txBody>
          </p:sp>
          <p:sp>
            <p:nvSpPr>
              <p:cNvPr id="48" name="Freeform 29"/>
              <p:cNvSpPr>
                <a:spLocks/>
              </p:cNvSpPr>
              <p:nvPr/>
            </p:nvSpPr>
            <p:spPr bwMode="auto">
              <a:xfrm>
                <a:off x="3354" y="5573"/>
                <a:ext cx="17384" cy="10007"/>
              </a:xfrm>
              <a:custGeom>
                <a:avLst/>
                <a:gdLst>
                  <a:gd name="T0" fmla="+- 0 18716 3354"/>
                  <a:gd name="T1" fmla="*/ T0 w 17384"/>
                  <a:gd name="T2" fmla="+- 0 5667 5573"/>
                  <a:gd name="T3" fmla="*/ 5667 h 10007"/>
                  <a:gd name="T4" fmla="+- 0 5379 3354"/>
                  <a:gd name="T5" fmla="*/ T4 w 17384"/>
                  <a:gd name="T6" fmla="+- 0 5667 5573"/>
                  <a:gd name="T7" fmla="*/ 5667 h 10007"/>
                  <a:gd name="T8" fmla="+- 0 5346 3354"/>
                  <a:gd name="T9" fmla="*/ T8 w 17384"/>
                  <a:gd name="T10" fmla="+- 0 5686 5573"/>
                  <a:gd name="T11" fmla="*/ 5686 h 10007"/>
                  <a:gd name="T12" fmla="+- 0 18749 3354"/>
                  <a:gd name="T13" fmla="*/ T12 w 17384"/>
                  <a:gd name="T14" fmla="+- 0 5686 5573"/>
                  <a:gd name="T15" fmla="*/ 5686 h 10007"/>
                  <a:gd name="T16" fmla="+- 0 18716 3354"/>
                  <a:gd name="T17" fmla="*/ T16 w 17384"/>
                  <a:gd name="T18" fmla="+- 0 5667 5573"/>
                  <a:gd name="T19" fmla="*/ 5667 h 10007"/>
                </a:gdLst>
                <a:ahLst/>
                <a:cxnLst>
                  <a:cxn ang="0">
                    <a:pos x="T1" y="T3"/>
                  </a:cxn>
                  <a:cxn ang="0">
                    <a:pos x="T5" y="T7"/>
                  </a:cxn>
                  <a:cxn ang="0">
                    <a:pos x="T9" y="T11"/>
                  </a:cxn>
                  <a:cxn ang="0">
                    <a:pos x="T13" y="T15"/>
                  </a:cxn>
                  <a:cxn ang="0">
                    <a:pos x="T17" y="T19"/>
                  </a:cxn>
                </a:cxnLst>
                <a:rect l="0" t="0" r="r" b="b"/>
                <a:pathLst>
                  <a:path w="17384" h="10007">
                    <a:moveTo>
                      <a:pt x="15362" y="94"/>
                    </a:moveTo>
                    <a:lnTo>
                      <a:pt x="2025" y="94"/>
                    </a:lnTo>
                    <a:lnTo>
                      <a:pt x="1992" y="113"/>
                    </a:lnTo>
                    <a:lnTo>
                      <a:pt x="15395" y="113"/>
                    </a:lnTo>
                    <a:lnTo>
                      <a:pt x="15362" y="94"/>
                    </a:lnTo>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ts val="1400"/>
                  </a:lnSpc>
                  <a:spcBef>
                    <a:spcPts val="0"/>
                  </a:spcBef>
                  <a:spcAft>
                    <a:spcPct val="0"/>
                  </a:spcAft>
                  <a:buClrTx/>
                  <a:buSzTx/>
                  <a:buFontTx/>
                  <a:buNone/>
                  <a:tabLst/>
                  <a:defRPr/>
                </a:pPr>
                <a:endParaRPr kumimoji="0" lang="en-US" sz="1200" b="0" i="0" u="none" strike="noStrike" kern="0" cap="none" spc="0" normalizeH="0" baseline="0" noProof="0" dirty="0">
                  <a:ln>
                    <a:noFill/>
                  </a:ln>
                  <a:solidFill>
                    <a:srgbClr val="010024"/>
                  </a:solidFill>
                  <a:effectLst/>
                  <a:uLnTx/>
                  <a:uFillTx/>
                  <a:latin typeface="EYInterstate Regular" pitchFamily="1" charset="0"/>
                  <a:ea typeface="+mn-ea"/>
                  <a:cs typeface="+mn-cs"/>
                </a:endParaRPr>
              </a:p>
            </p:txBody>
          </p:sp>
          <p:sp>
            <p:nvSpPr>
              <p:cNvPr id="49" name="Freeform 30"/>
              <p:cNvSpPr>
                <a:spLocks/>
              </p:cNvSpPr>
              <p:nvPr/>
            </p:nvSpPr>
            <p:spPr bwMode="auto">
              <a:xfrm>
                <a:off x="3354" y="5573"/>
                <a:ext cx="17384" cy="10007"/>
              </a:xfrm>
              <a:custGeom>
                <a:avLst/>
                <a:gdLst>
                  <a:gd name="T0" fmla="+- 0 18611 3354"/>
                  <a:gd name="T1" fmla="*/ T0 w 17384"/>
                  <a:gd name="T2" fmla="+- 0 5648 5573"/>
                  <a:gd name="T3" fmla="*/ 5648 h 10007"/>
                  <a:gd name="T4" fmla="+- 0 5483 3354"/>
                  <a:gd name="T5" fmla="*/ T4 w 17384"/>
                  <a:gd name="T6" fmla="+- 0 5648 5573"/>
                  <a:gd name="T7" fmla="*/ 5648 h 10007"/>
                  <a:gd name="T8" fmla="+- 0 5448 3354"/>
                  <a:gd name="T9" fmla="*/ T8 w 17384"/>
                  <a:gd name="T10" fmla="+- 0 5667 5573"/>
                  <a:gd name="T11" fmla="*/ 5667 h 10007"/>
                  <a:gd name="T12" fmla="+- 0 18647 3354"/>
                  <a:gd name="T13" fmla="*/ T12 w 17384"/>
                  <a:gd name="T14" fmla="+- 0 5667 5573"/>
                  <a:gd name="T15" fmla="*/ 5667 h 10007"/>
                  <a:gd name="T16" fmla="+- 0 18611 3354"/>
                  <a:gd name="T17" fmla="*/ T16 w 17384"/>
                  <a:gd name="T18" fmla="+- 0 5648 5573"/>
                  <a:gd name="T19" fmla="*/ 5648 h 10007"/>
                </a:gdLst>
                <a:ahLst/>
                <a:cxnLst>
                  <a:cxn ang="0">
                    <a:pos x="T1" y="T3"/>
                  </a:cxn>
                  <a:cxn ang="0">
                    <a:pos x="T5" y="T7"/>
                  </a:cxn>
                  <a:cxn ang="0">
                    <a:pos x="T9" y="T11"/>
                  </a:cxn>
                  <a:cxn ang="0">
                    <a:pos x="T13" y="T15"/>
                  </a:cxn>
                  <a:cxn ang="0">
                    <a:pos x="T17" y="T19"/>
                  </a:cxn>
                </a:cxnLst>
                <a:rect l="0" t="0" r="r" b="b"/>
                <a:pathLst>
                  <a:path w="17384" h="10007">
                    <a:moveTo>
                      <a:pt x="15257" y="75"/>
                    </a:moveTo>
                    <a:lnTo>
                      <a:pt x="2129" y="75"/>
                    </a:lnTo>
                    <a:lnTo>
                      <a:pt x="2094" y="94"/>
                    </a:lnTo>
                    <a:lnTo>
                      <a:pt x="15293" y="94"/>
                    </a:lnTo>
                    <a:lnTo>
                      <a:pt x="15257" y="75"/>
                    </a:lnTo>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ts val="1400"/>
                  </a:lnSpc>
                  <a:spcBef>
                    <a:spcPts val="0"/>
                  </a:spcBef>
                  <a:spcAft>
                    <a:spcPct val="0"/>
                  </a:spcAft>
                  <a:buClrTx/>
                  <a:buSzTx/>
                  <a:buFontTx/>
                  <a:buNone/>
                  <a:tabLst/>
                  <a:defRPr/>
                </a:pPr>
                <a:endParaRPr kumimoji="0" lang="en-US" sz="1200" b="0" i="0" u="none" strike="noStrike" kern="0" cap="none" spc="0" normalizeH="0" baseline="0" noProof="0" dirty="0">
                  <a:ln>
                    <a:noFill/>
                  </a:ln>
                  <a:solidFill>
                    <a:srgbClr val="010024"/>
                  </a:solidFill>
                  <a:effectLst/>
                  <a:uLnTx/>
                  <a:uFillTx/>
                  <a:latin typeface="EYInterstate Regular" pitchFamily="1" charset="0"/>
                  <a:ea typeface="+mn-ea"/>
                  <a:cs typeface="+mn-cs"/>
                </a:endParaRPr>
              </a:p>
            </p:txBody>
          </p:sp>
          <p:sp>
            <p:nvSpPr>
              <p:cNvPr id="50" name="Freeform 31"/>
              <p:cNvSpPr>
                <a:spLocks/>
              </p:cNvSpPr>
              <p:nvPr/>
            </p:nvSpPr>
            <p:spPr bwMode="auto">
              <a:xfrm>
                <a:off x="3354" y="5573"/>
                <a:ext cx="17384" cy="10007"/>
              </a:xfrm>
              <a:custGeom>
                <a:avLst/>
                <a:gdLst>
                  <a:gd name="T0" fmla="+- 0 18690 3354"/>
                  <a:gd name="T1" fmla="*/ T0 w 17384"/>
                  <a:gd name="T2" fmla="+- 0 5573 5573"/>
                  <a:gd name="T3" fmla="*/ 5573 h 10007"/>
                  <a:gd name="T4" fmla="+- 0 5404 3354"/>
                  <a:gd name="T5" fmla="*/ T4 w 17384"/>
                  <a:gd name="T6" fmla="+- 0 5573 5573"/>
                  <a:gd name="T7" fmla="*/ 5573 h 10007"/>
                  <a:gd name="T8" fmla="+- 0 5363 3354"/>
                  <a:gd name="T9" fmla="*/ T8 w 17384"/>
                  <a:gd name="T10" fmla="+- 0 5592 5573"/>
                  <a:gd name="T11" fmla="*/ 5592 h 10007"/>
                  <a:gd name="T12" fmla="+- 0 18732 3354"/>
                  <a:gd name="T13" fmla="*/ T12 w 17384"/>
                  <a:gd name="T14" fmla="+- 0 5592 5573"/>
                  <a:gd name="T15" fmla="*/ 5592 h 10007"/>
                  <a:gd name="T16" fmla="+- 0 18690 3354"/>
                  <a:gd name="T17" fmla="*/ T16 w 17384"/>
                  <a:gd name="T18" fmla="+- 0 5573 5573"/>
                  <a:gd name="T19" fmla="*/ 5573 h 10007"/>
                </a:gdLst>
                <a:ahLst/>
                <a:cxnLst>
                  <a:cxn ang="0">
                    <a:pos x="T1" y="T3"/>
                  </a:cxn>
                  <a:cxn ang="0">
                    <a:pos x="T5" y="T7"/>
                  </a:cxn>
                  <a:cxn ang="0">
                    <a:pos x="T9" y="T11"/>
                  </a:cxn>
                  <a:cxn ang="0">
                    <a:pos x="T13" y="T15"/>
                  </a:cxn>
                  <a:cxn ang="0">
                    <a:pos x="T17" y="T19"/>
                  </a:cxn>
                </a:cxnLst>
                <a:rect l="0" t="0" r="r" b="b"/>
                <a:pathLst>
                  <a:path w="17384" h="10007">
                    <a:moveTo>
                      <a:pt x="15336" y="0"/>
                    </a:moveTo>
                    <a:lnTo>
                      <a:pt x="2050" y="0"/>
                    </a:lnTo>
                    <a:lnTo>
                      <a:pt x="2009" y="19"/>
                    </a:lnTo>
                    <a:lnTo>
                      <a:pt x="15378" y="19"/>
                    </a:lnTo>
                    <a:lnTo>
                      <a:pt x="15336" y="0"/>
                    </a:lnTo>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ts val="1400"/>
                  </a:lnSpc>
                  <a:spcBef>
                    <a:spcPts val="0"/>
                  </a:spcBef>
                  <a:spcAft>
                    <a:spcPct val="0"/>
                  </a:spcAft>
                  <a:buClrTx/>
                  <a:buSzTx/>
                  <a:buFontTx/>
                  <a:buNone/>
                  <a:tabLst/>
                  <a:defRPr/>
                </a:pPr>
                <a:endParaRPr kumimoji="0" lang="en-US" sz="1200" b="0" i="0" u="none" strike="noStrike" kern="0" cap="none" spc="0" normalizeH="0" baseline="0" noProof="0" dirty="0">
                  <a:ln>
                    <a:noFill/>
                  </a:ln>
                  <a:solidFill>
                    <a:srgbClr val="010024"/>
                  </a:solidFill>
                  <a:effectLst/>
                  <a:uLnTx/>
                  <a:uFillTx/>
                  <a:latin typeface="EYInterstate Regular" pitchFamily="1" charset="0"/>
                  <a:ea typeface="+mn-ea"/>
                  <a:cs typeface="+mn-cs"/>
                </a:endParaRPr>
              </a:p>
            </p:txBody>
          </p:sp>
        </p:grpSp>
        <p:grpSp>
          <p:nvGrpSpPr>
            <p:cNvPr id="13" name="Group 32"/>
            <p:cNvGrpSpPr>
              <a:grpSpLocks/>
            </p:cNvGrpSpPr>
            <p:nvPr/>
          </p:nvGrpSpPr>
          <p:grpSpPr bwMode="auto">
            <a:xfrm>
              <a:off x="5397" y="6126"/>
              <a:ext cx="13298" cy="8350"/>
              <a:chOff x="5397" y="6126"/>
              <a:chExt cx="13298" cy="8350"/>
            </a:xfrm>
            <a:grpFill/>
          </p:grpSpPr>
          <p:sp>
            <p:nvSpPr>
              <p:cNvPr id="22" name="Freeform 33"/>
              <p:cNvSpPr>
                <a:spLocks/>
              </p:cNvSpPr>
              <p:nvPr/>
            </p:nvSpPr>
            <p:spPr bwMode="auto">
              <a:xfrm>
                <a:off x="5397" y="6126"/>
                <a:ext cx="13298" cy="8350"/>
              </a:xfrm>
              <a:custGeom>
                <a:avLst/>
                <a:gdLst>
                  <a:gd name="T0" fmla="+- 0 18649 5397"/>
                  <a:gd name="T1" fmla="*/ T0 w 13298"/>
                  <a:gd name="T2" fmla="+- 0 6126 6126"/>
                  <a:gd name="T3" fmla="*/ 6126 h 8350"/>
                  <a:gd name="T4" fmla="+- 0 5443 5397"/>
                  <a:gd name="T5" fmla="*/ T4 w 13298"/>
                  <a:gd name="T6" fmla="+- 0 6126 6126"/>
                  <a:gd name="T7" fmla="*/ 6126 h 8350"/>
                  <a:gd name="T8" fmla="+- 0 5421 5397"/>
                  <a:gd name="T9" fmla="*/ T8 w 13298"/>
                  <a:gd name="T10" fmla="+- 0 6131 6126"/>
                  <a:gd name="T11" fmla="*/ 6131 h 8350"/>
                  <a:gd name="T12" fmla="+- 0 5405 5397"/>
                  <a:gd name="T13" fmla="*/ T12 w 13298"/>
                  <a:gd name="T14" fmla="+- 0 6145 6126"/>
                  <a:gd name="T15" fmla="*/ 6145 h 8350"/>
                  <a:gd name="T16" fmla="+- 0 5397 5397"/>
                  <a:gd name="T17" fmla="*/ T16 w 13298"/>
                  <a:gd name="T18" fmla="+- 0 6166 6126"/>
                  <a:gd name="T19" fmla="*/ 6166 h 8350"/>
                  <a:gd name="T20" fmla="+- 0 5397 5397"/>
                  <a:gd name="T21" fmla="*/ T20 w 13298"/>
                  <a:gd name="T22" fmla="+- 0 14430 6126"/>
                  <a:gd name="T23" fmla="*/ 14430 h 8350"/>
                  <a:gd name="T24" fmla="+- 0 5402 5397"/>
                  <a:gd name="T25" fmla="*/ T24 w 13298"/>
                  <a:gd name="T26" fmla="+- 0 14451 6126"/>
                  <a:gd name="T27" fmla="*/ 14451 h 8350"/>
                  <a:gd name="T28" fmla="+- 0 5417 5397"/>
                  <a:gd name="T29" fmla="*/ T28 w 13298"/>
                  <a:gd name="T30" fmla="+- 0 14468 6126"/>
                  <a:gd name="T31" fmla="*/ 14468 h 8350"/>
                  <a:gd name="T32" fmla="+- 0 5437 5397"/>
                  <a:gd name="T33" fmla="*/ T32 w 13298"/>
                  <a:gd name="T34" fmla="+- 0 14475 6126"/>
                  <a:gd name="T35" fmla="*/ 14475 h 8350"/>
                  <a:gd name="T36" fmla="+- 0 18649 5397"/>
                  <a:gd name="T37" fmla="*/ T36 w 13298"/>
                  <a:gd name="T38" fmla="+- 0 14476 6126"/>
                  <a:gd name="T39" fmla="*/ 14476 h 8350"/>
                  <a:gd name="T40" fmla="+- 0 18671 5397"/>
                  <a:gd name="T41" fmla="*/ T40 w 13298"/>
                  <a:gd name="T42" fmla="+- 0 14470 6126"/>
                  <a:gd name="T43" fmla="*/ 14470 h 8350"/>
                  <a:gd name="T44" fmla="+- 0 18687 5397"/>
                  <a:gd name="T45" fmla="*/ T44 w 13298"/>
                  <a:gd name="T46" fmla="+- 0 14456 6126"/>
                  <a:gd name="T47" fmla="*/ 14456 h 8350"/>
                  <a:gd name="T48" fmla="+- 0 18695 5397"/>
                  <a:gd name="T49" fmla="*/ T48 w 13298"/>
                  <a:gd name="T50" fmla="+- 0 14435 6126"/>
                  <a:gd name="T51" fmla="*/ 14435 h 8350"/>
                  <a:gd name="T52" fmla="+- 0 18695 5397"/>
                  <a:gd name="T53" fmla="*/ T52 w 13298"/>
                  <a:gd name="T54" fmla="+- 0 14430 6126"/>
                  <a:gd name="T55" fmla="*/ 14430 h 8350"/>
                  <a:gd name="T56" fmla="+- 0 5443 5397"/>
                  <a:gd name="T57" fmla="*/ T56 w 13298"/>
                  <a:gd name="T58" fmla="+- 0 14430 6126"/>
                  <a:gd name="T59" fmla="*/ 14430 h 8350"/>
                  <a:gd name="T60" fmla="+- 0 5443 5397"/>
                  <a:gd name="T61" fmla="*/ T60 w 13298"/>
                  <a:gd name="T62" fmla="+- 0 6171 6126"/>
                  <a:gd name="T63" fmla="*/ 6171 h 8350"/>
                  <a:gd name="T64" fmla="+- 0 18695 5397"/>
                  <a:gd name="T65" fmla="*/ T64 w 13298"/>
                  <a:gd name="T66" fmla="+- 0 6171 6126"/>
                  <a:gd name="T67" fmla="*/ 6171 h 8350"/>
                  <a:gd name="T68" fmla="+- 0 18690 5397"/>
                  <a:gd name="T69" fmla="*/ T68 w 13298"/>
                  <a:gd name="T70" fmla="+- 0 6150 6126"/>
                  <a:gd name="T71" fmla="*/ 6150 h 8350"/>
                  <a:gd name="T72" fmla="+- 0 18675 5397"/>
                  <a:gd name="T73" fmla="*/ T72 w 13298"/>
                  <a:gd name="T74" fmla="+- 0 6134 6126"/>
                  <a:gd name="T75" fmla="*/ 6134 h 8350"/>
                  <a:gd name="T76" fmla="+- 0 18655 5397"/>
                  <a:gd name="T77" fmla="*/ T76 w 13298"/>
                  <a:gd name="T78" fmla="+- 0 6126 6126"/>
                  <a:gd name="T79" fmla="*/ 6126 h 8350"/>
                  <a:gd name="T80" fmla="+- 0 18649 5397"/>
                  <a:gd name="T81" fmla="*/ T80 w 13298"/>
                  <a:gd name="T82" fmla="+- 0 6126 6126"/>
                  <a:gd name="T83" fmla="*/ 6126 h 8350"/>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 ang="0">
                    <a:pos x="T41" y="T43"/>
                  </a:cxn>
                  <a:cxn ang="0">
                    <a:pos x="T45" y="T47"/>
                  </a:cxn>
                  <a:cxn ang="0">
                    <a:pos x="T49" y="T51"/>
                  </a:cxn>
                  <a:cxn ang="0">
                    <a:pos x="T53" y="T55"/>
                  </a:cxn>
                  <a:cxn ang="0">
                    <a:pos x="T57" y="T59"/>
                  </a:cxn>
                  <a:cxn ang="0">
                    <a:pos x="T61" y="T63"/>
                  </a:cxn>
                  <a:cxn ang="0">
                    <a:pos x="T65" y="T67"/>
                  </a:cxn>
                  <a:cxn ang="0">
                    <a:pos x="T69" y="T71"/>
                  </a:cxn>
                  <a:cxn ang="0">
                    <a:pos x="T73" y="T75"/>
                  </a:cxn>
                  <a:cxn ang="0">
                    <a:pos x="T77" y="T79"/>
                  </a:cxn>
                  <a:cxn ang="0">
                    <a:pos x="T81" y="T83"/>
                  </a:cxn>
                </a:cxnLst>
                <a:rect l="0" t="0" r="r" b="b"/>
                <a:pathLst>
                  <a:path w="13298" h="8350">
                    <a:moveTo>
                      <a:pt x="13252" y="0"/>
                    </a:moveTo>
                    <a:lnTo>
                      <a:pt x="46" y="0"/>
                    </a:lnTo>
                    <a:lnTo>
                      <a:pt x="24" y="5"/>
                    </a:lnTo>
                    <a:lnTo>
                      <a:pt x="8" y="19"/>
                    </a:lnTo>
                    <a:lnTo>
                      <a:pt x="0" y="40"/>
                    </a:lnTo>
                    <a:lnTo>
                      <a:pt x="0" y="8304"/>
                    </a:lnTo>
                    <a:lnTo>
                      <a:pt x="5" y="8325"/>
                    </a:lnTo>
                    <a:lnTo>
                      <a:pt x="20" y="8342"/>
                    </a:lnTo>
                    <a:lnTo>
                      <a:pt x="40" y="8349"/>
                    </a:lnTo>
                    <a:lnTo>
                      <a:pt x="13252" y="8350"/>
                    </a:lnTo>
                    <a:lnTo>
                      <a:pt x="13274" y="8344"/>
                    </a:lnTo>
                    <a:lnTo>
                      <a:pt x="13290" y="8330"/>
                    </a:lnTo>
                    <a:lnTo>
                      <a:pt x="13298" y="8309"/>
                    </a:lnTo>
                    <a:lnTo>
                      <a:pt x="13298" y="8304"/>
                    </a:lnTo>
                    <a:lnTo>
                      <a:pt x="46" y="8304"/>
                    </a:lnTo>
                    <a:lnTo>
                      <a:pt x="46" y="45"/>
                    </a:lnTo>
                    <a:lnTo>
                      <a:pt x="13298" y="45"/>
                    </a:lnTo>
                    <a:lnTo>
                      <a:pt x="13293" y="24"/>
                    </a:lnTo>
                    <a:lnTo>
                      <a:pt x="13278" y="8"/>
                    </a:lnTo>
                    <a:lnTo>
                      <a:pt x="13258" y="0"/>
                    </a:lnTo>
                    <a:lnTo>
                      <a:pt x="13252" y="0"/>
                    </a:lnTo>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ts val="1400"/>
                  </a:lnSpc>
                  <a:spcBef>
                    <a:spcPts val="0"/>
                  </a:spcBef>
                  <a:spcAft>
                    <a:spcPct val="0"/>
                  </a:spcAft>
                  <a:buClrTx/>
                  <a:buSzTx/>
                  <a:buFontTx/>
                  <a:buNone/>
                  <a:tabLst/>
                  <a:defRPr/>
                </a:pPr>
                <a:endParaRPr kumimoji="0" lang="en-US" sz="1200" b="0" i="0" u="none" strike="noStrike" kern="0" cap="none" spc="0" normalizeH="0" baseline="0" noProof="0" dirty="0">
                  <a:ln>
                    <a:noFill/>
                  </a:ln>
                  <a:solidFill>
                    <a:srgbClr val="010024"/>
                  </a:solidFill>
                  <a:effectLst/>
                  <a:uLnTx/>
                  <a:uFillTx/>
                  <a:latin typeface="EYInterstate Regular" pitchFamily="1" charset="0"/>
                  <a:ea typeface="+mn-ea"/>
                  <a:cs typeface="+mn-cs"/>
                </a:endParaRPr>
              </a:p>
            </p:txBody>
          </p:sp>
        </p:grpSp>
        <p:grpSp>
          <p:nvGrpSpPr>
            <p:cNvPr id="14" name="Group 34"/>
            <p:cNvGrpSpPr>
              <a:grpSpLocks/>
            </p:cNvGrpSpPr>
            <p:nvPr/>
          </p:nvGrpSpPr>
          <p:grpSpPr bwMode="auto">
            <a:xfrm>
              <a:off x="18649" y="6171"/>
              <a:ext cx="46" cy="8259"/>
              <a:chOff x="18649" y="6171"/>
              <a:chExt cx="46" cy="8259"/>
            </a:xfrm>
            <a:grpFill/>
          </p:grpSpPr>
          <p:sp>
            <p:nvSpPr>
              <p:cNvPr id="21" name="Freeform 35"/>
              <p:cNvSpPr>
                <a:spLocks/>
              </p:cNvSpPr>
              <p:nvPr/>
            </p:nvSpPr>
            <p:spPr bwMode="auto">
              <a:xfrm>
                <a:off x="18649" y="6171"/>
                <a:ext cx="46" cy="8259"/>
              </a:xfrm>
              <a:custGeom>
                <a:avLst/>
                <a:gdLst>
                  <a:gd name="T0" fmla="+- 0 18695 18649"/>
                  <a:gd name="T1" fmla="*/ T0 w 46"/>
                  <a:gd name="T2" fmla="+- 0 6171 6171"/>
                  <a:gd name="T3" fmla="*/ 6171 h 8259"/>
                  <a:gd name="T4" fmla="+- 0 18649 18649"/>
                  <a:gd name="T5" fmla="*/ T4 w 46"/>
                  <a:gd name="T6" fmla="+- 0 6171 6171"/>
                  <a:gd name="T7" fmla="*/ 6171 h 8259"/>
                  <a:gd name="T8" fmla="+- 0 18649 18649"/>
                  <a:gd name="T9" fmla="*/ T8 w 46"/>
                  <a:gd name="T10" fmla="+- 0 14430 6171"/>
                  <a:gd name="T11" fmla="*/ 14430 h 8259"/>
                  <a:gd name="T12" fmla="+- 0 18695 18649"/>
                  <a:gd name="T13" fmla="*/ T12 w 46"/>
                  <a:gd name="T14" fmla="+- 0 14430 6171"/>
                  <a:gd name="T15" fmla="*/ 14430 h 8259"/>
                  <a:gd name="T16" fmla="+- 0 18695 18649"/>
                  <a:gd name="T17" fmla="*/ T16 w 46"/>
                  <a:gd name="T18" fmla="+- 0 6171 6171"/>
                  <a:gd name="T19" fmla="*/ 6171 h 8259"/>
                </a:gdLst>
                <a:ahLst/>
                <a:cxnLst>
                  <a:cxn ang="0">
                    <a:pos x="T1" y="T3"/>
                  </a:cxn>
                  <a:cxn ang="0">
                    <a:pos x="T5" y="T7"/>
                  </a:cxn>
                  <a:cxn ang="0">
                    <a:pos x="T9" y="T11"/>
                  </a:cxn>
                  <a:cxn ang="0">
                    <a:pos x="T13" y="T15"/>
                  </a:cxn>
                  <a:cxn ang="0">
                    <a:pos x="T17" y="T19"/>
                  </a:cxn>
                </a:cxnLst>
                <a:rect l="0" t="0" r="r" b="b"/>
                <a:pathLst>
                  <a:path w="46" h="8259">
                    <a:moveTo>
                      <a:pt x="46" y="0"/>
                    </a:moveTo>
                    <a:lnTo>
                      <a:pt x="0" y="0"/>
                    </a:lnTo>
                    <a:lnTo>
                      <a:pt x="0" y="8259"/>
                    </a:lnTo>
                    <a:lnTo>
                      <a:pt x="46" y="8259"/>
                    </a:lnTo>
                    <a:lnTo>
                      <a:pt x="46" y="0"/>
                    </a:lnTo>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ts val="1400"/>
                  </a:lnSpc>
                  <a:spcBef>
                    <a:spcPts val="0"/>
                  </a:spcBef>
                  <a:spcAft>
                    <a:spcPct val="0"/>
                  </a:spcAft>
                  <a:buClrTx/>
                  <a:buSzTx/>
                  <a:buFontTx/>
                  <a:buNone/>
                  <a:tabLst/>
                  <a:defRPr/>
                </a:pPr>
                <a:endParaRPr kumimoji="0" lang="en-US" sz="1200" b="0" i="0" u="none" strike="noStrike" kern="0" cap="none" spc="0" normalizeH="0" baseline="0" noProof="0" dirty="0">
                  <a:ln>
                    <a:noFill/>
                  </a:ln>
                  <a:solidFill>
                    <a:srgbClr val="010024"/>
                  </a:solidFill>
                  <a:effectLst/>
                  <a:uLnTx/>
                  <a:uFillTx/>
                  <a:latin typeface="EYInterstate Regular" pitchFamily="1" charset="0"/>
                  <a:ea typeface="+mn-ea"/>
                  <a:cs typeface="+mn-cs"/>
                </a:endParaRPr>
              </a:p>
            </p:txBody>
          </p:sp>
        </p:grpSp>
        <p:grpSp>
          <p:nvGrpSpPr>
            <p:cNvPr id="15" name="Group 36"/>
            <p:cNvGrpSpPr>
              <a:grpSpLocks/>
            </p:cNvGrpSpPr>
            <p:nvPr/>
          </p:nvGrpSpPr>
          <p:grpSpPr bwMode="auto">
            <a:xfrm>
              <a:off x="11977" y="5856"/>
              <a:ext cx="146" cy="146"/>
              <a:chOff x="11977" y="5856"/>
              <a:chExt cx="146" cy="146"/>
            </a:xfrm>
            <a:grpFill/>
          </p:grpSpPr>
          <p:sp>
            <p:nvSpPr>
              <p:cNvPr id="19" name="Freeform 18"/>
              <p:cNvSpPr>
                <a:spLocks/>
              </p:cNvSpPr>
              <p:nvPr/>
            </p:nvSpPr>
            <p:spPr bwMode="auto">
              <a:xfrm>
                <a:off x="11977" y="5856"/>
                <a:ext cx="146" cy="146"/>
              </a:xfrm>
              <a:custGeom>
                <a:avLst/>
                <a:gdLst>
                  <a:gd name="T0" fmla="+- 0 12057 11977"/>
                  <a:gd name="T1" fmla="*/ T0 w 146"/>
                  <a:gd name="T2" fmla="+- 0 5856 5856"/>
                  <a:gd name="T3" fmla="*/ 5856 h 146"/>
                  <a:gd name="T4" fmla="+- 0 11995 11977"/>
                  <a:gd name="T5" fmla="*/ T4 w 146"/>
                  <a:gd name="T6" fmla="+- 0 5881 5856"/>
                  <a:gd name="T7" fmla="*/ 5881 h 146"/>
                  <a:gd name="T8" fmla="+- 0 11977 11977"/>
                  <a:gd name="T9" fmla="*/ T8 w 146"/>
                  <a:gd name="T10" fmla="+- 0 5919 5856"/>
                  <a:gd name="T11" fmla="*/ 5919 h 146"/>
                  <a:gd name="T12" fmla="+- 0 11980 11977"/>
                  <a:gd name="T13" fmla="*/ T12 w 146"/>
                  <a:gd name="T14" fmla="+- 0 5944 5856"/>
                  <a:gd name="T15" fmla="*/ 5944 h 146"/>
                  <a:gd name="T16" fmla="+- 0 12018 11977"/>
                  <a:gd name="T17" fmla="*/ T16 w 146"/>
                  <a:gd name="T18" fmla="+- 0 5994 5856"/>
                  <a:gd name="T19" fmla="*/ 5994 h 146"/>
                  <a:gd name="T20" fmla="+- 0 12050 11977"/>
                  <a:gd name="T21" fmla="*/ T20 w 146"/>
                  <a:gd name="T22" fmla="+- 0 6002 5856"/>
                  <a:gd name="T23" fmla="*/ 6002 h 146"/>
                  <a:gd name="T24" fmla="+- 0 12072 11977"/>
                  <a:gd name="T25" fmla="*/ T24 w 146"/>
                  <a:gd name="T26" fmla="+- 0 5998 5856"/>
                  <a:gd name="T27" fmla="*/ 5998 h 146"/>
                  <a:gd name="T28" fmla="+- 0 12092 11977"/>
                  <a:gd name="T29" fmla="*/ T28 w 146"/>
                  <a:gd name="T30" fmla="+- 0 5989 5856"/>
                  <a:gd name="T31" fmla="*/ 5989 h 146"/>
                  <a:gd name="T32" fmla="+- 0 12107 11977"/>
                  <a:gd name="T33" fmla="*/ T32 w 146"/>
                  <a:gd name="T34" fmla="+- 0 5974 5856"/>
                  <a:gd name="T35" fmla="*/ 5974 h 146"/>
                  <a:gd name="T36" fmla="+- 0 12112 11977"/>
                  <a:gd name="T37" fmla="*/ T36 w 146"/>
                  <a:gd name="T38" fmla="+- 0 5965 5856"/>
                  <a:gd name="T39" fmla="*/ 5965 h 146"/>
                  <a:gd name="T40" fmla="+- 0 12053 11977"/>
                  <a:gd name="T41" fmla="*/ T40 w 146"/>
                  <a:gd name="T42" fmla="+- 0 5965 5856"/>
                  <a:gd name="T43" fmla="*/ 5965 h 146"/>
                  <a:gd name="T44" fmla="+- 0 12030 11977"/>
                  <a:gd name="T45" fmla="*/ T44 w 146"/>
                  <a:gd name="T46" fmla="+- 0 5959 5856"/>
                  <a:gd name="T47" fmla="*/ 5959 h 146"/>
                  <a:gd name="T48" fmla="+- 0 12016 11977"/>
                  <a:gd name="T49" fmla="*/ T48 w 146"/>
                  <a:gd name="T50" fmla="+- 0 5943 5856"/>
                  <a:gd name="T51" fmla="*/ 5943 h 146"/>
                  <a:gd name="T52" fmla="+- 0 12018 11977"/>
                  <a:gd name="T53" fmla="*/ T52 w 146"/>
                  <a:gd name="T54" fmla="+- 0 5916 5856"/>
                  <a:gd name="T55" fmla="*/ 5916 h 146"/>
                  <a:gd name="T56" fmla="+- 0 12029 11977"/>
                  <a:gd name="T57" fmla="*/ T56 w 146"/>
                  <a:gd name="T58" fmla="+- 0 5899 5856"/>
                  <a:gd name="T59" fmla="*/ 5899 h 146"/>
                  <a:gd name="T60" fmla="+- 0 12045 11977"/>
                  <a:gd name="T61" fmla="*/ T60 w 146"/>
                  <a:gd name="T62" fmla="+- 0 5892 5856"/>
                  <a:gd name="T63" fmla="*/ 5892 h 146"/>
                  <a:gd name="T64" fmla="+- 0 12050 11977"/>
                  <a:gd name="T65" fmla="*/ T64 w 146"/>
                  <a:gd name="T66" fmla="+- 0 5892 5856"/>
                  <a:gd name="T67" fmla="*/ 5892 h 146"/>
                  <a:gd name="T68" fmla="+- 0 12112 11977"/>
                  <a:gd name="T69" fmla="*/ T68 w 146"/>
                  <a:gd name="T70" fmla="+- 0 5892 5856"/>
                  <a:gd name="T71" fmla="*/ 5892 h 146"/>
                  <a:gd name="T72" fmla="+- 0 12110 11977"/>
                  <a:gd name="T73" fmla="*/ T72 w 146"/>
                  <a:gd name="T74" fmla="+- 0 5889 5856"/>
                  <a:gd name="T75" fmla="*/ 5889 h 146"/>
                  <a:gd name="T76" fmla="+- 0 12096 11977"/>
                  <a:gd name="T77" fmla="*/ T76 w 146"/>
                  <a:gd name="T78" fmla="+- 0 5872 5856"/>
                  <a:gd name="T79" fmla="*/ 5872 h 146"/>
                  <a:gd name="T80" fmla="+- 0 12078 11977"/>
                  <a:gd name="T81" fmla="*/ T80 w 146"/>
                  <a:gd name="T82" fmla="+- 0 5861 5856"/>
                  <a:gd name="T83" fmla="*/ 5861 h 146"/>
                  <a:gd name="T84" fmla="+- 0 12057 11977"/>
                  <a:gd name="T85" fmla="*/ T84 w 146"/>
                  <a:gd name="T86" fmla="+- 0 5856 5856"/>
                  <a:gd name="T87" fmla="*/ 5856 h 146"/>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 ang="0">
                    <a:pos x="T41" y="T43"/>
                  </a:cxn>
                  <a:cxn ang="0">
                    <a:pos x="T45" y="T47"/>
                  </a:cxn>
                  <a:cxn ang="0">
                    <a:pos x="T49" y="T51"/>
                  </a:cxn>
                  <a:cxn ang="0">
                    <a:pos x="T53" y="T55"/>
                  </a:cxn>
                  <a:cxn ang="0">
                    <a:pos x="T57" y="T59"/>
                  </a:cxn>
                  <a:cxn ang="0">
                    <a:pos x="T61" y="T63"/>
                  </a:cxn>
                  <a:cxn ang="0">
                    <a:pos x="T65" y="T67"/>
                  </a:cxn>
                  <a:cxn ang="0">
                    <a:pos x="T69" y="T71"/>
                  </a:cxn>
                  <a:cxn ang="0">
                    <a:pos x="T73" y="T75"/>
                  </a:cxn>
                  <a:cxn ang="0">
                    <a:pos x="T77" y="T79"/>
                  </a:cxn>
                  <a:cxn ang="0">
                    <a:pos x="T81" y="T83"/>
                  </a:cxn>
                  <a:cxn ang="0">
                    <a:pos x="T85" y="T87"/>
                  </a:cxn>
                </a:cxnLst>
                <a:rect l="0" t="0" r="r" b="b"/>
                <a:pathLst>
                  <a:path w="146" h="146">
                    <a:moveTo>
                      <a:pt x="80" y="0"/>
                    </a:moveTo>
                    <a:lnTo>
                      <a:pt x="18" y="25"/>
                    </a:lnTo>
                    <a:lnTo>
                      <a:pt x="0" y="63"/>
                    </a:lnTo>
                    <a:lnTo>
                      <a:pt x="3" y="88"/>
                    </a:lnTo>
                    <a:lnTo>
                      <a:pt x="41" y="138"/>
                    </a:lnTo>
                    <a:lnTo>
                      <a:pt x="73" y="146"/>
                    </a:lnTo>
                    <a:lnTo>
                      <a:pt x="95" y="142"/>
                    </a:lnTo>
                    <a:lnTo>
                      <a:pt x="115" y="133"/>
                    </a:lnTo>
                    <a:lnTo>
                      <a:pt x="130" y="118"/>
                    </a:lnTo>
                    <a:lnTo>
                      <a:pt x="135" y="109"/>
                    </a:lnTo>
                    <a:lnTo>
                      <a:pt x="76" y="109"/>
                    </a:lnTo>
                    <a:lnTo>
                      <a:pt x="53" y="103"/>
                    </a:lnTo>
                    <a:lnTo>
                      <a:pt x="39" y="87"/>
                    </a:lnTo>
                    <a:lnTo>
                      <a:pt x="41" y="60"/>
                    </a:lnTo>
                    <a:lnTo>
                      <a:pt x="52" y="43"/>
                    </a:lnTo>
                    <a:lnTo>
                      <a:pt x="68" y="36"/>
                    </a:lnTo>
                    <a:lnTo>
                      <a:pt x="73" y="36"/>
                    </a:lnTo>
                    <a:lnTo>
                      <a:pt x="135" y="36"/>
                    </a:lnTo>
                    <a:lnTo>
                      <a:pt x="133" y="33"/>
                    </a:lnTo>
                    <a:lnTo>
                      <a:pt x="119" y="16"/>
                    </a:lnTo>
                    <a:lnTo>
                      <a:pt x="101" y="5"/>
                    </a:lnTo>
                    <a:lnTo>
                      <a:pt x="80" y="0"/>
                    </a:lnTo>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ts val="1400"/>
                  </a:lnSpc>
                  <a:spcBef>
                    <a:spcPts val="0"/>
                  </a:spcBef>
                  <a:spcAft>
                    <a:spcPct val="0"/>
                  </a:spcAft>
                  <a:buClrTx/>
                  <a:buSzTx/>
                  <a:buFontTx/>
                  <a:buNone/>
                  <a:tabLst/>
                  <a:defRPr/>
                </a:pPr>
                <a:endParaRPr kumimoji="0" lang="en-US" sz="1200" b="0" i="0" u="none" strike="noStrike" kern="0" cap="none" spc="0" normalizeH="0" baseline="0" noProof="0" dirty="0">
                  <a:ln>
                    <a:noFill/>
                  </a:ln>
                  <a:solidFill>
                    <a:srgbClr val="010024"/>
                  </a:solidFill>
                  <a:effectLst/>
                  <a:uLnTx/>
                  <a:uFillTx/>
                  <a:latin typeface="EYInterstate Regular" pitchFamily="1" charset="0"/>
                  <a:ea typeface="+mn-ea"/>
                  <a:cs typeface="+mn-cs"/>
                </a:endParaRPr>
              </a:p>
            </p:txBody>
          </p:sp>
          <p:sp>
            <p:nvSpPr>
              <p:cNvPr id="20" name="Freeform 19"/>
              <p:cNvSpPr>
                <a:spLocks/>
              </p:cNvSpPr>
              <p:nvPr/>
            </p:nvSpPr>
            <p:spPr bwMode="auto">
              <a:xfrm>
                <a:off x="11977" y="5856"/>
                <a:ext cx="146" cy="146"/>
              </a:xfrm>
              <a:custGeom>
                <a:avLst/>
                <a:gdLst>
                  <a:gd name="T0" fmla="+- 0 12112 11977"/>
                  <a:gd name="T1" fmla="*/ T0 w 146"/>
                  <a:gd name="T2" fmla="+- 0 5892 5856"/>
                  <a:gd name="T3" fmla="*/ 5892 h 146"/>
                  <a:gd name="T4" fmla="+- 0 12050 11977"/>
                  <a:gd name="T5" fmla="*/ T4 w 146"/>
                  <a:gd name="T6" fmla="+- 0 5892 5856"/>
                  <a:gd name="T7" fmla="*/ 5892 h 146"/>
                  <a:gd name="T8" fmla="+- 0 12071 11977"/>
                  <a:gd name="T9" fmla="*/ T8 w 146"/>
                  <a:gd name="T10" fmla="+- 0 5899 5856"/>
                  <a:gd name="T11" fmla="*/ 5899 h 146"/>
                  <a:gd name="T12" fmla="+- 0 12084 11977"/>
                  <a:gd name="T13" fmla="*/ T12 w 146"/>
                  <a:gd name="T14" fmla="+- 0 5916 5856"/>
                  <a:gd name="T15" fmla="*/ 5916 h 146"/>
                  <a:gd name="T16" fmla="+- 0 12081 11977"/>
                  <a:gd name="T17" fmla="*/ T16 w 146"/>
                  <a:gd name="T18" fmla="+- 0 5942 5856"/>
                  <a:gd name="T19" fmla="*/ 5942 h 146"/>
                  <a:gd name="T20" fmla="+- 0 12070 11977"/>
                  <a:gd name="T21" fmla="*/ T20 w 146"/>
                  <a:gd name="T22" fmla="+- 0 5959 5856"/>
                  <a:gd name="T23" fmla="*/ 5959 h 146"/>
                  <a:gd name="T24" fmla="+- 0 12053 11977"/>
                  <a:gd name="T25" fmla="*/ T24 w 146"/>
                  <a:gd name="T26" fmla="+- 0 5965 5856"/>
                  <a:gd name="T27" fmla="*/ 5965 h 146"/>
                  <a:gd name="T28" fmla="+- 0 12112 11977"/>
                  <a:gd name="T29" fmla="*/ T28 w 146"/>
                  <a:gd name="T30" fmla="+- 0 5965 5856"/>
                  <a:gd name="T31" fmla="*/ 5965 h 146"/>
                  <a:gd name="T32" fmla="+- 0 12118 11977"/>
                  <a:gd name="T33" fmla="*/ T32 w 146"/>
                  <a:gd name="T34" fmla="+- 0 5955 5856"/>
                  <a:gd name="T35" fmla="*/ 5955 h 146"/>
                  <a:gd name="T36" fmla="+- 0 12123 11977"/>
                  <a:gd name="T37" fmla="*/ T36 w 146"/>
                  <a:gd name="T38" fmla="+- 0 5933 5856"/>
                  <a:gd name="T39" fmla="*/ 5933 h 146"/>
                  <a:gd name="T40" fmla="+- 0 12120 11977"/>
                  <a:gd name="T41" fmla="*/ T40 w 146"/>
                  <a:gd name="T42" fmla="+- 0 5909 5856"/>
                  <a:gd name="T43" fmla="*/ 5909 h 146"/>
                  <a:gd name="T44" fmla="+- 0 12112 11977"/>
                  <a:gd name="T45" fmla="*/ T44 w 146"/>
                  <a:gd name="T46" fmla="+- 0 5892 5856"/>
                  <a:gd name="T47" fmla="*/ 5892 h 146"/>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 ang="0">
                    <a:pos x="T41" y="T43"/>
                  </a:cxn>
                  <a:cxn ang="0">
                    <a:pos x="T45" y="T47"/>
                  </a:cxn>
                </a:cxnLst>
                <a:rect l="0" t="0" r="r" b="b"/>
                <a:pathLst>
                  <a:path w="146" h="146">
                    <a:moveTo>
                      <a:pt x="135" y="36"/>
                    </a:moveTo>
                    <a:lnTo>
                      <a:pt x="73" y="36"/>
                    </a:lnTo>
                    <a:lnTo>
                      <a:pt x="94" y="43"/>
                    </a:lnTo>
                    <a:lnTo>
                      <a:pt x="107" y="60"/>
                    </a:lnTo>
                    <a:lnTo>
                      <a:pt x="104" y="86"/>
                    </a:lnTo>
                    <a:lnTo>
                      <a:pt x="93" y="103"/>
                    </a:lnTo>
                    <a:lnTo>
                      <a:pt x="76" y="109"/>
                    </a:lnTo>
                    <a:lnTo>
                      <a:pt x="135" y="109"/>
                    </a:lnTo>
                    <a:lnTo>
                      <a:pt x="141" y="99"/>
                    </a:lnTo>
                    <a:lnTo>
                      <a:pt x="146" y="77"/>
                    </a:lnTo>
                    <a:lnTo>
                      <a:pt x="143" y="53"/>
                    </a:lnTo>
                    <a:lnTo>
                      <a:pt x="135" y="36"/>
                    </a:lnTo>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ts val="1400"/>
                  </a:lnSpc>
                  <a:spcBef>
                    <a:spcPts val="0"/>
                  </a:spcBef>
                  <a:spcAft>
                    <a:spcPct val="0"/>
                  </a:spcAft>
                  <a:buClrTx/>
                  <a:buSzTx/>
                  <a:buFontTx/>
                  <a:buNone/>
                  <a:tabLst/>
                  <a:defRPr/>
                </a:pPr>
                <a:endParaRPr kumimoji="0" lang="en-US" sz="1200" b="0" i="0" u="none" strike="noStrike" kern="0" cap="none" spc="0" normalizeH="0" baseline="0" noProof="0" dirty="0">
                  <a:ln>
                    <a:noFill/>
                  </a:ln>
                  <a:solidFill>
                    <a:srgbClr val="010024"/>
                  </a:solidFill>
                  <a:effectLst/>
                  <a:uLnTx/>
                  <a:uFillTx/>
                  <a:latin typeface="EYInterstate Regular" pitchFamily="1" charset="0"/>
                  <a:ea typeface="+mn-ea"/>
                  <a:cs typeface="+mn-cs"/>
                </a:endParaRPr>
              </a:p>
            </p:txBody>
          </p:sp>
        </p:grpSp>
        <p:grpSp>
          <p:nvGrpSpPr>
            <p:cNvPr id="16" name="Group 39"/>
            <p:cNvGrpSpPr>
              <a:grpSpLocks/>
            </p:cNvGrpSpPr>
            <p:nvPr/>
          </p:nvGrpSpPr>
          <p:grpSpPr bwMode="auto">
            <a:xfrm>
              <a:off x="9224" y="15443"/>
              <a:ext cx="221" cy="78"/>
              <a:chOff x="9224" y="15443"/>
              <a:chExt cx="221" cy="78"/>
            </a:xfrm>
            <a:grpFill/>
          </p:grpSpPr>
          <p:sp>
            <p:nvSpPr>
              <p:cNvPr id="18" name="Freeform 40"/>
              <p:cNvSpPr>
                <a:spLocks/>
              </p:cNvSpPr>
              <p:nvPr/>
            </p:nvSpPr>
            <p:spPr bwMode="auto">
              <a:xfrm>
                <a:off x="9224" y="15443"/>
                <a:ext cx="221" cy="78"/>
              </a:xfrm>
              <a:custGeom>
                <a:avLst/>
                <a:gdLst>
                  <a:gd name="T0" fmla="+- 0 9334 9224"/>
                  <a:gd name="T1" fmla="*/ T0 w 221"/>
                  <a:gd name="T2" fmla="+- 0 15443 15443"/>
                  <a:gd name="T3" fmla="*/ 15443 h 78"/>
                  <a:gd name="T4" fmla="+- 0 9262 9224"/>
                  <a:gd name="T5" fmla="*/ T4 w 221"/>
                  <a:gd name="T6" fmla="+- 0 15449 15443"/>
                  <a:gd name="T7" fmla="*/ 15449 h 78"/>
                  <a:gd name="T8" fmla="+- 0 9224 9224"/>
                  <a:gd name="T9" fmla="*/ T8 w 221"/>
                  <a:gd name="T10" fmla="+- 0 15480 15443"/>
                  <a:gd name="T11" fmla="*/ 15480 h 78"/>
                  <a:gd name="T12" fmla="+- 0 9226 9224"/>
                  <a:gd name="T13" fmla="*/ T12 w 221"/>
                  <a:gd name="T14" fmla="+- 0 15489 15443"/>
                  <a:gd name="T15" fmla="*/ 15489 h 78"/>
                  <a:gd name="T16" fmla="+- 0 9294 9224"/>
                  <a:gd name="T17" fmla="*/ T16 w 221"/>
                  <a:gd name="T18" fmla="+- 0 15518 15443"/>
                  <a:gd name="T19" fmla="*/ 15518 h 78"/>
                  <a:gd name="T20" fmla="+- 0 9343 9224"/>
                  <a:gd name="T21" fmla="*/ T20 w 221"/>
                  <a:gd name="T22" fmla="+- 0 15521 15443"/>
                  <a:gd name="T23" fmla="*/ 15521 h 78"/>
                  <a:gd name="T24" fmla="+- 0 9354 9224"/>
                  <a:gd name="T25" fmla="*/ T24 w 221"/>
                  <a:gd name="T26" fmla="+- 0 15521 15443"/>
                  <a:gd name="T27" fmla="*/ 15521 h 78"/>
                  <a:gd name="T28" fmla="+- 0 9426 9224"/>
                  <a:gd name="T29" fmla="*/ T28 w 221"/>
                  <a:gd name="T30" fmla="+- 0 15508 15443"/>
                  <a:gd name="T31" fmla="*/ 15508 h 78"/>
                  <a:gd name="T32" fmla="+- 0 9445 9224"/>
                  <a:gd name="T33" fmla="*/ T32 w 221"/>
                  <a:gd name="T34" fmla="+- 0 15485 15443"/>
                  <a:gd name="T35" fmla="*/ 15485 h 78"/>
                  <a:gd name="T36" fmla="+- 0 9443 9224"/>
                  <a:gd name="T37" fmla="*/ T36 w 221"/>
                  <a:gd name="T38" fmla="+- 0 15475 15443"/>
                  <a:gd name="T39" fmla="*/ 15475 h 78"/>
                  <a:gd name="T40" fmla="+- 0 9375 9224"/>
                  <a:gd name="T41" fmla="*/ T40 w 221"/>
                  <a:gd name="T42" fmla="+- 0 15446 15443"/>
                  <a:gd name="T43" fmla="*/ 15446 h 78"/>
                  <a:gd name="T44" fmla="+- 0 9334 9224"/>
                  <a:gd name="T45" fmla="*/ T44 w 221"/>
                  <a:gd name="T46" fmla="+- 0 15443 15443"/>
                  <a:gd name="T47" fmla="*/ 15443 h 78"/>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 ang="0">
                    <a:pos x="T41" y="T43"/>
                  </a:cxn>
                  <a:cxn ang="0">
                    <a:pos x="T45" y="T47"/>
                  </a:cxn>
                </a:cxnLst>
                <a:rect l="0" t="0" r="r" b="b"/>
                <a:pathLst>
                  <a:path w="221" h="78">
                    <a:moveTo>
                      <a:pt x="110" y="0"/>
                    </a:moveTo>
                    <a:lnTo>
                      <a:pt x="38" y="6"/>
                    </a:lnTo>
                    <a:lnTo>
                      <a:pt x="0" y="37"/>
                    </a:lnTo>
                    <a:lnTo>
                      <a:pt x="2" y="46"/>
                    </a:lnTo>
                    <a:lnTo>
                      <a:pt x="70" y="75"/>
                    </a:lnTo>
                    <a:lnTo>
                      <a:pt x="119" y="78"/>
                    </a:lnTo>
                    <a:lnTo>
                      <a:pt x="130" y="78"/>
                    </a:lnTo>
                    <a:lnTo>
                      <a:pt x="202" y="65"/>
                    </a:lnTo>
                    <a:lnTo>
                      <a:pt x="221" y="42"/>
                    </a:lnTo>
                    <a:lnTo>
                      <a:pt x="219" y="32"/>
                    </a:lnTo>
                    <a:lnTo>
                      <a:pt x="151" y="3"/>
                    </a:lnTo>
                    <a:lnTo>
                      <a:pt x="110" y="0"/>
                    </a:lnTo>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ts val="1400"/>
                  </a:lnSpc>
                  <a:spcBef>
                    <a:spcPts val="0"/>
                  </a:spcBef>
                  <a:spcAft>
                    <a:spcPct val="0"/>
                  </a:spcAft>
                  <a:buClrTx/>
                  <a:buSzTx/>
                  <a:buFontTx/>
                  <a:buNone/>
                  <a:tabLst/>
                  <a:defRPr/>
                </a:pPr>
                <a:endParaRPr kumimoji="0" lang="en-US" sz="1200" b="0" i="0" u="none" strike="noStrike" kern="0" cap="none" spc="0" normalizeH="0" baseline="0" noProof="0" dirty="0">
                  <a:ln>
                    <a:noFill/>
                  </a:ln>
                  <a:solidFill>
                    <a:srgbClr val="010024"/>
                  </a:solidFill>
                  <a:effectLst/>
                  <a:uLnTx/>
                  <a:uFillTx/>
                  <a:latin typeface="EYInterstate Regular" pitchFamily="1" charset="0"/>
                  <a:ea typeface="+mn-ea"/>
                  <a:cs typeface="+mn-cs"/>
                </a:endParaRPr>
              </a:p>
            </p:txBody>
          </p:sp>
        </p:grpSp>
        <p:sp>
          <p:nvSpPr>
            <p:cNvPr id="17" name="Freeform 42"/>
            <p:cNvSpPr>
              <a:spLocks/>
            </p:cNvSpPr>
            <p:nvPr/>
          </p:nvSpPr>
          <p:spPr bwMode="auto">
            <a:xfrm>
              <a:off x="14626" y="15443"/>
              <a:ext cx="221" cy="78"/>
            </a:xfrm>
            <a:custGeom>
              <a:avLst/>
              <a:gdLst>
                <a:gd name="T0" fmla="+- 0 14745 14626"/>
                <a:gd name="T1" fmla="*/ T0 w 221"/>
                <a:gd name="T2" fmla="+- 0 15443 15443"/>
                <a:gd name="T3" fmla="*/ 15443 h 78"/>
                <a:gd name="T4" fmla="+- 0 14664 14626"/>
                <a:gd name="T5" fmla="*/ T4 w 221"/>
                <a:gd name="T6" fmla="+- 0 15452 15443"/>
                <a:gd name="T7" fmla="*/ 15452 h 78"/>
                <a:gd name="T8" fmla="+- 0 14626 14626"/>
                <a:gd name="T9" fmla="*/ T8 w 221"/>
                <a:gd name="T10" fmla="+- 0 15485 15443"/>
                <a:gd name="T11" fmla="*/ 15485 h 78"/>
                <a:gd name="T12" fmla="+- 0 14630 14626"/>
                <a:gd name="T13" fmla="*/ T12 w 221"/>
                <a:gd name="T14" fmla="+- 0 15493 15443"/>
                <a:gd name="T15" fmla="*/ 15493 h 78"/>
                <a:gd name="T16" fmla="+- 0 14699 14626"/>
                <a:gd name="T17" fmla="*/ T16 w 221"/>
                <a:gd name="T18" fmla="+- 0 15520 15443"/>
                <a:gd name="T19" fmla="*/ 15520 h 78"/>
                <a:gd name="T20" fmla="+- 0 14729 14626"/>
                <a:gd name="T21" fmla="*/ T20 w 221"/>
                <a:gd name="T22" fmla="+- 0 15521 15443"/>
                <a:gd name="T23" fmla="*/ 15521 h 78"/>
                <a:gd name="T24" fmla="+- 0 14742 14626"/>
                <a:gd name="T25" fmla="*/ T24 w 221"/>
                <a:gd name="T26" fmla="+- 0 15521 15443"/>
                <a:gd name="T27" fmla="*/ 15521 h 78"/>
                <a:gd name="T28" fmla="+- 0 14810 14626"/>
                <a:gd name="T29" fmla="*/ T28 w 221"/>
                <a:gd name="T30" fmla="+- 0 15512 15443"/>
                <a:gd name="T31" fmla="*/ 15512 h 78"/>
                <a:gd name="T32" fmla="+- 0 14847 14626"/>
                <a:gd name="T33" fmla="*/ T32 w 221"/>
                <a:gd name="T34" fmla="+- 0 15480 15443"/>
                <a:gd name="T35" fmla="*/ 15480 h 78"/>
                <a:gd name="T36" fmla="+- 0 14843 14626"/>
                <a:gd name="T37" fmla="*/ T36 w 221"/>
                <a:gd name="T38" fmla="+- 0 15471 15443"/>
                <a:gd name="T39" fmla="*/ 15471 h 78"/>
                <a:gd name="T40" fmla="+- 0 14774 14626"/>
                <a:gd name="T41" fmla="*/ T40 w 221"/>
                <a:gd name="T42" fmla="+- 0 15444 15443"/>
                <a:gd name="T43" fmla="*/ 15444 h 78"/>
                <a:gd name="T44" fmla="+- 0 14745 14626"/>
                <a:gd name="T45" fmla="*/ T44 w 221"/>
                <a:gd name="T46" fmla="+- 0 15443 15443"/>
                <a:gd name="T47" fmla="*/ 15443 h 78"/>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 ang="0">
                  <a:pos x="T41" y="T43"/>
                </a:cxn>
                <a:cxn ang="0">
                  <a:pos x="T45" y="T47"/>
                </a:cxn>
              </a:cxnLst>
              <a:rect l="0" t="0" r="r" b="b"/>
              <a:pathLst>
                <a:path w="221" h="78">
                  <a:moveTo>
                    <a:pt x="119" y="0"/>
                  </a:moveTo>
                  <a:lnTo>
                    <a:pt x="38" y="9"/>
                  </a:lnTo>
                  <a:lnTo>
                    <a:pt x="0" y="42"/>
                  </a:lnTo>
                  <a:lnTo>
                    <a:pt x="4" y="50"/>
                  </a:lnTo>
                  <a:lnTo>
                    <a:pt x="73" y="77"/>
                  </a:lnTo>
                  <a:lnTo>
                    <a:pt x="103" y="78"/>
                  </a:lnTo>
                  <a:lnTo>
                    <a:pt x="116" y="78"/>
                  </a:lnTo>
                  <a:lnTo>
                    <a:pt x="184" y="69"/>
                  </a:lnTo>
                  <a:lnTo>
                    <a:pt x="221" y="37"/>
                  </a:lnTo>
                  <a:lnTo>
                    <a:pt x="217" y="28"/>
                  </a:lnTo>
                  <a:lnTo>
                    <a:pt x="148" y="1"/>
                  </a:lnTo>
                  <a:lnTo>
                    <a:pt x="119" y="0"/>
                  </a:lnTo>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ts val="1400"/>
                </a:lnSpc>
                <a:spcBef>
                  <a:spcPts val="0"/>
                </a:spcBef>
                <a:spcAft>
                  <a:spcPct val="0"/>
                </a:spcAft>
                <a:buClrTx/>
                <a:buSzTx/>
                <a:buFontTx/>
                <a:buNone/>
                <a:tabLst/>
                <a:defRPr/>
              </a:pPr>
              <a:endParaRPr kumimoji="0" lang="en-US" sz="1200" b="0" i="0" u="none" strike="noStrike" kern="0" cap="none" spc="0" normalizeH="0" baseline="0" noProof="0" dirty="0">
                <a:ln>
                  <a:noFill/>
                </a:ln>
                <a:solidFill>
                  <a:srgbClr val="010024"/>
                </a:solidFill>
                <a:effectLst/>
                <a:uLnTx/>
                <a:uFillTx/>
                <a:latin typeface="EYInterstate Regular" pitchFamily="1" charset="0"/>
                <a:ea typeface="+mn-ea"/>
                <a:cs typeface="+mn-cs"/>
              </a:endParaRPr>
            </a:p>
          </p:txBody>
        </p:sp>
      </p:grpSp>
      <p:sp>
        <p:nvSpPr>
          <p:cNvPr id="51" name="Rectangle 50">
            <a:extLst>
              <a:ext uri="{FF2B5EF4-FFF2-40B4-BE49-F238E27FC236}">
                <a16:creationId xmlns:a16="http://schemas.microsoft.com/office/drawing/2014/main" id="{427488CA-1645-487C-9001-29981BC5C754}"/>
              </a:ext>
            </a:extLst>
          </p:cNvPr>
          <p:cNvSpPr/>
          <p:nvPr/>
        </p:nvSpPr>
        <p:spPr>
          <a:xfrm>
            <a:off x="2000978" y="1003161"/>
            <a:ext cx="5124258" cy="3016210"/>
          </a:xfrm>
          <a:prstGeom prst="rect">
            <a:avLst/>
          </a:prstGeom>
          <a:solidFill>
            <a:schemeClr val="tx1"/>
          </a:solidFill>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prstClr val="white"/>
                </a:solidFill>
                <a:effectLst/>
                <a:uLnTx/>
                <a:uFillTx/>
                <a:latin typeface="UniCredit"/>
                <a:ea typeface="+mn-ea"/>
                <a:cs typeface="+mn-cs"/>
              </a:rPr>
              <a:t>Record:</a:t>
            </a:r>
            <a:endParaRPr kumimoji="0" lang="en-GB" sz="1000" b="0" i="0" u="none" strike="noStrike" kern="1200" cap="none" spc="0" normalizeH="0" baseline="0" noProof="0" dirty="0">
              <a:ln>
                <a:noFill/>
              </a:ln>
              <a:solidFill>
                <a:prstClr val="white"/>
              </a:solidFill>
              <a:effectLst/>
              <a:uLnTx/>
              <a:uFillTx/>
              <a:latin typeface="UniCredit"/>
              <a:ea typeface="+mn-ea"/>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UniCredit"/>
                <a:ea typeface="+mn-ea"/>
                <a:cs typeface="Courier New" panose="02070309020205020404" pitchFamily="49" charset="0"/>
              </a:rPr>
              <a:t>java -jar wiremock-standalone-2.26.3.jar </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UniCredit"/>
                <a:ea typeface="+mn-ea"/>
                <a:cs typeface="Courier New" panose="02070309020205020404" pitchFamily="49" charset="0"/>
              </a:rPr>
              <a:t>	</a:t>
            </a:r>
            <a:r>
              <a:rPr kumimoji="0" lang="en-US" sz="1000" b="1" i="0" u="none" strike="noStrike" kern="1200" cap="none" spc="0" normalizeH="0" baseline="0" noProof="0" dirty="0">
                <a:ln>
                  <a:noFill/>
                </a:ln>
                <a:solidFill>
                  <a:srgbClr val="00B050"/>
                </a:solidFill>
                <a:effectLst/>
                <a:uLnTx/>
                <a:uFillTx/>
                <a:latin typeface="UniCredit"/>
                <a:ea typeface="+mn-ea"/>
                <a:cs typeface="Courier New" panose="02070309020205020404" pitchFamily="49" charset="0"/>
              </a:rPr>
              <a:t>--proxy-all="https://ufr-qq.validazione.usinet.it" --record-mappings</a:t>
            </a:r>
            <a:r>
              <a:rPr kumimoji="0" lang="en-GB" sz="1000" b="1" i="0" u="none" strike="noStrike" kern="1200" cap="none" spc="0" normalizeH="0" baseline="0" noProof="0" dirty="0">
                <a:ln>
                  <a:noFill/>
                </a:ln>
                <a:solidFill>
                  <a:srgbClr val="00B050"/>
                </a:solidFill>
                <a:effectLst/>
                <a:uLnTx/>
                <a:uFillTx/>
                <a:latin typeface="UniCredit"/>
                <a:ea typeface="+mn-ea"/>
                <a:cs typeface="Courier New" panose="02070309020205020404" pitchFamily="49" charset="0"/>
              </a:rPr>
              <a:t> </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prstClr val="white"/>
                </a:solidFill>
                <a:effectLst/>
                <a:uLnTx/>
                <a:uFillTx/>
                <a:latin typeface="UniCredit"/>
                <a:ea typeface="+mn-ea"/>
                <a:cs typeface="+mn-cs"/>
              </a:rPr>
              <a:t>Playback:</a:t>
            </a:r>
            <a:endParaRPr kumimoji="0" lang="en-GB" sz="1000" b="0" i="0" u="none" strike="noStrike" kern="1200" cap="none" spc="0" normalizeH="0" baseline="0" noProof="0" dirty="0">
              <a:ln>
                <a:noFill/>
              </a:ln>
              <a:solidFill>
                <a:prstClr val="white"/>
              </a:solidFill>
              <a:effectLst/>
              <a:uLnTx/>
              <a:uFillTx/>
              <a:latin typeface="UniCredit"/>
              <a:ea typeface="+mn-ea"/>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white"/>
                </a:solidFill>
                <a:effectLst/>
                <a:uLnTx/>
                <a:uFillTx/>
                <a:latin typeface="UniCredit"/>
                <a:ea typeface="+mn-ea"/>
                <a:cs typeface="Courier New" panose="02070309020205020404" pitchFamily="49" charset="0"/>
              </a:rPr>
              <a:t>java -jar wiremock-standalone-2.26.3</a:t>
            </a:r>
            <a:r>
              <a:rPr kumimoji="0" lang="en-GB" sz="1000" b="0" i="0" u="none" strike="noStrike" kern="1200" cap="none" spc="0" normalizeH="0" baseline="0" noProof="0" dirty="0">
                <a:ln>
                  <a:noFill/>
                </a:ln>
                <a:solidFill>
                  <a:prstClr val="white"/>
                </a:solidFill>
                <a:effectLst/>
                <a:uLnTx/>
                <a:uFillTx/>
                <a:latin typeface="UniCredit"/>
                <a:ea typeface="+mn-ea"/>
                <a:cs typeface="+mn-cs"/>
              </a:rPr>
              <a:t>.jar</a:t>
            </a: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prstClr val="white"/>
              </a:solidFill>
              <a:effectLst/>
              <a:uLnTx/>
              <a:uFillTx/>
              <a:latin typeface="UniCredit"/>
              <a:ea typeface="+mn-ea"/>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prstClr val="white"/>
                </a:solidFill>
                <a:effectLst/>
                <a:uLnTx/>
                <a:uFillTx/>
                <a:latin typeface="UniCredit"/>
                <a:ea typeface="+mn-ea"/>
                <a:cs typeface="+mn-cs"/>
              </a:rPr>
              <a:t>Service endpoint</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white"/>
                </a:solidFill>
                <a:effectLst/>
                <a:uLnTx/>
                <a:uFillTx/>
                <a:latin typeface="UniCredit"/>
                <a:ea typeface="+mn-ea"/>
                <a:cs typeface="Courier New" panose="02070309020205020404" pitchFamily="49" charset="0"/>
              </a:rPr>
              <a:t>http://localhost:8080/XA-PRE-WS/services/PreTelAndMail</a:t>
            </a: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dirty="0">
              <a:ln>
                <a:noFill/>
              </a:ln>
              <a:solidFill>
                <a:prstClr val="white"/>
              </a:solidFill>
              <a:effectLst/>
              <a:uLnTx/>
              <a:uFillTx/>
              <a:latin typeface="UniCredit"/>
              <a:ea typeface="+mn-ea"/>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prstClr val="white"/>
                </a:solidFill>
                <a:effectLst/>
                <a:uLnTx/>
                <a:uFillTx/>
                <a:latin typeface="UniCredit"/>
                <a:ea typeface="+mn-ea"/>
                <a:cs typeface="+mn-cs"/>
              </a:rPr>
              <a:t>Output structure</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white"/>
                </a:solidFill>
                <a:effectLst/>
                <a:uLnTx/>
                <a:uFillTx/>
                <a:latin typeface="UniCredit"/>
                <a:ea typeface="+mn-ea"/>
                <a:cs typeface="Courier New" panose="02070309020205020404" pitchFamily="49" charset="0"/>
              </a:rPr>
              <a:t>|   wiremock-standalone-2.26.3.jar</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white"/>
                </a:solidFill>
                <a:effectLst/>
                <a:uLnTx/>
                <a:uFillTx/>
                <a:latin typeface="UniCredit"/>
                <a:ea typeface="+mn-ea"/>
                <a:cs typeface="Courier New" panose="02070309020205020404" pitchFamily="49" charset="0"/>
              </a:rPr>
              <a:t>+---</a:t>
            </a:r>
            <a:r>
              <a:rPr kumimoji="0" lang="en-GB" sz="1000" b="1" i="0" u="none" strike="noStrike" kern="1200" cap="none" spc="0" normalizeH="0" baseline="0" noProof="0" dirty="0">
                <a:ln>
                  <a:noFill/>
                </a:ln>
                <a:solidFill>
                  <a:prstClr val="white"/>
                </a:solidFill>
                <a:effectLst/>
                <a:uLnTx/>
                <a:uFillTx/>
                <a:latin typeface="UniCredit"/>
                <a:ea typeface="+mn-ea"/>
                <a:cs typeface="Courier New" panose="02070309020205020404" pitchFamily="49" charset="0"/>
              </a:rPr>
              <a:t>mappings</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white"/>
                </a:solidFill>
                <a:effectLst/>
                <a:uLnTx/>
                <a:uFillTx/>
                <a:latin typeface="UniCredit"/>
                <a:ea typeface="+mn-ea"/>
                <a:cs typeface="Courier New" panose="02070309020205020404" pitchFamily="49" charset="0"/>
              </a:rPr>
              <a:t>|       mapping-</a:t>
            </a:r>
            <a:r>
              <a:rPr kumimoji="0" lang="en-GB" sz="1000" b="1" i="0" u="none" strike="noStrike" kern="1200" cap="none" spc="0" normalizeH="0" baseline="0" noProof="0" dirty="0">
                <a:ln>
                  <a:noFill/>
                </a:ln>
                <a:solidFill>
                  <a:srgbClr val="00B050"/>
                </a:solidFill>
                <a:effectLst/>
                <a:uLnTx/>
                <a:uFillTx/>
                <a:latin typeface="UniCredit"/>
                <a:ea typeface="+mn-ea"/>
                <a:cs typeface="Courier New" panose="02070309020205020404" pitchFamily="49" charset="0"/>
              </a:rPr>
              <a:t>XA-PRE-WS-services-</a:t>
            </a:r>
            <a:r>
              <a:rPr kumimoji="0" lang="en-GB" sz="1000" b="1" i="0" u="none" strike="noStrike" kern="1200" cap="none" spc="0" normalizeH="0" baseline="0" noProof="0" dirty="0" err="1">
                <a:ln>
                  <a:noFill/>
                </a:ln>
                <a:solidFill>
                  <a:srgbClr val="00B050"/>
                </a:solidFill>
                <a:effectLst/>
                <a:uLnTx/>
                <a:uFillTx/>
                <a:latin typeface="UniCredit"/>
                <a:ea typeface="+mn-ea"/>
                <a:cs typeface="Courier New" panose="02070309020205020404" pitchFamily="49" charset="0"/>
              </a:rPr>
              <a:t>PreTelAndMail</a:t>
            </a:r>
            <a:r>
              <a:rPr kumimoji="0" lang="en-GB" sz="1000" b="1" i="0" u="none" strike="noStrike" kern="1200" cap="none" spc="0" normalizeH="0" baseline="0" noProof="0" dirty="0">
                <a:ln>
                  <a:noFill/>
                </a:ln>
                <a:solidFill>
                  <a:srgbClr val="00B050"/>
                </a:solidFill>
                <a:effectLst/>
                <a:uLnTx/>
                <a:uFillTx/>
                <a:latin typeface="UniCredit"/>
                <a:ea typeface="+mn-ea"/>
                <a:cs typeface="Courier New" panose="02070309020205020404" pitchFamily="49" charset="0"/>
              </a:rPr>
              <a:t>-</a:t>
            </a:r>
            <a:r>
              <a:rPr kumimoji="0" lang="en-GB" sz="1000" b="1" i="0" u="none" strike="noStrike" kern="1200" cap="none" spc="0" normalizeH="0" baseline="0" noProof="0" dirty="0" err="1">
                <a:ln>
                  <a:noFill/>
                </a:ln>
                <a:solidFill>
                  <a:srgbClr val="00B050"/>
                </a:solidFill>
                <a:effectLst/>
                <a:uLnTx/>
                <a:uFillTx/>
                <a:latin typeface="UniCredit"/>
                <a:ea typeface="+mn-ea"/>
                <a:cs typeface="Courier New" panose="02070309020205020404" pitchFamily="49" charset="0"/>
              </a:rPr>
              <a:t>AujaZ</a:t>
            </a:r>
            <a:r>
              <a:rPr kumimoji="0" lang="en-GB" sz="1000" b="1" i="0" u="none" strike="noStrike" kern="1200" cap="none" spc="0" normalizeH="0" baseline="0" noProof="0" dirty="0" err="1">
                <a:ln>
                  <a:noFill/>
                </a:ln>
                <a:solidFill>
                  <a:prstClr val="white"/>
                </a:solidFill>
                <a:effectLst/>
                <a:uLnTx/>
                <a:uFillTx/>
                <a:latin typeface="UniCredit"/>
                <a:ea typeface="+mn-ea"/>
                <a:cs typeface="Courier New" panose="02070309020205020404" pitchFamily="49" charset="0"/>
              </a:rPr>
              <a:t>.</a:t>
            </a:r>
            <a:r>
              <a:rPr kumimoji="0" lang="en-GB" sz="1000" b="0" i="0" u="none" strike="noStrike" kern="1200" cap="none" spc="0" normalizeH="0" baseline="0" noProof="0" dirty="0" err="1">
                <a:ln>
                  <a:noFill/>
                </a:ln>
                <a:solidFill>
                  <a:prstClr val="white"/>
                </a:solidFill>
                <a:effectLst/>
                <a:uLnTx/>
                <a:uFillTx/>
                <a:latin typeface="UniCredit"/>
                <a:ea typeface="+mn-ea"/>
                <a:cs typeface="Courier New" panose="02070309020205020404" pitchFamily="49" charset="0"/>
              </a:rPr>
              <a:t>json</a:t>
            </a:r>
            <a:endParaRPr kumimoji="0" lang="en-GB" sz="1000" b="0" i="0" u="none" strike="noStrike" kern="1200" cap="none" spc="0" normalizeH="0" baseline="0" noProof="0" dirty="0">
              <a:ln>
                <a:noFill/>
              </a:ln>
              <a:solidFill>
                <a:prstClr val="white"/>
              </a:solidFill>
              <a:effectLst/>
              <a:uLnTx/>
              <a:uFillTx/>
              <a:latin typeface="UniCredit"/>
              <a:ea typeface="+mn-ea"/>
              <a:cs typeface="Courier New" panose="02070309020205020404" pitchFamily="49" charset="0"/>
            </a:endParaRP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white"/>
                </a:solidFill>
                <a:effectLst/>
                <a:uLnTx/>
                <a:uFillTx/>
                <a:latin typeface="UniCredit"/>
                <a:ea typeface="+mn-ea"/>
                <a:cs typeface="Courier New" panose="02070309020205020404" pitchFamily="49" charset="0"/>
              </a:rPr>
              <a:t>\---</a:t>
            </a:r>
            <a:r>
              <a:rPr kumimoji="0" lang="en-GB" sz="1000" b="1" i="0" u="none" strike="noStrike" kern="1200" cap="none" spc="0" normalizeH="0" baseline="0" noProof="0" dirty="0">
                <a:ln>
                  <a:noFill/>
                </a:ln>
                <a:solidFill>
                  <a:prstClr val="white"/>
                </a:solidFill>
                <a:effectLst/>
                <a:uLnTx/>
                <a:uFillTx/>
                <a:latin typeface="UniCredit"/>
                <a:ea typeface="+mn-ea"/>
                <a:cs typeface="Courier New" panose="02070309020205020404" pitchFamily="49" charset="0"/>
              </a:rPr>
              <a:t>__files</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white"/>
                </a:solidFill>
                <a:effectLst/>
                <a:uLnTx/>
                <a:uFillTx/>
                <a:latin typeface="UniCredit"/>
                <a:ea typeface="+mn-ea"/>
                <a:cs typeface="Courier New" panose="02070309020205020404" pitchFamily="49" charset="0"/>
              </a:rPr>
              <a:t>        body-</a:t>
            </a:r>
            <a:r>
              <a:rPr kumimoji="0" lang="en-GB" sz="1000" b="1" i="0" u="none" strike="noStrike" kern="1200" cap="none" spc="0" normalizeH="0" baseline="0" noProof="0" dirty="0">
                <a:ln>
                  <a:noFill/>
                </a:ln>
                <a:solidFill>
                  <a:srgbClr val="00B050"/>
                </a:solidFill>
                <a:effectLst/>
                <a:uLnTx/>
                <a:uFillTx/>
                <a:latin typeface="UniCredit"/>
                <a:ea typeface="+mn-ea"/>
                <a:cs typeface="Courier New" panose="02070309020205020404" pitchFamily="49" charset="0"/>
              </a:rPr>
              <a:t>XA-PRE-WS-services-PreTelAndMail-AujaZ</a:t>
            </a:r>
            <a:r>
              <a:rPr kumimoji="0" lang="en-GB" sz="1000" b="0" i="0" u="none" strike="noStrike" kern="1200" cap="none" spc="0" normalizeH="0" baseline="0" noProof="0" dirty="0">
                <a:ln>
                  <a:noFill/>
                </a:ln>
                <a:solidFill>
                  <a:prstClr val="white"/>
                </a:solidFill>
                <a:effectLst/>
                <a:uLnTx/>
                <a:uFillTx/>
                <a:latin typeface="UniCredit"/>
                <a:ea typeface="+mn-ea"/>
                <a:cs typeface="Courier New" panose="02070309020205020404" pitchFamily="49" charset="0"/>
              </a:rPr>
              <a:t>.xml</a:t>
            </a: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prstClr val="white"/>
              </a:solidFill>
              <a:effectLst/>
              <a:uLnTx/>
              <a:uFillTx/>
              <a:latin typeface="UniCredit"/>
              <a:ea typeface="+mn-ea"/>
              <a:cs typeface="Courier New" panose="02070309020205020404" pitchFamily="49" charset="0"/>
            </a:endParaRP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prstClr val="white"/>
                </a:solidFill>
                <a:effectLst/>
                <a:uLnTx/>
                <a:uFillTx/>
                <a:latin typeface="UniCredit"/>
                <a:ea typeface="+mn-ea"/>
                <a:cs typeface="Arial" panose="020B0604020202020204" pitchFamily="34" charset="0"/>
              </a:rPr>
              <a:t>Matchers</a:t>
            </a:r>
            <a:r>
              <a:rPr kumimoji="0" lang="en-GB" sz="1000" b="0" i="0" u="none" strike="noStrike" kern="1200" cap="none" spc="0" normalizeH="0" baseline="0" noProof="0" dirty="0">
                <a:ln>
                  <a:noFill/>
                </a:ln>
                <a:solidFill>
                  <a:prstClr val="white"/>
                </a:solidFill>
                <a:effectLst/>
                <a:uLnTx/>
                <a:uFillTx/>
                <a:latin typeface="UniCredit"/>
                <a:ea typeface="+mn-ea"/>
                <a:cs typeface="Arial" panose="020B0604020202020204" pitchFamily="34" charset="0"/>
              </a:rPr>
              <a:t> </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white"/>
                </a:solidFill>
                <a:effectLst/>
                <a:uLnTx/>
                <a:uFillTx/>
                <a:latin typeface="UniCredit"/>
                <a:ea typeface="+mn-ea"/>
                <a:cs typeface="Arial" panose="020B0604020202020204" pitchFamily="34" charset="0"/>
              </a:rPr>
              <a:t>Must become environment agnostic and business oriented.</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white"/>
                </a:solidFill>
                <a:effectLst/>
                <a:uLnTx/>
                <a:uFillTx/>
                <a:latin typeface="UniCredit"/>
                <a:ea typeface="+mn-ea"/>
                <a:cs typeface="Arial" panose="020B0604020202020204" pitchFamily="34" charset="0"/>
              </a:rPr>
              <a:t>  (For SOAP according to operation, service name, payload business context)</a:t>
            </a:r>
          </a:p>
        </p:txBody>
      </p:sp>
    </p:spTree>
    <p:extLst>
      <p:ext uri="{BB962C8B-B14F-4D97-AF65-F5344CB8AC3E}">
        <p14:creationId xmlns:p14="http://schemas.microsoft.com/office/powerpoint/2010/main" val="5521442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3" name="Object 52" hidden="1">
            <a:extLst>
              <a:ext uri="{FF2B5EF4-FFF2-40B4-BE49-F238E27FC236}">
                <a16:creationId xmlns:a16="http://schemas.microsoft.com/office/drawing/2014/main" id="{4C1C4EB2-3C37-4232-8442-DA49EA1B3256}"/>
              </a:ext>
            </a:extLst>
          </p:cNvPr>
          <p:cNvGraphicFramePr>
            <a:graphicFrameLocks noChangeAspect="1"/>
          </p:cNvGraphicFramePr>
          <p:nvPr>
            <p:custDataLst>
              <p:tags r:id="rId2"/>
            </p:custDataLst>
            <p:extLst>
              <p:ext uri="{D42A27DB-BD31-4B8C-83A1-F6EECF244321}">
                <p14:modId xmlns:p14="http://schemas.microsoft.com/office/powerpoint/2010/main" val="25150911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463"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2" name="Rectangle 51" hidden="1">
            <a:extLst>
              <a:ext uri="{FF2B5EF4-FFF2-40B4-BE49-F238E27FC236}">
                <a16:creationId xmlns:a16="http://schemas.microsoft.com/office/drawing/2014/main" id="{FA6D4A92-BA03-4522-A5A4-052C0A0E586E}"/>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2400" b="1" dirty="0">
              <a:latin typeface="UniCredit" panose="02000506040000020004" pitchFamily="2" charset="0"/>
              <a:ea typeface="+mj-ea"/>
              <a:cs typeface="Arial" panose="020B0604020202020204" pitchFamily="34" charset="0"/>
              <a:sym typeface="UniCredit" panose="02000506040000020004" pitchFamily="2" charset="0"/>
            </a:endParaRPr>
          </a:p>
        </p:txBody>
      </p:sp>
      <p:sp>
        <p:nvSpPr>
          <p:cNvPr id="4" name="Slide Number Placeholder 3">
            <a:extLst>
              <a:ext uri="{FF2B5EF4-FFF2-40B4-BE49-F238E27FC236}">
                <a16:creationId xmlns:a16="http://schemas.microsoft.com/office/drawing/2014/main" id="{DD6509BF-EC4B-4608-9577-48D63BA51428}"/>
              </a:ext>
            </a:extLst>
          </p:cNvPr>
          <p:cNvSpPr>
            <a:spLocks noGrp="1"/>
          </p:cNvSpPr>
          <p:nvPr>
            <p:ph type="sldNum" sz="quarter" idx="11"/>
          </p:nvPr>
        </p:nvSpPr>
        <p:spPr/>
        <p:txBody>
          <a:bodyPr/>
          <a:lstStyle/>
          <a:p>
            <a:fld id="{9E8169F0-646E-455B-AF5A-6D6C02EAEAF6}" type="slidenum">
              <a:rPr lang="en-GB" noProof="1" smtClean="0"/>
              <a:t>33</a:t>
            </a:fld>
            <a:endParaRPr lang="en-GB" noProof="1"/>
          </a:p>
        </p:txBody>
      </p:sp>
      <p:sp>
        <p:nvSpPr>
          <p:cNvPr id="7" name="Rectangle 6">
            <a:extLst>
              <a:ext uri="{FF2B5EF4-FFF2-40B4-BE49-F238E27FC236}">
                <a16:creationId xmlns:a16="http://schemas.microsoft.com/office/drawing/2014/main" id="{7178BF9B-9138-4582-8D34-52A2D75A28E8}"/>
              </a:ext>
            </a:extLst>
          </p:cNvPr>
          <p:cNvSpPr/>
          <p:nvPr/>
        </p:nvSpPr>
        <p:spPr>
          <a:xfrm>
            <a:off x="1" y="942036"/>
            <a:ext cx="9144000" cy="4073516"/>
          </a:xfrm>
          <a:prstGeom prst="rect">
            <a:avLst/>
          </a:prstGeom>
          <a:gradFill flip="none" rotWithShape="1">
            <a:gsLst>
              <a:gs pos="100000">
                <a:srgbClr val="FFFFFF"/>
              </a:gs>
              <a:gs pos="0">
                <a:schemeClr val="bg1"/>
              </a:gs>
              <a:gs pos="50000">
                <a:schemeClr val="accent2"/>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360000" tIns="0" bIns="0" rtlCol="0" anchor="ctr"/>
          <a:lstStyle/>
          <a:p>
            <a:pPr marL="0" marR="0" lvl="0" indent="0" algn="l" defTabSz="685800" rtl="0" eaLnBrk="1" fontAlgn="auto" latinLnBrk="0" hangingPunct="1">
              <a:lnSpc>
                <a:spcPct val="100000"/>
              </a:lnSpc>
              <a:spcBef>
                <a:spcPts val="0"/>
              </a:spcBef>
              <a:spcAft>
                <a:spcPts val="0"/>
              </a:spcAft>
              <a:buClr>
                <a:srgbClr val="C00000"/>
              </a:buClr>
              <a:buSzTx/>
              <a:buFontTx/>
              <a:buNone/>
              <a:tabLst/>
              <a:defRPr/>
            </a:pPr>
            <a:endParaRPr kumimoji="0" lang="en-US" sz="1800" b="0" i="0" u="none" strike="noStrike" kern="1200" cap="none" spc="0" normalizeH="0" baseline="0" noProof="0" dirty="0">
              <a:ln>
                <a:noFill/>
              </a:ln>
              <a:solidFill>
                <a:prstClr val="black"/>
              </a:solidFill>
              <a:effectLst/>
              <a:uLnTx/>
              <a:uFillTx/>
              <a:latin typeface="UniCredit"/>
              <a:ea typeface="+mn-ea"/>
              <a:cs typeface="+mn-cs"/>
            </a:endParaRPr>
          </a:p>
        </p:txBody>
      </p:sp>
      <p:grpSp>
        <p:nvGrpSpPr>
          <p:cNvPr id="8" name="Group 7">
            <a:extLst>
              <a:ext uri="{FF2B5EF4-FFF2-40B4-BE49-F238E27FC236}">
                <a16:creationId xmlns:a16="http://schemas.microsoft.com/office/drawing/2014/main" id="{F68E4102-8830-43B7-A01D-D8EE6ECD9532}"/>
              </a:ext>
            </a:extLst>
          </p:cNvPr>
          <p:cNvGrpSpPr>
            <a:grpSpLocks/>
          </p:cNvGrpSpPr>
          <p:nvPr/>
        </p:nvGrpSpPr>
        <p:grpSpPr bwMode="auto">
          <a:xfrm>
            <a:off x="320725" y="817953"/>
            <a:ext cx="8393373" cy="3938292"/>
            <a:chOff x="3354" y="5573"/>
            <a:chExt cx="17384" cy="10007"/>
          </a:xfrm>
          <a:solidFill>
            <a:schemeClr val="tx1"/>
          </a:solidFill>
        </p:grpSpPr>
        <p:grpSp>
          <p:nvGrpSpPr>
            <p:cNvPr id="9" name="Group 8">
              <a:extLst>
                <a:ext uri="{FF2B5EF4-FFF2-40B4-BE49-F238E27FC236}">
                  <a16:creationId xmlns:a16="http://schemas.microsoft.com/office/drawing/2014/main" id="{71AFBA52-39AE-4313-A087-D62F7C688FA1}"/>
                </a:ext>
              </a:extLst>
            </p:cNvPr>
            <p:cNvGrpSpPr>
              <a:grpSpLocks/>
            </p:cNvGrpSpPr>
            <p:nvPr/>
          </p:nvGrpSpPr>
          <p:grpSpPr bwMode="auto">
            <a:xfrm>
              <a:off x="3354" y="5573"/>
              <a:ext cx="17384" cy="10007"/>
              <a:chOff x="3354" y="5573"/>
              <a:chExt cx="17384" cy="10007"/>
            </a:xfrm>
            <a:grpFill/>
          </p:grpSpPr>
          <p:sp>
            <p:nvSpPr>
              <p:cNvPr id="20" name="Freeform 4">
                <a:extLst>
                  <a:ext uri="{FF2B5EF4-FFF2-40B4-BE49-F238E27FC236}">
                    <a16:creationId xmlns:a16="http://schemas.microsoft.com/office/drawing/2014/main" id="{FE44A1F5-B385-4C45-82A4-FA88848824CD}"/>
                  </a:ext>
                </a:extLst>
              </p:cNvPr>
              <p:cNvSpPr>
                <a:spLocks/>
              </p:cNvSpPr>
              <p:nvPr/>
            </p:nvSpPr>
            <p:spPr bwMode="auto">
              <a:xfrm>
                <a:off x="3354" y="5573"/>
                <a:ext cx="17384" cy="10007"/>
              </a:xfrm>
              <a:custGeom>
                <a:avLst/>
                <a:gdLst>
                  <a:gd name="T0" fmla="+- 0 20189 3354"/>
                  <a:gd name="T1" fmla="*/ T0 w 17384"/>
                  <a:gd name="T2" fmla="+- 0 15561 5573"/>
                  <a:gd name="T3" fmla="*/ 15561 h 10007"/>
                  <a:gd name="T4" fmla="+- 0 3903 3354"/>
                  <a:gd name="T5" fmla="*/ T4 w 17384"/>
                  <a:gd name="T6" fmla="+- 0 15561 5573"/>
                  <a:gd name="T7" fmla="*/ 15561 h 10007"/>
                  <a:gd name="T8" fmla="+- 0 3950 3354"/>
                  <a:gd name="T9" fmla="*/ T8 w 17384"/>
                  <a:gd name="T10" fmla="+- 0 15580 5573"/>
                  <a:gd name="T11" fmla="*/ 15580 h 10007"/>
                  <a:gd name="T12" fmla="+- 0 20142 3354"/>
                  <a:gd name="T13" fmla="*/ T12 w 17384"/>
                  <a:gd name="T14" fmla="+- 0 15580 5573"/>
                  <a:gd name="T15" fmla="*/ 15580 h 10007"/>
                  <a:gd name="T16" fmla="+- 0 20189 3354"/>
                  <a:gd name="T17" fmla="*/ T16 w 17384"/>
                  <a:gd name="T18" fmla="+- 0 15561 5573"/>
                  <a:gd name="T19" fmla="*/ 15561 h 10007"/>
                </a:gdLst>
                <a:ahLst/>
                <a:cxnLst>
                  <a:cxn ang="0">
                    <a:pos x="T1" y="T3"/>
                  </a:cxn>
                  <a:cxn ang="0">
                    <a:pos x="T5" y="T7"/>
                  </a:cxn>
                  <a:cxn ang="0">
                    <a:pos x="T9" y="T11"/>
                  </a:cxn>
                  <a:cxn ang="0">
                    <a:pos x="T13" y="T15"/>
                  </a:cxn>
                  <a:cxn ang="0">
                    <a:pos x="T17" y="T19"/>
                  </a:cxn>
                </a:cxnLst>
                <a:rect l="0" t="0" r="r" b="b"/>
                <a:pathLst>
                  <a:path w="17384" h="10007">
                    <a:moveTo>
                      <a:pt x="16835" y="9988"/>
                    </a:moveTo>
                    <a:lnTo>
                      <a:pt x="549" y="9988"/>
                    </a:lnTo>
                    <a:lnTo>
                      <a:pt x="596" y="10007"/>
                    </a:lnTo>
                    <a:lnTo>
                      <a:pt x="16788" y="10007"/>
                    </a:lnTo>
                    <a:lnTo>
                      <a:pt x="16835" y="9988"/>
                    </a:lnTo>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ts val="1400"/>
                  </a:lnSpc>
                  <a:spcBef>
                    <a:spcPts val="0"/>
                  </a:spcBef>
                  <a:spcAft>
                    <a:spcPct val="0"/>
                  </a:spcAft>
                  <a:buClrTx/>
                  <a:buSzTx/>
                  <a:buFontTx/>
                  <a:buNone/>
                  <a:tabLst/>
                  <a:defRPr/>
                </a:pPr>
                <a:endParaRPr kumimoji="0" lang="en-US" sz="1200" b="0" i="0" u="none" strike="noStrike" kern="0" cap="none" spc="0" normalizeH="0" baseline="0" noProof="0" dirty="0">
                  <a:ln>
                    <a:noFill/>
                  </a:ln>
                  <a:solidFill>
                    <a:srgbClr val="010024"/>
                  </a:solidFill>
                  <a:effectLst/>
                  <a:uLnTx/>
                  <a:uFillTx/>
                  <a:latin typeface="EYInterstate Regular" pitchFamily="1" charset="0"/>
                  <a:ea typeface="+mn-ea"/>
                  <a:cs typeface="+mn-cs"/>
                </a:endParaRPr>
              </a:p>
            </p:txBody>
          </p:sp>
          <p:sp>
            <p:nvSpPr>
              <p:cNvPr id="21" name="Freeform 5">
                <a:extLst>
                  <a:ext uri="{FF2B5EF4-FFF2-40B4-BE49-F238E27FC236}">
                    <a16:creationId xmlns:a16="http://schemas.microsoft.com/office/drawing/2014/main" id="{B37311CC-772A-4947-8F1A-E5388C65C98F}"/>
                  </a:ext>
                </a:extLst>
              </p:cNvPr>
              <p:cNvSpPr>
                <a:spLocks/>
              </p:cNvSpPr>
              <p:nvPr/>
            </p:nvSpPr>
            <p:spPr bwMode="auto">
              <a:xfrm>
                <a:off x="3354" y="5573"/>
                <a:ext cx="17384" cy="10007"/>
              </a:xfrm>
              <a:custGeom>
                <a:avLst/>
                <a:gdLst>
                  <a:gd name="T0" fmla="+- 0 4062 3354"/>
                  <a:gd name="T1" fmla="*/ T0 w 17384"/>
                  <a:gd name="T2" fmla="+- 0 15542 5573"/>
                  <a:gd name="T3" fmla="*/ 15542 h 10007"/>
                  <a:gd name="T4" fmla="+- 0 3813 3354"/>
                  <a:gd name="T5" fmla="*/ T4 w 17384"/>
                  <a:gd name="T6" fmla="+- 0 15542 5573"/>
                  <a:gd name="T7" fmla="*/ 15542 h 10007"/>
                  <a:gd name="T8" fmla="+- 0 3857 3354"/>
                  <a:gd name="T9" fmla="*/ T8 w 17384"/>
                  <a:gd name="T10" fmla="+- 0 15561 5573"/>
                  <a:gd name="T11" fmla="*/ 15561 h 10007"/>
                  <a:gd name="T12" fmla="+- 0 4104 3354"/>
                  <a:gd name="T13" fmla="*/ T12 w 17384"/>
                  <a:gd name="T14" fmla="+- 0 15561 5573"/>
                  <a:gd name="T15" fmla="*/ 15561 h 10007"/>
                  <a:gd name="T16" fmla="+- 0 4062 3354"/>
                  <a:gd name="T17" fmla="*/ T16 w 17384"/>
                  <a:gd name="T18" fmla="+- 0 15542 5573"/>
                  <a:gd name="T19" fmla="*/ 15542 h 10007"/>
                </a:gdLst>
                <a:ahLst/>
                <a:cxnLst>
                  <a:cxn ang="0">
                    <a:pos x="T1" y="T3"/>
                  </a:cxn>
                  <a:cxn ang="0">
                    <a:pos x="T5" y="T7"/>
                  </a:cxn>
                  <a:cxn ang="0">
                    <a:pos x="T9" y="T11"/>
                  </a:cxn>
                  <a:cxn ang="0">
                    <a:pos x="T13" y="T15"/>
                  </a:cxn>
                  <a:cxn ang="0">
                    <a:pos x="T17" y="T19"/>
                  </a:cxn>
                </a:cxnLst>
                <a:rect l="0" t="0" r="r" b="b"/>
                <a:pathLst>
                  <a:path w="17384" h="10007">
                    <a:moveTo>
                      <a:pt x="708" y="9969"/>
                    </a:moveTo>
                    <a:lnTo>
                      <a:pt x="459" y="9969"/>
                    </a:lnTo>
                    <a:lnTo>
                      <a:pt x="503" y="9988"/>
                    </a:lnTo>
                    <a:lnTo>
                      <a:pt x="750" y="9988"/>
                    </a:lnTo>
                    <a:lnTo>
                      <a:pt x="708" y="9969"/>
                    </a:lnTo>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ts val="1400"/>
                  </a:lnSpc>
                  <a:spcBef>
                    <a:spcPts val="0"/>
                  </a:spcBef>
                  <a:spcAft>
                    <a:spcPct val="0"/>
                  </a:spcAft>
                  <a:buClrTx/>
                  <a:buSzTx/>
                  <a:buFontTx/>
                  <a:buNone/>
                  <a:tabLst/>
                  <a:defRPr/>
                </a:pPr>
                <a:endParaRPr kumimoji="0" lang="en-US" sz="1200" b="0" i="0" u="none" strike="noStrike" kern="0" cap="none" spc="0" normalizeH="0" baseline="0" noProof="0" dirty="0">
                  <a:ln>
                    <a:noFill/>
                  </a:ln>
                  <a:solidFill>
                    <a:srgbClr val="010024"/>
                  </a:solidFill>
                  <a:effectLst/>
                  <a:uLnTx/>
                  <a:uFillTx/>
                  <a:latin typeface="EYInterstate Regular" pitchFamily="1" charset="0"/>
                  <a:ea typeface="+mn-ea"/>
                  <a:cs typeface="+mn-cs"/>
                </a:endParaRPr>
              </a:p>
            </p:txBody>
          </p:sp>
          <p:sp>
            <p:nvSpPr>
              <p:cNvPr id="22" name="Freeform 6">
                <a:extLst>
                  <a:ext uri="{FF2B5EF4-FFF2-40B4-BE49-F238E27FC236}">
                    <a16:creationId xmlns:a16="http://schemas.microsoft.com/office/drawing/2014/main" id="{86FBE68C-53C6-4345-9ACD-CD40EAAE0B62}"/>
                  </a:ext>
                </a:extLst>
              </p:cNvPr>
              <p:cNvSpPr>
                <a:spLocks/>
              </p:cNvSpPr>
              <p:nvPr/>
            </p:nvSpPr>
            <p:spPr bwMode="auto">
              <a:xfrm>
                <a:off x="3354" y="5573"/>
                <a:ext cx="17384" cy="10007"/>
              </a:xfrm>
              <a:custGeom>
                <a:avLst/>
                <a:gdLst>
                  <a:gd name="T0" fmla="+- 0 20280 3354"/>
                  <a:gd name="T1" fmla="*/ T0 w 17384"/>
                  <a:gd name="T2" fmla="+- 0 15542 5573"/>
                  <a:gd name="T3" fmla="*/ 15542 h 10007"/>
                  <a:gd name="T4" fmla="+- 0 20030 3354"/>
                  <a:gd name="T5" fmla="*/ T4 w 17384"/>
                  <a:gd name="T6" fmla="+- 0 15542 5573"/>
                  <a:gd name="T7" fmla="*/ 15542 h 10007"/>
                  <a:gd name="T8" fmla="+- 0 19988 3354"/>
                  <a:gd name="T9" fmla="*/ T8 w 17384"/>
                  <a:gd name="T10" fmla="+- 0 15561 5573"/>
                  <a:gd name="T11" fmla="*/ 15561 h 10007"/>
                  <a:gd name="T12" fmla="+- 0 20235 3354"/>
                  <a:gd name="T13" fmla="*/ T12 w 17384"/>
                  <a:gd name="T14" fmla="+- 0 15561 5573"/>
                  <a:gd name="T15" fmla="*/ 15561 h 10007"/>
                  <a:gd name="T16" fmla="+- 0 20280 3354"/>
                  <a:gd name="T17" fmla="*/ T16 w 17384"/>
                  <a:gd name="T18" fmla="+- 0 15542 5573"/>
                  <a:gd name="T19" fmla="*/ 15542 h 10007"/>
                </a:gdLst>
                <a:ahLst/>
                <a:cxnLst>
                  <a:cxn ang="0">
                    <a:pos x="T1" y="T3"/>
                  </a:cxn>
                  <a:cxn ang="0">
                    <a:pos x="T5" y="T7"/>
                  </a:cxn>
                  <a:cxn ang="0">
                    <a:pos x="T9" y="T11"/>
                  </a:cxn>
                  <a:cxn ang="0">
                    <a:pos x="T13" y="T15"/>
                  </a:cxn>
                  <a:cxn ang="0">
                    <a:pos x="T17" y="T19"/>
                  </a:cxn>
                </a:cxnLst>
                <a:rect l="0" t="0" r="r" b="b"/>
                <a:pathLst>
                  <a:path w="17384" h="10007">
                    <a:moveTo>
                      <a:pt x="16926" y="9969"/>
                    </a:moveTo>
                    <a:lnTo>
                      <a:pt x="16676" y="9969"/>
                    </a:lnTo>
                    <a:lnTo>
                      <a:pt x="16634" y="9988"/>
                    </a:lnTo>
                    <a:lnTo>
                      <a:pt x="16881" y="9988"/>
                    </a:lnTo>
                    <a:lnTo>
                      <a:pt x="16926" y="9969"/>
                    </a:lnTo>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ts val="1400"/>
                  </a:lnSpc>
                  <a:spcBef>
                    <a:spcPts val="0"/>
                  </a:spcBef>
                  <a:spcAft>
                    <a:spcPct val="0"/>
                  </a:spcAft>
                  <a:buClrTx/>
                  <a:buSzTx/>
                  <a:buFontTx/>
                  <a:buNone/>
                  <a:tabLst/>
                  <a:defRPr/>
                </a:pPr>
                <a:endParaRPr kumimoji="0" lang="en-US" sz="1200" b="0" i="0" u="none" strike="noStrike" kern="0" cap="none" spc="0" normalizeH="0" baseline="0" noProof="0" dirty="0">
                  <a:ln>
                    <a:noFill/>
                  </a:ln>
                  <a:solidFill>
                    <a:srgbClr val="010024"/>
                  </a:solidFill>
                  <a:effectLst/>
                  <a:uLnTx/>
                  <a:uFillTx/>
                  <a:latin typeface="EYInterstate Regular" pitchFamily="1" charset="0"/>
                  <a:ea typeface="+mn-ea"/>
                  <a:cs typeface="+mn-cs"/>
                </a:endParaRPr>
              </a:p>
            </p:txBody>
          </p:sp>
          <p:sp>
            <p:nvSpPr>
              <p:cNvPr id="23" name="Freeform 7">
                <a:extLst>
                  <a:ext uri="{FF2B5EF4-FFF2-40B4-BE49-F238E27FC236}">
                    <a16:creationId xmlns:a16="http://schemas.microsoft.com/office/drawing/2014/main" id="{B09D3874-151D-4D82-A7A5-055627C72976}"/>
                  </a:ext>
                </a:extLst>
              </p:cNvPr>
              <p:cNvSpPr>
                <a:spLocks/>
              </p:cNvSpPr>
              <p:nvPr/>
            </p:nvSpPr>
            <p:spPr bwMode="auto">
              <a:xfrm>
                <a:off x="3354" y="5573"/>
                <a:ext cx="17384" cy="10007"/>
              </a:xfrm>
              <a:custGeom>
                <a:avLst/>
                <a:gdLst>
                  <a:gd name="T0" fmla="+- 0 3900 3354"/>
                  <a:gd name="T1" fmla="*/ T0 w 17384"/>
                  <a:gd name="T2" fmla="+- 0 15523 5573"/>
                  <a:gd name="T3" fmla="*/ 15523 h 10007"/>
                  <a:gd name="T4" fmla="+- 0 3727 3354"/>
                  <a:gd name="T5" fmla="*/ T4 w 17384"/>
                  <a:gd name="T6" fmla="+- 0 15523 5573"/>
                  <a:gd name="T7" fmla="*/ 15523 h 10007"/>
                  <a:gd name="T8" fmla="+- 0 3769 3354"/>
                  <a:gd name="T9" fmla="*/ T8 w 17384"/>
                  <a:gd name="T10" fmla="+- 0 15542 5573"/>
                  <a:gd name="T11" fmla="*/ 15542 h 10007"/>
                  <a:gd name="T12" fmla="+- 0 3940 3354"/>
                  <a:gd name="T13" fmla="*/ T12 w 17384"/>
                  <a:gd name="T14" fmla="+- 0 15542 5573"/>
                  <a:gd name="T15" fmla="*/ 15542 h 10007"/>
                  <a:gd name="T16" fmla="+- 0 3900 3354"/>
                  <a:gd name="T17" fmla="*/ T16 w 17384"/>
                  <a:gd name="T18" fmla="+- 0 15523 5573"/>
                  <a:gd name="T19" fmla="*/ 15523 h 10007"/>
                </a:gdLst>
                <a:ahLst/>
                <a:cxnLst>
                  <a:cxn ang="0">
                    <a:pos x="T1" y="T3"/>
                  </a:cxn>
                  <a:cxn ang="0">
                    <a:pos x="T5" y="T7"/>
                  </a:cxn>
                  <a:cxn ang="0">
                    <a:pos x="T9" y="T11"/>
                  </a:cxn>
                  <a:cxn ang="0">
                    <a:pos x="T13" y="T15"/>
                  </a:cxn>
                  <a:cxn ang="0">
                    <a:pos x="T17" y="T19"/>
                  </a:cxn>
                </a:cxnLst>
                <a:rect l="0" t="0" r="r" b="b"/>
                <a:pathLst>
                  <a:path w="17384" h="10007">
                    <a:moveTo>
                      <a:pt x="546" y="9950"/>
                    </a:moveTo>
                    <a:lnTo>
                      <a:pt x="373" y="9950"/>
                    </a:lnTo>
                    <a:lnTo>
                      <a:pt x="415" y="9969"/>
                    </a:lnTo>
                    <a:lnTo>
                      <a:pt x="586" y="9969"/>
                    </a:lnTo>
                    <a:lnTo>
                      <a:pt x="546" y="9950"/>
                    </a:lnTo>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ts val="1400"/>
                  </a:lnSpc>
                  <a:spcBef>
                    <a:spcPts val="0"/>
                  </a:spcBef>
                  <a:spcAft>
                    <a:spcPct val="0"/>
                  </a:spcAft>
                  <a:buClrTx/>
                  <a:buSzTx/>
                  <a:buFontTx/>
                  <a:buNone/>
                  <a:tabLst/>
                  <a:defRPr/>
                </a:pPr>
                <a:endParaRPr kumimoji="0" lang="en-US" sz="1200" b="0" i="0" u="none" strike="noStrike" kern="0" cap="none" spc="0" normalizeH="0" baseline="0" noProof="0" dirty="0">
                  <a:ln>
                    <a:noFill/>
                  </a:ln>
                  <a:solidFill>
                    <a:srgbClr val="010024"/>
                  </a:solidFill>
                  <a:effectLst/>
                  <a:uLnTx/>
                  <a:uFillTx/>
                  <a:latin typeface="EYInterstate Regular" pitchFamily="1" charset="0"/>
                  <a:ea typeface="+mn-ea"/>
                  <a:cs typeface="+mn-cs"/>
                </a:endParaRPr>
              </a:p>
            </p:txBody>
          </p:sp>
          <p:sp>
            <p:nvSpPr>
              <p:cNvPr id="24" name="Freeform 8">
                <a:extLst>
                  <a:ext uri="{FF2B5EF4-FFF2-40B4-BE49-F238E27FC236}">
                    <a16:creationId xmlns:a16="http://schemas.microsoft.com/office/drawing/2014/main" id="{5F54AD87-2C46-4B2C-94E1-070259C34E4C}"/>
                  </a:ext>
                </a:extLst>
              </p:cNvPr>
              <p:cNvSpPr>
                <a:spLocks/>
              </p:cNvSpPr>
              <p:nvPr/>
            </p:nvSpPr>
            <p:spPr bwMode="auto">
              <a:xfrm>
                <a:off x="3354" y="5573"/>
                <a:ext cx="17384" cy="10007"/>
              </a:xfrm>
              <a:custGeom>
                <a:avLst/>
                <a:gdLst>
                  <a:gd name="T0" fmla="+- 0 20365 3354"/>
                  <a:gd name="T1" fmla="*/ T0 w 17384"/>
                  <a:gd name="T2" fmla="+- 0 15523 5573"/>
                  <a:gd name="T3" fmla="*/ 15523 h 10007"/>
                  <a:gd name="T4" fmla="+- 0 20192 3354"/>
                  <a:gd name="T5" fmla="*/ T4 w 17384"/>
                  <a:gd name="T6" fmla="+- 0 15523 5573"/>
                  <a:gd name="T7" fmla="*/ 15523 h 10007"/>
                  <a:gd name="T8" fmla="+- 0 20153 3354"/>
                  <a:gd name="T9" fmla="*/ T8 w 17384"/>
                  <a:gd name="T10" fmla="+- 0 15542 5573"/>
                  <a:gd name="T11" fmla="*/ 15542 h 10007"/>
                  <a:gd name="T12" fmla="+- 0 20323 3354"/>
                  <a:gd name="T13" fmla="*/ T12 w 17384"/>
                  <a:gd name="T14" fmla="+- 0 15542 5573"/>
                  <a:gd name="T15" fmla="*/ 15542 h 10007"/>
                  <a:gd name="T16" fmla="+- 0 20365 3354"/>
                  <a:gd name="T17" fmla="*/ T16 w 17384"/>
                  <a:gd name="T18" fmla="+- 0 15523 5573"/>
                  <a:gd name="T19" fmla="*/ 15523 h 10007"/>
                </a:gdLst>
                <a:ahLst/>
                <a:cxnLst>
                  <a:cxn ang="0">
                    <a:pos x="T1" y="T3"/>
                  </a:cxn>
                  <a:cxn ang="0">
                    <a:pos x="T5" y="T7"/>
                  </a:cxn>
                  <a:cxn ang="0">
                    <a:pos x="T9" y="T11"/>
                  </a:cxn>
                  <a:cxn ang="0">
                    <a:pos x="T13" y="T15"/>
                  </a:cxn>
                  <a:cxn ang="0">
                    <a:pos x="T17" y="T19"/>
                  </a:cxn>
                </a:cxnLst>
                <a:rect l="0" t="0" r="r" b="b"/>
                <a:pathLst>
                  <a:path w="17384" h="10007">
                    <a:moveTo>
                      <a:pt x="17011" y="9950"/>
                    </a:moveTo>
                    <a:lnTo>
                      <a:pt x="16838" y="9950"/>
                    </a:lnTo>
                    <a:lnTo>
                      <a:pt x="16799" y="9969"/>
                    </a:lnTo>
                    <a:lnTo>
                      <a:pt x="16969" y="9969"/>
                    </a:lnTo>
                    <a:lnTo>
                      <a:pt x="17011" y="9950"/>
                    </a:lnTo>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ts val="1400"/>
                  </a:lnSpc>
                  <a:spcBef>
                    <a:spcPts val="0"/>
                  </a:spcBef>
                  <a:spcAft>
                    <a:spcPct val="0"/>
                  </a:spcAft>
                  <a:buClrTx/>
                  <a:buSzTx/>
                  <a:buFontTx/>
                  <a:buNone/>
                  <a:tabLst/>
                  <a:defRPr/>
                </a:pPr>
                <a:endParaRPr kumimoji="0" lang="en-US" sz="1200" b="0" i="0" u="none" strike="noStrike" kern="0" cap="none" spc="0" normalizeH="0" baseline="0" noProof="0" dirty="0">
                  <a:ln>
                    <a:noFill/>
                  </a:ln>
                  <a:solidFill>
                    <a:srgbClr val="010024"/>
                  </a:solidFill>
                  <a:effectLst/>
                  <a:uLnTx/>
                  <a:uFillTx/>
                  <a:latin typeface="EYInterstate Regular" pitchFamily="1" charset="0"/>
                  <a:ea typeface="+mn-ea"/>
                  <a:cs typeface="+mn-cs"/>
                </a:endParaRPr>
              </a:p>
            </p:txBody>
          </p:sp>
          <p:sp>
            <p:nvSpPr>
              <p:cNvPr id="25" name="Freeform 9">
                <a:extLst>
                  <a:ext uri="{FF2B5EF4-FFF2-40B4-BE49-F238E27FC236}">
                    <a16:creationId xmlns:a16="http://schemas.microsoft.com/office/drawing/2014/main" id="{EA68AFE6-BAB9-4728-9941-58CF01F9B387}"/>
                  </a:ext>
                </a:extLst>
              </p:cNvPr>
              <p:cNvSpPr>
                <a:spLocks/>
              </p:cNvSpPr>
              <p:nvPr/>
            </p:nvSpPr>
            <p:spPr bwMode="auto">
              <a:xfrm>
                <a:off x="3354" y="5573"/>
                <a:ext cx="17384" cy="10007"/>
              </a:xfrm>
              <a:custGeom>
                <a:avLst/>
                <a:gdLst>
                  <a:gd name="T0" fmla="+- 0 3717 3354"/>
                  <a:gd name="T1" fmla="*/ T0 w 17384"/>
                  <a:gd name="T2" fmla="+- 0 15485 5573"/>
                  <a:gd name="T3" fmla="*/ 15485 h 10007"/>
                  <a:gd name="T4" fmla="+- 0 3611 3354"/>
                  <a:gd name="T5" fmla="*/ T4 w 17384"/>
                  <a:gd name="T6" fmla="+- 0 15485 5573"/>
                  <a:gd name="T7" fmla="*/ 15485 h 10007"/>
                  <a:gd name="T8" fmla="+- 0 3648 3354"/>
                  <a:gd name="T9" fmla="*/ T8 w 17384"/>
                  <a:gd name="T10" fmla="+- 0 15504 5573"/>
                  <a:gd name="T11" fmla="*/ 15504 h 10007"/>
                  <a:gd name="T12" fmla="+- 0 3687 3354"/>
                  <a:gd name="T13" fmla="*/ T12 w 17384"/>
                  <a:gd name="T14" fmla="+- 0 15523 5573"/>
                  <a:gd name="T15" fmla="*/ 15523 h 10007"/>
                  <a:gd name="T16" fmla="+- 0 3824 3354"/>
                  <a:gd name="T17" fmla="*/ T16 w 17384"/>
                  <a:gd name="T18" fmla="+- 0 15523 5573"/>
                  <a:gd name="T19" fmla="*/ 15523 h 10007"/>
                  <a:gd name="T20" fmla="+- 0 3787 3354"/>
                  <a:gd name="T21" fmla="*/ T20 w 17384"/>
                  <a:gd name="T22" fmla="+- 0 15504 5573"/>
                  <a:gd name="T23" fmla="*/ 15504 h 10007"/>
                  <a:gd name="T24" fmla="+- 0 3751 3354"/>
                  <a:gd name="T25" fmla="*/ T24 w 17384"/>
                  <a:gd name="T26" fmla="+- 0 15504 5573"/>
                  <a:gd name="T27" fmla="*/ 15504 h 10007"/>
                  <a:gd name="T28" fmla="+- 0 3717 3354"/>
                  <a:gd name="T29" fmla="*/ T28 w 17384"/>
                  <a:gd name="T30" fmla="+- 0 15485 5573"/>
                  <a:gd name="T31" fmla="*/ 15485 h 10007"/>
                </a:gdLst>
                <a:ahLst/>
                <a:cxnLst>
                  <a:cxn ang="0">
                    <a:pos x="T1" y="T3"/>
                  </a:cxn>
                  <a:cxn ang="0">
                    <a:pos x="T5" y="T7"/>
                  </a:cxn>
                  <a:cxn ang="0">
                    <a:pos x="T9" y="T11"/>
                  </a:cxn>
                  <a:cxn ang="0">
                    <a:pos x="T13" y="T15"/>
                  </a:cxn>
                  <a:cxn ang="0">
                    <a:pos x="T17" y="T19"/>
                  </a:cxn>
                  <a:cxn ang="0">
                    <a:pos x="T21" y="T23"/>
                  </a:cxn>
                  <a:cxn ang="0">
                    <a:pos x="T25" y="T27"/>
                  </a:cxn>
                  <a:cxn ang="0">
                    <a:pos x="T29" y="T31"/>
                  </a:cxn>
                </a:cxnLst>
                <a:rect l="0" t="0" r="r" b="b"/>
                <a:pathLst>
                  <a:path w="17384" h="10007">
                    <a:moveTo>
                      <a:pt x="363" y="9912"/>
                    </a:moveTo>
                    <a:lnTo>
                      <a:pt x="257" y="9912"/>
                    </a:lnTo>
                    <a:lnTo>
                      <a:pt x="294" y="9931"/>
                    </a:lnTo>
                    <a:lnTo>
                      <a:pt x="333" y="9950"/>
                    </a:lnTo>
                    <a:lnTo>
                      <a:pt x="470" y="9950"/>
                    </a:lnTo>
                    <a:lnTo>
                      <a:pt x="433" y="9931"/>
                    </a:lnTo>
                    <a:lnTo>
                      <a:pt x="397" y="9931"/>
                    </a:lnTo>
                    <a:lnTo>
                      <a:pt x="363" y="9912"/>
                    </a:lnTo>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ts val="1400"/>
                  </a:lnSpc>
                  <a:spcBef>
                    <a:spcPts val="0"/>
                  </a:spcBef>
                  <a:spcAft>
                    <a:spcPct val="0"/>
                  </a:spcAft>
                  <a:buClrTx/>
                  <a:buSzTx/>
                  <a:buFontTx/>
                  <a:buNone/>
                  <a:tabLst/>
                  <a:defRPr/>
                </a:pPr>
                <a:endParaRPr kumimoji="0" lang="en-US" sz="1200" b="0" i="0" u="none" strike="noStrike" kern="0" cap="none" spc="0" normalizeH="0" baseline="0" noProof="0" dirty="0">
                  <a:ln>
                    <a:noFill/>
                  </a:ln>
                  <a:solidFill>
                    <a:srgbClr val="010024"/>
                  </a:solidFill>
                  <a:effectLst/>
                  <a:uLnTx/>
                  <a:uFillTx/>
                  <a:latin typeface="EYInterstate Regular" pitchFamily="1" charset="0"/>
                  <a:ea typeface="+mn-ea"/>
                  <a:cs typeface="+mn-cs"/>
                </a:endParaRPr>
              </a:p>
            </p:txBody>
          </p:sp>
          <p:sp>
            <p:nvSpPr>
              <p:cNvPr id="26" name="Freeform 10">
                <a:extLst>
                  <a:ext uri="{FF2B5EF4-FFF2-40B4-BE49-F238E27FC236}">
                    <a16:creationId xmlns:a16="http://schemas.microsoft.com/office/drawing/2014/main" id="{C749E815-0922-41FA-8044-5D8A833862C9}"/>
                  </a:ext>
                </a:extLst>
              </p:cNvPr>
              <p:cNvSpPr>
                <a:spLocks/>
              </p:cNvSpPr>
              <p:nvPr/>
            </p:nvSpPr>
            <p:spPr bwMode="auto">
              <a:xfrm>
                <a:off x="3354" y="5573"/>
                <a:ext cx="17384" cy="10007"/>
              </a:xfrm>
              <a:custGeom>
                <a:avLst/>
                <a:gdLst>
                  <a:gd name="T0" fmla="+- 0 20481 3354"/>
                  <a:gd name="T1" fmla="*/ T0 w 17384"/>
                  <a:gd name="T2" fmla="+- 0 15485 5573"/>
                  <a:gd name="T3" fmla="*/ 15485 h 10007"/>
                  <a:gd name="T4" fmla="+- 0 20376 3354"/>
                  <a:gd name="T5" fmla="*/ T4 w 17384"/>
                  <a:gd name="T6" fmla="+- 0 15485 5573"/>
                  <a:gd name="T7" fmla="*/ 15485 h 10007"/>
                  <a:gd name="T8" fmla="+- 0 20341 3354"/>
                  <a:gd name="T9" fmla="*/ T8 w 17384"/>
                  <a:gd name="T10" fmla="+- 0 15504 5573"/>
                  <a:gd name="T11" fmla="*/ 15504 h 10007"/>
                  <a:gd name="T12" fmla="+- 0 20305 3354"/>
                  <a:gd name="T13" fmla="*/ T12 w 17384"/>
                  <a:gd name="T14" fmla="+- 0 15504 5573"/>
                  <a:gd name="T15" fmla="*/ 15504 h 10007"/>
                  <a:gd name="T16" fmla="+- 0 20269 3354"/>
                  <a:gd name="T17" fmla="*/ T16 w 17384"/>
                  <a:gd name="T18" fmla="+- 0 15523 5573"/>
                  <a:gd name="T19" fmla="*/ 15523 h 10007"/>
                  <a:gd name="T20" fmla="+- 0 20406 3354"/>
                  <a:gd name="T21" fmla="*/ T20 w 17384"/>
                  <a:gd name="T22" fmla="+- 0 15523 5573"/>
                  <a:gd name="T23" fmla="*/ 15523 h 10007"/>
                  <a:gd name="T24" fmla="+- 0 20444 3354"/>
                  <a:gd name="T25" fmla="*/ T24 w 17384"/>
                  <a:gd name="T26" fmla="+- 0 15504 5573"/>
                  <a:gd name="T27" fmla="*/ 15504 h 10007"/>
                  <a:gd name="T28" fmla="+- 0 20481 3354"/>
                  <a:gd name="T29" fmla="*/ T28 w 17384"/>
                  <a:gd name="T30" fmla="+- 0 15485 5573"/>
                  <a:gd name="T31" fmla="*/ 15485 h 10007"/>
                </a:gdLst>
                <a:ahLst/>
                <a:cxnLst>
                  <a:cxn ang="0">
                    <a:pos x="T1" y="T3"/>
                  </a:cxn>
                  <a:cxn ang="0">
                    <a:pos x="T5" y="T7"/>
                  </a:cxn>
                  <a:cxn ang="0">
                    <a:pos x="T9" y="T11"/>
                  </a:cxn>
                  <a:cxn ang="0">
                    <a:pos x="T13" y="T15"/>
                  </a:cxn>
                  <a:cxn ang="0">
                    <a:pos x="T17" y="T19"/>
                  </a:cxn>
                  <a:cxn ang="0">
                    <a:pos x="T21" y="T23"/>
                  </a:cxn>
                  <a:cxn ang="0">
                    <a:pos x="T25" y="T27"/>
                  </a:cxn>
                  <a:cxn ang="0">
                    <a:pos x="T29" y="T31"/>
                  </a:cxn>
                </a:cxnLst>
                <a:rect l="0" t="0" r="r" b="b"/>
                <a:pathLst>
                  <a:path w="17384" h="10007">
                    <a:moveTo>
                      <a:pt x="17127" y="9912"/>
                    </a:moveTo>
                    <a:lnTo>
                      <a:pt x="17022" y="9912"/>
                    </a:lnTo>
                    <a:lnTo>
                      <a:pt x="16987" y="9931"/>
                    </a:lnTo>
                    <a:lnTo>
                      <a:pt x="16951" y="9931"/>
                    </a:lnTo>
                    <a:lnTo>
                      <a:pt x="16915" y="9950"/>
                    </a:lnTo>
                    <a:lnTo>
                      <a:pt x="17052" y="9950"/>
                    </a:lnTo>
                    <a:lnTo>
                      <a:pt x="17090" y="9931"/>
                    </a:lnTo>
                    <a:lnTo>
                      <a:pt x="17127" y="9912"/>
                    </a:lnTo>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ts val="1400"/>
                  </a:lnSpc>
                  <a:spcBef>
                    <a:spcPts val="0"/>
                  </a:spcBef>
                  <a:spcAft>
                    <a:spcPct val="0"/>
                  </a:spcAft>
                  <a:buClrTx/>
                  <a:buSzTx/>
                  <a:buFontTx/>
                  <a:buNone/>
                  <a:tabLst/>
                  <a:defRPr/>
                </a:pPr>
                <a:endParaRPr kumimoji="0" lang="en-US" sz="1200" b="0" i="0" u="none" strike="noStrike" kern="0" cap="none" spc="0" normalizeH="0" baseline="0" noProof="0" dirty="0">
                  <a:ln>
                    <a:noFill/>
                  </a:ln>
                  <a:solidFill>
                    <a:srgbClr val="010024"/>
                  </a:solidFill>
                  <a:effectLst/>
                  <a:uLnTx/>
                  <a:uFillTx/>
                  <a:latin typeface="EYInterstate Regular" pitchFamily="1" charset="0"/>
                  <a:ea typeface="+mn-ea"/>
                  <a:cs typeface="+mn-cs"/>
                </a:endParaRPr>
              </a:p>
            </p:txBody>
          </p:sp>
          <p:sp>
            <p:nvSpPr>
              <p:cNvPr id="27" name="Freeform 11">
                <a:extLst>
                  <a:ext uri="{FF2B5EF4-FFF2-40B4-BE49-F238E27FC236}">
                    <a16:creationId xmlns:a16="http://schemas.microsoft.com/office/drawing/2014/main" id="{50BF1962-F53B-4687-9765-86BDF16EF560}"/>
                  </a:ext>
                </a:extLst>
              </p:cNvPr>
              <p:cNvSpPr>
                <a:spLocks/>
              </p:cNvSpPr>
              <p:nvPr/>
            </p:nvSpPr>
            <p:spPr bwMode="auto">
              <a:xfrm>
                <a:off x="3354" y="5573"/>
                <a:ext cx="17384" cy="10007"/>
              </a:xfrm>
              <a:custGeom>
                <a:avLst/>
                <a:gdLst>
                  <a:gd name="T0" fmla="+- 0 3562 3354"/>
                  <a:gd name="T1" fmla="*/ T0 w 17384"/>
                  <a:gd name="T2" fmla="+- 0 15429 5573"/>
                  <a:gd name="T3" fmla="*/ 15429 h 10007"/>
                  <a:gd name="T4" fmla="+- 0 3482 3354"/>
                  <a:gd name="T5" fmla="*/ T4 w 17384"/>
                  <a:gd name="T6" fmla="+- 0 15429 5573"/>
                  <a:gd name="T7" fmla="*/ 15429 h 10007"/>
                  <a:gd name="T8" fmla="+- 0 3511 3354"/>
                  <a:gd name="T9" fmla="*/ T8 w 17384"/>
                  <a:gd name="T10" fmla="+- 0 15448 5573"/>
                  <a:gd name="T11" fmla="*/ 15448 h 10007"/>
                  <a:gd name="T12" fmla="+- 0 3542 3354"/>
                  <a:gd name="T13" fmla="*/ T12 w 17384"/>
                  <a:gd name="T14" fmla="+- 0 15467 5573"/>
                  <a:gd name="T15" fmla="*/ 15467 h 10007"/>
                  <a:gd name="T16" fmla="+- 0 3576 3354"/>
                  <a:gd name="T17" fmla="*/ T16 w 17384"/>
                  <a:gd name="T18" fmla="+- 0 15485 5573"/>
                  <a:gd name="T19" fmla="*/ 15485 h 10007"/>
                  <a:gd name="T20" fmla="+- 0 3683 3354"/>
                  <a:gd name="T21" fmla="*/ T20 w 17384"/>
                  <a:gd name="T22" fmla="+- 0 15485 5573"/>
                  <a:gd name="T23" fmla="*/ 15485 h 10007"/>
                  <a:gd name="T24" fmla="+- 0 3651 3354"/>
                  <a:gd name="T25" fmla="*/ T24 w 17384"/>
                  <a:gd name="T26" fmla="+- 0 15467 5573"/>
                  <a:gd name="T27" fmla="*/ 15467 h 10007"/>
                  <a:gd name="T28" fmla="+- 0 3620 3354"/>
                  <a:gd name="T29" fmla="*/ T28 w 17384"/>
                  <a:gd name="T30" fmla="+- 0 15448 5573"/>
                  <a:gd name="T31" fmla="*/ 15448 h 10007"/>
                  <a:gd name="T32" fmla="+- 0 3590 3354"/>
                  <a:gd name="T33" fmla="*/ T32 w 17384"/>
                  <a:gd name="T34" fmla="+- 0 15448 5573"/>
                  <a:gd name="T35" fmla="*/ 15448 h 10007"/>
                  <a:gd name="T36" fmla="+- 0 3562 3354"/>
                  <a:gd name="T37" fmla="*/ T36 w 17384"/>
                  <a:gd name="T38" fmla="+- 0 15429 5573"/>
                  <a:gd name="T39" fmla="*/ 15429 h 10007"/>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Lst>
                <a:rect l="0" t="0" r="r" b="b"/>
                <a:pathLst>
                  <a:path w="17384" h="10007">
                    <a:moveTo>
                      <a:pt x="208" y="9856"/>
                    </a:moveTo>
                    <a:lnTo>
                      <a:pt x="128" y="9856"/>
                    </a:lnTo>
                    <a:lnTo>
                      <a:pt x="157" y="9875"/>
                    </a:lnTo>
                    <a:lnTo>
                      <a:pt x="188" y="9894"/>
                    </a:lnTo>
                    <a:lnTo>
                      <a:pt x="222" y="9912"/>
                    </a:lnTo>
                    <a:lnTo>
                      <a:pt x="329" y="9912"/>
                    </a:lnTo>
                    <a:lnTo>
                      <a:pt x="297" y="9894"/>
                    </a:lnTo>
                    <a:lnTo>
                      <a:pt x="266" y="9875"/>
                    </a:lnTo>
                    <a:lnTo>
                      <a:pt x="236" y="9875"/>
                    </a:lnTo>
                    <a:lnTo>
                      <a:pt x="208" y="9856"/>
                    </a:lnTo>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ts val="1400"/>
                  </a:lnSpc>
                  <a:spcBef>
                    <a:spcPts val="0"/>
                  </a:spcBef>
                  <a:spcAft>
                    <a:spcPct val="0"/>
                  </a:spcAft>
                  <a:buClrTx/>
                  <a:buSzTx/>
                  <a:buFontTx/>
                  <a:buNone/>
                  <a:tabLst/>
                  <a:defRPr/>
                </a:pPr>
                <a:endParaRPr kumimoji="0" lang="en-US" sz="1200" b="0" i="0" u="none" strike="noStrike" kern="0" cap="none" spc="0" normalizeH="0" baseline="0" noProof="0" dirty="0">
                  <a:ln>
                    <a:noFill/>
                  </a:ln>
                  <a:solidFill>
                    <a:srgbClr val="010024"/>
                  </a:solidFill>
                  <a:effectLst/>
                  <a:uLnTx/>
                  <a:uFillTx/>
                  <a:latin typeface="EYInterstate Regular" pitchFamily="1" charset="0"/>
                  <a:ea typeface="+mn-ea"/>
                  <a:cs typeface="+mn-cs"/>
                </a:endParaRPr>
              </a:p>
            </p:txBody>
          </p:sp>
          <p:sp>
            <p:nvSpPr>
              <p:cNvPr id="28" name="Freeform 12">
                <a:extLst>
                  <a:ext uri="{FF2B5EF4-FFF2-40B4-BE49-F238E27FC236}">
                    <a16:creationId xmlns:a16="http://schemas.microsoft.com/office/drawing/2014/main" id="{BFB35416-BEBA-4E9B-9CA5-505A2F55E253}"/>
                  </a:ext>
                </a:extLst>
              </p:cNvPr>
              <p:cNvSpPr>
                <a:spLocks/>
              </p:cNvSpPr>
              <p:nvPr/>
            </p:nvSpPr>
            <p:spPr bwMode="auto">
              <a:xfrm>
                <a:off x="3354" y="5573"/>
                <a:ext cx="17384" cy="10007"/>
              </a:xfrm>
              <a:custGeom>
                <a:avLst/>
                <a:gdLst>
                  <a:gd name="T0" fmla="+- 0 20610 3354"/>
                  <a:gd name="T1" fmla="*/ T0 w 17384"/>
                  <a:gd name="T2" fmla="+- 0 15429 5573"/>
                  <a:gd name="T3" fmla="*/ 15429 h 10007"/>
                  <a:gd name="T4" fmla="+- 0 20530 3354"/>
                  <a:gd name="T5" fmla="*/ T4 w 17384"/>
                  <a:gd name="T6" fmla="+- 0 15429 5573"/>
                  <a:gd name="T7" fmla="*/ 15429 h 10007"/>
                  <a:gd name="T8" fmla="+- 0 20502 3354"/>
                  <a:gd name="T9" fmla="*/ T8 w 17384"/>
                  <a:gd name="T10" fmla="+- 0 15448 5573"/>
                  <a:gd name="T11" fmla="*/ 15448 h 10007"/>
                  <a:gd name="T12" fmla="+- 0 20472 3354"/>
                  <a:gd name="T13" fmla="*/ T12 w 17384"/>
                  <a:gd name="T14" fmla="+- 0 15448 5573"/>
                  <a:gd name="T15" fmla="*/ 15448 h 10007"/>
                  <a:gd name="T16" fmla="+- 0 20442 3354"/>
                  <a:gd name="T17" fmla="*/ T16 w 17384"/>
                  <a:gd name="T18" fmla="+- 0 15467 5573"/>
                  <a:gd name="T19" fmla="*/ 15467 h 10007"/>
                  <a:gd name="T20" fmla="+- 0 20409 3354"/>
                  <a:gd name="T21" fmla="*/ T20 w 17384"/>
                  <a:gd name="T22" fmla="+- 0 15485 5573"/>
                  <a:gd name="T23" fmla="*/ 15485 h 10007"/>
                  <a:gd name="T24" fmla="+- 0 20517 3354"/>
                  <a:gd name="T25" fmla="*/ T24 w 17384"/>
                  <a:gd name="T26" fmla="+- 0 15485 5573"/>
                  <a:gd name="T27" fmla="*/ 15485 h 10007"/>
                  <a:gd name="T28" fmla="+- 0 20550 3354"/>
                  <a:gd name="T29" fmla="*/ T28 w 17384"/>
                  <a:gd name="T30" fmla="+- 0 15467 5573"/>
                  <a:gd name="T31" fmla="*/ 15467 h 10007"/>
                  <a:gd name="T32" fmla="+- 0 20581 3354"/>
                  <a:gd name="T33" fmla="*/ T32 w 17384"/>
                  <a:gd name="T34" fmla="+- 0 15448 5573"/>
                  <a:gd name="T35" fmla="*/ 15448 h 10007"/>
                  <a:gd name="T36" fmla="+- 0 20610 3354"/>
                  <a:gd name="T37" fmla="*/ T36 w 17384"/>
                  <a:gd name="T38" fmla="+- 0 15429 5573"/>
                  <a:gd name="T39" fmla="*/ 15429 h 10007"/>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Lst>
                <a:rect l="0" t="0" r="r" b="b"/>
                <a:pathLst>
                  <a:path w="17384" h="10007">
                    <a:moveTo>
                      <a:pt x="17256" y="9856"/>
                    </a:moveTo>
                    <a:lnTo>
                      <a:pt x="17176" y="9856"/>
                    </a:lnTo>
                    <a:lnTo>
                      <a:pt x="17148" y="9875"/>
                    </a:lnTo>
                    <a:lnTo>
                      <a:pt x="17118" y="9875"/>
                    </a:lnTo>
                    <a:lnTo>
                      <a:pt x="17088" y="9894"/>
                    </a:lnTo>
                    <a:lnTo>
                      <a:pt x="17055" y="9912"/>
                    </a:lnTo>
                    <a:lnTo>
                      <a:pt x="17163" y="9912"/>
                    </a:lnTo>
                    <a:lnTo>
                      <a:pt x="17196" y="9894"/>
                    </a:lnTo>
                    <a:lnTo>
                      <a:pt x="17227" y="9875"/>
                    </a:lnTo>
                    <a:lnTo>
                      <a:pt x="17256" y="9856"/>
                    </a:lnTo>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ts val="1400"/>
                  </a:lnSpc>
                  <a:spcBef>
                    <a:spcPts val="0"/>
                  </a:spcBef>
                  <a:spcAft>
                    <a:spcPct val="0"/>
                  </a:spcAft>
                  <a:buClrTx/>
                  <a:buSzTx/>
                  <a:buFontTx/>
                  <a:buNone/>
                  <a:tabLst/>
                  <a:defRPr/>
                </a:pPr>
                <a:endParaRPr kumimoji="0" lang="en-US" sz="1200" b="0" i="0" u="none" strike="noStrike" kern="0" cap="none" spc="0" normalizeH="0" baseline="0" noProof="0" dirty="0">
                  <a:ln>
                    <a:noFill/>
                  </a:ln>
                  <a:solidFill>
                    <a:srgbClr val="010024"/>
                  </a:solidFill>
                  <a:effectLst/>
                  <a:uLnTx/>
                  <a:uFillTx/>
                  <a:latin typeface="EYInterstate Regular" pitchFamily="1" charset="0"/>
                  <a:ea typeface="+mn-ea"/>
                  <a:cs typeface="+mn-cs"/>
                </a:endParaRPr>
              </a:p>
            </p:txBody>
          </p:sp>
          <p:sp>
            <p:nvSpPr>
              <p:cNvPr id="29" name="Freeform 13">
                <a:extLst>
                  <a:ext uri="{FF2B5EF4-FFF2-40B4-BE49-F238E27FC236}">
                    <a16:creationId xmlns:a16="http://schemas.microsoft.com/office/drawing/2014/main" id="{812CF2F7-5C55-4EEC-B40B-DD3B27D64B58}"/>
                  </a:ext>
                </a:extLst>
              </p:cNvPr>
              <p:cNvSpPr>
                <a:spLocks/>
              </p:cNvSpPr>
              <p:nvPr/>
            </p:nvSpPr>
            <p:spPr bwMode="auto">
              <a:xfrm>
                <a:off x="3354" y="5573"/>
                <a:ext cx="17384" cy="10007"/>
              </a:xfrm>
              <a:custGeom>
                <a:avLst/>
                <a:gdLst>
                  <a:gd name="T0" fmla="+- 0 3487 3354"/>
                  <a:gd name="T1" fmla="*/ T0 w 17384"/>
                  <a:gd name="T2" fmla="+- 0 15391 5573"/>
                  <a:gd name="T3" fmla="*/ 15391 h 10007"/>
                  <a:gd name="T4" fmla="+- 0 3409 3354"/>
                  <a:gd name="T5" fmla="*/ T4 w 17384"/>
                  <a:gd name="T6" fmla="+- 0 15391 5573"/>
                  <a:gd name="T7" fmla="*/ 15391 h 10007"/>
                  <a:gd name="T8" fmla="+- 0 3431 3354"/>
                  <a:gd name="T9" fmla="*/ T8 w 17384"/>
                  <a:gd name="T10" fmla="+- 0 15410 5573"/>
                  <a:gd name="T11" fmla="*/ 15410 h 10007"/>
                  <a:gd name="T12" fmla="+- 0 3455 3354"/>
                  <a:gd name="T13" fmla="*/ T12 w 17384"/>
                  <a:gd name="T14" fmla="+- 0 15429 5573"/>
                  <a:gd name="T15" fmla="*/ 15429 h 10007"/>
                  <a:gd name="T16" fmla="+- 0 3536 3354"/>
                  <a:gd name="T17" fmla="*/ T16 w 17384"/>
                  <a:gd name="T18" fmla="+- 0 15429 5573"/>
                  <a:gd name="T19" fmla="*/ 15429 h 10007"/>
                  <a:gd name="T20" fmla="+- 0 3511 3354"/>
                  <a:gd name="T21" fmla="*/ T20 w 17384"/>
                  <a:gd name="T22" fmla="+- 0 15410 5573"/>
                  <a:gd name="T23" fmla="*/ 15410 h 10007"/>
                  <a:gd name="T24" fmla="+- 0 3487 3354"/>
                  <a:gd name="T25" fmla="*/ T24 w 17384"/>
                  <a:gd name="T26" fmla="+- 0 15391 5573"/>
                  <a:gd name="T27" fmla="*/ 15391 h 10007"/>
                </a:gdLst>
                <a:ahLst/>
                <a:cxnLst>
                  <a:cxn ang="0">
                    <a:pos x="T1" y="T3"/>
                  </a:cxn>
                  <a:cxn ang="0">
                    <a:pos x="T5" y="T7"/>
                  </a:cxn>
                  <a:cxn ang="0">
                    <a:pos x="T9" y="T11"/>
                  </a:cxn>
                  <a:cxn ang="0">
                    <a:pos x="T13" y="T15"/>
                  </a:cxn>
                  <a:cxn ang="0">
                    <a:pos x="T17" y="T19"/>
                  </a:cxn>
                  <a:cxn ang="0">
                    <a:pos x="T21" y="T23"/>
                  </a:cxn>
                  <a:cxn ang="0">
                    <a:pos x="T25" y="T27"/>
                  </a:cxn>
                </a:cxnLst>
                <a:rect l="0" t="0" r="r" b="b"/>
                <a:pathLst>
                  <a:path w="17384" h="10007">
                    <a:moveTo>
                      <a:pt x="133" y="9818"/>
                    </a:moveTo>
                    <a:lnTo>
                      <a:pt x="55" y="9818"/>
                    </a:lnTo>
                    <a:lnTo>
                      <a:pt x="77" y="9837"/>
                    </a:lnTo>
                    <a:lnTo>
                      <a:pt x="101" y="9856"/>
                    </a:lnTo>
                    <a:lnTo>
                      <a:pt x="182" y="9856"/>
                    </a:lnTo>
                    <a:lnTo>
                      <a:pt x="157" y="9837"/>
                    </a:lnTo>
                    <a:lnTo>
                      <a:pt x="133" y="9818"/>
                    </a:lnTo>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ts val="1400"/>
                  </a:lnSpc>
                  <a:spcBef>
                    <a:spcPts val="0"/>
                  </a:spcBef>
                  <a:spcAft>
                    <a:spcPct val="0"/>
                  </a:spcAft>
                  <a:buClrTx/>
                  <a:buSzTx/>
                  <a:buFontTx/>
                  <a:buNone/>
                  <a:tabLst/>
                  <a:defRPr/>
                </a:pPr>
                <a:endParaRPr kumimoji="0" lang="en-US" sz="1200" b="0" i="0" u="none" strike="noStrike" kern="0" cap="none" spc="0" normalizeH="0" baseline="0" noProof="0" dirty="0">
                  <a:ln>
                    <a:noFill/>
                  </a:ln>
                  <a:solidFill>
                    <a:srgbClr val="010024"/>
                  </a:solidFill>
                  <a:effectLst/>
                  <a:uLnTx/>
                  <a:uFillTx/>
                  <a:latin typeface="EYInterstate Regular" pitchFamily="1" charset="0"/>
                  <a:ea typeface="+mn-ea"/>
                  <a:cs typeface="+mn-cs"/>
                </a:endParaRPr>
              </a:p>
            </p:txBody>
          </p:sp>
          <p:sp>
            <p:nvSpPr>
              <p:cNvPr id="30" name="Freeform 14">
                <a:extLst>
                  <a:ext uri="{FF2B5EF4-FFF2-40B4-BE49-F238E27FC236}">
                    <a16:creationId xmlns:a16="http://schemas.microsoft.com/office/drawing/2014/main" id="{B53754C8-A998-40A7-8CF7-7AB92AF1CAE3}"/>
                  </a:ext>
                </a:extLst>
              </p:cNvPr>
              <p:cNvSpPr>
                <a:spLocks/>
              </p:cNvSpPr>
              <p:nvPr/>
            </p:nvSpPr>
            <p:spPr bwMode="auto">
              <a:xfrm>
                <a:off x="3354" y="5573"/>
                <a:ext cx="17384" cy="10007"/>
              </a:xfrm>
              <a:custGeom>
                <a:avLst/>
                <a:gdLst>
                  <a:gd name="T0" fmla="+- 0 20683 3354"/>
                  <a:gd name="T1" fmla="*/ T0 w 17384"/>
                  <a:gd name="T2" fmla="+- 0 15391 5573"/>
                  <a:gd name="T3" fmla="*/ 15391 h 10007"/>
                  <a:gd name="T4" fmla="+- 0 20605 3354"/>
                  <a:gd name="T5" fmla="*/ T4 w 17384"/>
                  <a:gd name="T6" fmla="+- 0 15391 5573"/>
                  <a:gd name="T7" fmla="*/ 15391 h 10007"/>
                  <a:gd name="T8" fmla="+- 0 20582 3354"/>
                  <a:gd name="T9" fmla="*/ T8 w 17384"/>
                  <a:gd name="T10" fmla="+- 0 15410 5573"/>
                  <a:gd name="T11" fmla="*/ 15410 h 10007"/>
                  <a:gd name="T12" fmla="+- 0 20557 3354"/>
                  <a:gd name="T13" fmla="*/ T12 w 17384"/>
                  <a:gd name="T14" fmla="+- 0 15429 5573"/>
                  <a:gd name="T15" fmla="*/ 15429 h 10007"/>
                  <a:gd name="T16" fmla="+- 0 20637 3354"/>
                  <a:gd name="T17" fmla="*/ T16 w 17384"/>
                  <a:gd name="T18" fmla="+- 0 15429 5573"/>
                  <a:gd name="T19" fmla="*/ 15429 h 10007"/>
                  <a:gd name="T20" fmla="+- 0 20661 3354"/>
                  <a:gd name="T21" fmla="*/ T20 w 17384"/>
                  <a:gd name="T22" fmla="+- 0 15410 5573"/>
                  <a:gd name="T23" fmla="*/ 15410 h 10007"/>
                  <a:gd name="T24" fmla="+- 0 20683 3354"/>
                  <a:gd name="T25" fmla="*/ T24 w 17384"/>
                  <a:gd name="T26" fmla="+- 0 15391 5573"/>
                  <a:gd name="T27" fmla="*/ 15391 h 10007"/>
                </a:gdLst>
                <a:ahLst/>
                <a:cxnLst>
                  <a:cxn ang="0">
                    <a:pos x="T1" y="T3"/>
                  </a:cxn>
                  <a:cxn ang="0">
                    <a:pos x="T5" y="T7"/>
                  </a:cxn>
                  <a:cxn ang="0">
                    <a:pos x="T9" y="T11"/>
                  </a:cxn>
                  <a:cxn ang="0">
                    <a:pos x="T13" y="T15"/>
                  </a:cxn>
                  <a:cxn ang="0">
                    <a:pos x="T17" y="T19"/>
                  </a:cxn>
                  <a:cxn ang="0">
                    <a:pos x="T21" y="T23"/>
                  </a:cxn>
                  <a:cxn ang="0">
                    <a:pos x="T25" y="T27"/>
                  </a:cxn>
                </a:cxnLst>
                <a:rect l="0" t="0" r="r" b="b"/>
                <a:pathLst>
                  <a:path w="17384" h="10007">
                    <a:moveTo>
                      <a:pt x="17329" y="9818"/>
                    </a:moveTo>
                    <a:lnTo>
                      <a:pt x="17251" y="9818"/>
                    </a:lnTo>
                    <a:lnTo>
                      <a:pt x="17228" y="9837"/>
                    </a:lnTo>
                    <a:lnTo>
                      <a:pt x="17203" y="9856"/>
                    </a:lnTo>
                    <a:lnTo>
                      <a:pt x="17283" y="9856"/>
                    </a:lnTo>
                    <a:lnTo>
                      <a:pt x="17307" y="9837"/>
                    </a:lnTo>
                    <a:lnTo>
                      <a:pt x="17329" y="9818"/>
                    </a:lnTo>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ts val="1400"/>
                  </a:lnSpc>
                  <a:spcBef>
                    <a:spcPts val="0"/>
                  </a:spcBef>
                  <a:spcAft>
                    <a:spcPct val="0"/>
                  </a:spcAft>
                  <a:buClrTx/>
                  <a:buSzTx/>
                  <a:buFontTx/>
                  <a:buNone/>
                  <a:tabLst/>
                  <a:defRPr/>
                </a:pPr>
                <a:endParaRPr kumimoji="0" lang="en-US" sz="1200" b="0" i="0" u="none" strike="noStrike" kern="0" cap="none" spc="0" normalizeH="0" baseline="0" noProof="0" dirty="0">
                  <a:ln>
                    <a:noFill/>
                  </a:ln>
                  <a:solidFill>
                    <a:srgbClr val="010024"/>
                  </a:solidFill>
                  <a:effectLst/>
                  <a:uLnTx/>
                  <a:uFillTx/>
                  <a:latin typeface="EYInterstate Regular" pitchFamily="1" charset="0"/>
                  <a:ea typeface="+mn-ea"/>
                  <a:cs typeface="+mn-cs"/>
                </a:endParaRPr>
              </a:p>
            </p:txBody>
          </p:sp>
          <p:sp>
            <p:nvSpPr>
              <p:cNvPr id="31" name="Freeform 15">
                <a:extLst>
                  <a:ext uri="{FF2B5EF4-FFF2-40B4-BE49-F238E27FC236}">
                    <a16:creationId xmlns:a16="http://schemas.microsoft.com/office/drawing/2014/main" id="{726EFD27-E3A0-44B4-915B-EA426CFF81A4}"/>
                  </a:ext>
                </a:extLst>
              </p:cNvPr>
              <p:cNvSpPr>
                <a:spLocks/>
              </p:cNvSpPr>
              <p:nvPr/>
            </p:nvSpPr>
            <p:spPr bwMode="auto">
              <a:xfrm>
                <a:off x="3354" y="5573"/>
                <a:ext cx="17384" cy="10007"/>
              </a:xfrm>
              <a:custGeom>
                <a:avLst/>
                <a:gdLst>
                  <a:gd name="T0" fmla="+- 0 20710 3354"/>
                  <a:gd name="T1" fmla="*/ T0 w 17384"/>
                  <a:gd name="T2" fmla="+- 0 15372 5573"/>
                  <a:gd name="T3" fmla="*/ 15372 h 10007"/>
                  <a:gd name="T4" fmla="+- 0 3384 3354"/>
                  <a:gd name="T5" fmla="*/ T4 w 17384"/>
                  <a:gd name="T6" fmla="+- 0 15372 5573"/>
                  <a:gd name="T7" fmla="*/ 15372 h 10007"/>
                  <a:gd name="T8" fmla="+- 0 3390 3354"/>
                  <a:gd name="T9" fmla="*/ T8 w 17384"/>
                  <a:gd name="T10" fmla="+- 0 15391 5573"/>
                  <a:gd name="T11" fmla="*/ 15391 h 10007"/>
                  <a:gd name="T12" fmla="+- 0 20703 3354"/>
                  <a:gd name="T13" fmla="*/ T12 w 17384"/>
                  <a:gd name="T14" fmla="+- 0 15391 5573"/>
                  <a:gd name="T15" fmla="*/ 15391 h 10007"/>
                  <a:gd name="T16" fmla="+- 0 20710 3354"/>
                  <a:gd name="T17" fmla="*/ T16 w 17384"/>
                  <a:gd name="T18" fmla="+- 0 15372 5573"/>
                  <a:gd name="T19" fmla="*/ 15372 h 10007"/>
                </a:gdLst>
                <a:ahLst/>
                <a:cxnLst>
                  <a:cxn ang="0">
                    <a:pos x="T1" y="T3"/>
                  </a:cxn>
                  <a:cxn ang="0">
                    <a:pos x="T5" y="T7"/>
                  </a:cxn>
                  <a:cxn ang="0">
                    <a:pos x="T9" y="T11"/>
                  </a:cxn>
                  <a:cxn ang="0">
                    <a:pos x="T13" y="T15"/>
                  </a:cxn>
                  <a:cxn ang="0">
                    <a:pos x="T17" y="T19"/>
                  </a:cxn>
                </a:cxnLst>
                <a:rect l="0" t="0" r="r" b="b"/>
                <a:pathLst>
                  <a:path w="17384" h="10007">
                    <a:moveTo>
                      <a:pt x="17356" y="9799"/>
                    </a:moveTo>
                    <a:lnTo>
                      <a:pt x="30" y="9799"/>
                    </a:lnTo>
                    <a:lnTo>
                      <a:pt x="36" y="9818"/>
                    </a:lnTo>
                    <a:lnTo>
                      <a:pt x="17349" y="9818"/>
                    </a:lnTo>
                    <a:lnTo>
                      <a:pt x="17356" y="9799"/>
                    </a:lnTo>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ts val="1400"/>
                  </a:lnSpc>
                  <a:spcBef>
                    <a:spcPts val="0"/>
                  </a:spcBef>
                  <a:spcAft>
                    <a:spcPct val="0"/>
                  </a:spcAft>
                  <a:buClrTx/>
                  <a:buSzTx/>
                  <a:buFontTx/>
                  <a:buNone/>
                  <a:tabLst/>
                  <a:defRPr/>
                </a:pPr>
                <a:endParaRPr kumimoji="0" lang="en-US" sz="1200" b="0" i="0" u="none" strike="noStrike" kern="0" cap="none" spc="0" normalizeH="0" baseline="0" noProof="0" dirty="0">
                  <a:ln>
                    <a:noFill/>
                  </a:ln>
                  <a:solidFill>
                    <a:srgbClr val="010024"/>
                  </a:solidFill>
                  <a:effectLst/>
                  <a:uLnTx/>
                  <a:uFillTx/>
                  <a:latin typeface="EYInterstate Regular" pitchFamily="1" charset="0"/>
                  <a:ea typeface="+mn-ea"/>
                  <a:cs typeface="+mn-cs"/>
                </a:endParaRPr>
              </a:p>
            </p:txBody>
          </p:sp>
          <p:sp>
            <p:nvSpPr>
              <p:cNvPr id="32" name="Freeform 16">
                <a:extLst>
                  <a:ext uri="{FF2B5EF4-FFF2-40B4-BE49-F238E27FC236}">
                    <a16:creationId xmlns:a16="http://schemas.microsoft.com/office/drawing/2014/main" id="{F9F2BA11-4BE9-418D-9524-B61F39722EC4}"/>
                  </a:ext>
                </a:extLst>
              </p:cNvPr>
              <p:cNvSpPr>
                <a:spLocks/>
              </p:cNvSpPr>
              <p:nvPr/>
            </p:nvSpPr>
            <p:spPr bwMode="auto">
              <a:xfrm>
                <a:off x="3354" y="5573"/>
                <a:ext cx="17384" cy="10007"/>
              </a:xfrm>
              <a:custGeom>
                <a:avLst/>
                <a:gdLst>
                  <a:gd name="T0" fmla="+- 0 3396 3354"/>
                  <a:gd name="T1" fmla="*/ T0 w 17384"/>
                  <a:gd name="T2" fmla="+- 0 15335 5573"/>
                  <a:gd name="T3" fmla="*/ 15335 h 10007"/>
                  <a:gd name="T4" fmla="+- 0 3356 3354"/>
                  <a:gd name="T5" fmla="*/ T4 w 17384"/>
                  <a:gd name="T6" fmla="+- 0 15335 5573"/>
                  <a:gd name="T7" fmla="*/ 15335 h 10007"/>
                  <a:gd name="T8" fmla="+- 0 3365 3354"/>
                  <a:gd name="T9" fmla="*/ T8 w 17384"/>
                  <a:gd name="T10" fmla="+- 0 15372 5573"/>
                  <a:gd name="T11" fmla="*/ 15372 h 10007"/>
                  <a:gd name="T12" fmla="+- 0 20722 3354"/>
                  <a:gd name="T13" fmla="*/ T12 w 17384"/>
                  <a:gd name="T14" fmla="+- 0 15372 5573"/>
                  <a:gd name="T15" fmla="*/ 15372 h 10007"/>
                  <a:gd name="T16" fmla="+- 0 20736 3354"/>
                  <a:gd name="T17" fmla="*/ T16 w 17384"/>
                  <a:gd name="T18" fmla="+- 0 15354 5573"/>
                  <a:gd name="T19" fmla="*/ 15354 h 10007"/>
                  <a:gd name="T20" fmla="+- 0 3399 3354"/>
                  <a:gd name="T21" fmla="*/ T20 w 17384"/>
                  <a:gd name="T22" fmla="+- 0 15354 5573"/>
                  <a:gd name="T23" fmla="*/ 15354 h 10007"/>
                  <a:gd name="T24" fmla="+- 0 3396 3354"/>
                  <a:gd name="T25" fmla="*/ T24 w 17384"/>
                  <a:gd name="T26" fmla="+- 0 15335 5573"/>
                  <a:gd name="T27" fmla="*/ 15335 h 10007"/>
                </a:gdLst>
                <a:ahLst/>
                <a:cxnLst>
                  <a:cxn ang="0">
                    <a:pos x="T1" y="T3"/>
                  </a:cxn>
                  <a:cxn ang="0">
                    <a:pos x="T5" y="T7"/>
                  </a:cxn>
                  <a:cxn ang="0">
                    <a:pos x="T9" y="T11"/>
                  </a:cxn>
                  <a:cxn ang="0">
                    <a:pos x="T13" y="T15"/>
                  </a:cxn>
                  <a:cxn ang="0">
                    <a:pos x="T17" y="T19"/>
                  </a:cxn>
                  <a:cxn ang="0">
                    <a:pos x="T21" y="T23"/>
                  </a:cxn>
                  <a:cxn ang="0">
                    <a:pos x="T25" y="T27"/>
                  </a:cxn>
                </a:cxnLst>
                <a:rect l="0" t="0" r="r" b="b"/>
                <a:pathLst>
                  <a:path w="17384" h="10007">
                    <a:moveTo>
                      <a:pt x="42" y="9762"/>
                    </a:moveTo>
                    <a:lnTo>
                      <a:pt x="2" y="9762"/>
                    </a:lnTo>
                    <a:lnTo>
                      <a:pt x="11" y="9799"/>
                    </a:lnTo>
                    <a:lnTo>
                      <a:pt x="17368" y="9799"/>
                    </a:lnTo>
                    <a:lnTo>
                      <a:pt x="17382" y="9781"/>
                    </a:lnTo>
                    <a:lnTo>
                      <a:pt x="45" y="9781"/>
                    </a:lnTo>
                    <a:lnTo>
                      <a:pt x="42" y="9762"/>
                    </a:lnTo>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ts val="1400"/>
                  </a:lnSpc>
                  <a:spcBef>
                    <a:spcPts val="0"/>
                  </a:spcBef>
                  <a:spcAft>
                    <a:spcPct val="0"/>
                  </a:spcAft>
                  <a:buClrTx/>
                  <a:buSzTx/>
                  <a:buFontTx/>
                  <a:buNone/>
                  <a:tabLst/>
                  <a:defRPr/>
                </a:pPr>
                <a:endParaRPr kumimoji="0" lang="en-US" sz="1200" b="0" i="0" u="none" strike="noStrike" kern="0" cap="none" spc="0" normalizeH="0" baseline="0" noProof="0" dirty="0">
                  <a:ln>
                    <a:noFill/>
                  </a:ln>
                  <a:solidFill>
                    <a:srgbClr val="010024"/>
                  </a:solidFill>
                  <a:effectLst/>
                  <a:uLnTx/>
                  <a:uFillTx/>
                  <a:latin typeface="EYInterstate Regular" pitchFamily="1" charset="0"/>
                  <a:ea typeface="+mn-ea"/>
                  <a:cs typeface="+mn-cs"/>
                </a:endParaRPr>
              </a:p>
            </p:txBody>
          </p:sp>
          <p:sp>
            <p:nvSpPr>
              <p:cNvPr id="33" name="Freeform 17">
                <a:extLst>
                  <a:ext uri="{FF2B5EF4-FFF2-40B4-BE49-F238E27FC236}">
                    <a16:creationId xmlns:a16="http://schemas.microsoft.com/office/drawing/2014/main" id="{F3E36EAE-D292-4A05-A009-B8482F51915A}"/>
                  </a:ext>
                </a:extLst>
              </p:cNvPr>
              <p:cNvSpPr>
                <a:spLocks/>
              </p:cNvSpPr>
              <p:nvPr/>
            </p:nvSpPr>
            <p:spPr bwMode="auto">
              <a:xfrm>
                <a:off x="3354" y="5573"/>
                <a:ext cx="17384" cy="10007"/>
              </a:xfrm>
              <a:custGeom>
                <a:avLst/>
                <a:gdLst>
                  <a:gd name="T0" fmla="+- 0 20738 3354"/>
                  <a:gd name="T1" fmla="*/ T0 w 17384"/>
                  <a:gd name="T2" fmla="+- 0 15071 5573"/>
                  <a:gd name="T3" fmla="*/ 15071 h 10007"/>
                  <a:gd name="T4" fmla="+- 0 20701 3354"/>
                  <a:gd name="T5" fmla="*/ T4 w 17384"/>
                  <a:gd name="T6" fmla="+- 0 15071 5573"/>
                  <a:gd name="T7" fmla="*/ 15071 h 10007"/>
                  <a:gd name="T8" fmla="+- 0 20701 3354"/>
                  <a:gd name="T9" fmla="*/ T8 w 17384"/>
                  <a:gd name="T10" fmla="+- 0 15335 5573"/>
                  <a:gd name="T11" fmla="*/ 15335 h 10007"/>
                  <a:gd name="T12" fmla="+- 0 20701 3354"/>
                  <a:gd name="T13" fmla="*/ T12 w 17384"/>
                  <a:gd name="T14" fmla="+- 0 15335 5573"/>
                  <a:gd name="T15" fmla="*/ 15335 h 10007"/>
                  <a:gd name="T16" fmla="+- 0 20696 3354"/>
                  <a:gd name="T17" fmla="*/ T16 w 17384"/>
                  <a:gd name="T18" fmla="+- 0 15354 5573"/>
                  <a:gd name="T19" fmla="*/ 15354 h 10007"/>
                  <a:gd name="T20" fmla="+- 0 20736 3354"/>
                  <a:gd name="T21" fmla="*/ T20 w 17384"/>
                  <a:gd name="T22" fmla="+- 0 15354 5573"/>
                  <a:gd name="T23" fmla="*/ 15354 h 10007"/>
                  <a:gd name="T24" fmla="+- 0 20738 3354"/>
                  <a:gd name="T25" fmla="*/ T24 w 17384"/>
                  <a:gd name="T26" fmla="+- 0 15335 5573"/>
                  <a:gd name="T27" fmla="*/ 15335 h 10007"/>
                  <a:gd name="T28" fmla="+- 0 20738 3354"/>
                  <a:gd name="T29" fmla="*/ T28 w 17384"/>
                  <a:gd name="T30" fmla="+- 0 15071 5573"/>
                  <a:gd name="T31" fmla="*/ 15071 h 10007"/>
                </a:gdLst>
                <a:ahLst/>
                <a:cxnLst>
                  <a:cxn ang="0">
                    <a:pos x="T1" y="T3"/>
                  </a:cxn>
                  <a:cxn ang="0">
                    <a:pos x="T5" y="T7"/>
                  </a:cxn>
                  <a:cxn ang="0">
                    <a:pos x="T9" y="T11"/>
                  </a:cxn>
                  <a:cxn ang="0">
                    <a:pos x="T13" y="T15"/>
                  </a:cxn>
                  <a:cxn ang="0">
                    <a:pos x="T17" y="T19"/>
                  </a:cxn>
                  <a:cxn ang="0">
                    <a:pos x="T21" y="T23"/>
                  </a:cxn>
                  <a:cxn ang="0">
                    <a:pos x="T25" y="T27"/>
                  </a:cxn>
                  <a:cxn ang="0">
                    <a:pos x="T29" y="T31"/>
                  </a:cxn>
                </a:cxnLst>
                <a:rect l="0" t="0" r="r" b="b"/>
                <a:pathLst>
                  <a:path w="17384" h="10007">
                    <a:moveTo>
                      <a:pt x="17384" y="9498"/>
                    </a:moveTo>
                    <a:lnTo>
                      <a:pt x="17347" y="9498"/>
                    </a:lnTo>
                    <a:lnTo>
                      <a:pt x="17347" y="9762"/>
                    </a:lnTo>
                    <a:lnTo>
                      <a:pt x="17342" y="9781"/>
                    </a:lnTo>
                    <a:lnTo>
                      <a:pt x="17382" y="9781"/>
                    </a:lnTo>
                    <a:lnTo>
                      <a:pt x="17384" y="9762"/>
                    </a:lnTo>
                    <a:lnTo>
                      <a:pt x="17384" y="9498"/>
                    </a:lnTo>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ts val="1400"/>
                  </a:lnSpc>
                  <a:spcBef>
                    <a:spcPts val="0"/>
                  </a:spcBef>
                  <a:spcAft>
                    <a:spcPct val="0"/>
                  </a:spcAft>
                  <a:buClrTx/>
                  <a:buSzTx/>
                  <a:buFontTx/>
                  <a:buNone/>
                  <a:tabLst/>
                  <a:defRPr/>
                </a:pPr>
                <a:endParaRPr kumimoji="0" lang="en-US" sz="1200" b="0" i="0" u="none" strike="noStrike" kern="0" cap="none" spc="0" normalizeH="0" baseline="0" noProof="0" dirty="0">
                  <a:ln>
                    <a:noFill/>
                  </a:ln>
                  <a:solidFill>
                    <a:srgbClr val="010024"/>
                  </a:solidFill>
                  <a:effectLst/>
                  <a:uLnTx/>
                  <a:uFillTx/>
                  <a:latin typeface="EYInterstate Regular" pitchFamily="1" charset="0"/>
                  <a:ea typeface="+mn-ea"/>
                  <a:cs typeface="+mn-cs"/>
                </a:endParaRPr>
              </a:p>
            </p:txBody>
          </p:sp>
          <p:sp>
            <p:nvSpPr>
              <p:cNvPr id="34" name="Freeform 18">
                <a:extLst>
                  <a:ext uri="{FF2B5EF4-FFF2-40B4-BE49-F238E27FC236}">
                    <a16:creationId xmlns:a16="http://schemas.microsoft.com/office/drawing/2014/main" id="{7C7EC2C6-6BF5-48AD-9AEF-89E9D969A1F6}"/>
                  </a:ext>
                </a:extLst>
              </p:cNvPr>
              <p:cNvSpPr>
                <a:spLocks/>
              </p:cNvSpPr>
              <p:nvPr/>
            </p:nvSpPr>
            <p:spPr bwMode="auto">
              <a:xfrm>
                <a:off x="3354" y="5573"/>
                <a:ext cx="17384" cy="10007"/>
              </a:xfrm>
              <a:custGeom>
                <a:avLst/>
                <a:gdLst>
                  <a:gd name="T0" fmla="+- 0 20725 3354"/>
                  <a:gd name="T1" fmla="*/ T0 w 17384"/>
                  <a:gd name="T2" fmla="+- 0 15033 5573"/>
                  <a:gd name="T3" fmla="*/ 15033 h 10007"/>
                  <a:gd name="T4" fmla="+- 0 3367 3354"/>
                  <a:gd name="T5" fmla="*/ T4 w 17384"/>
                  <a:gd name="T6" fmla="+- 0 15033 5573"/>
                  <a:gd name="T7" fmla="*/ 15033 h 10007"/>
                  <a:gd name="T8" fmla="+- 0 3354 3354"/>
                  <a:gd name="T9" fmla="*/ T8 w 17384"/>
                  <a:gd name="T10" fmla="+- 0 15052 5573"/>
                  <a:gd name="T11" fmla="*/ 15052 h 10007"/>
                  <a:gd name="T12" fmla="+- 0 3354 3354"/>
                  <a:gd name="T13" fmla="*/ T12 w 17384"/>
                  <a:gd name="T14" fmla="+- 0 15335 5573"/>
                  <a:gd name="T15" fmla="*/ 15335 h 10007"/>
                  <a:gd name="T16" fmla="+- 0 3391 3354"/>
                  <a:gd name="T17" fmla="*/ T16 w 17384"/>
                  <a:gd name="T18" fmla="+- 0 15335 5573"/>
                  <a:gd name="T19" fmla="*/ 15335 h 10007"/>
                  <a:gd name="T20" fmla="+- 0 3391 3354"/>
                  <a:gd name="T21" fmla="*/ T20 w 17384"/>
                  <a:gd name="T22" fmla="+- 0 15071 5573"/>
                  <a:gd name="T23" fmla="*/ 15071 h 10007"/>
                  <a:gd name="T24" fmla="+- 0 20738 3354"/>
                  <a:gd name="T25" fmla="*/ T24 w 17384"/>
                  <a:gd name="T26" fmla="+- 0 15071 5573"/>
                  <a:gd name="T27" fmla="*/ 15071 h 10007"/>
                  <a:gd name="T28" fmla="+- 0 20738 3354"/>
                  <a:gd name="T29" fmla="*/ T28 w 17384"/>
                  <a:gd name="T30" fmla="+- 0 15052 5573"/>
                  <a:gd name="T31" fmla="*/ 15052 h 10007"/>
                  <a:gd name="T32" fmla="+- 0 20725 3354"/>
                  <a:gd name="T33" fmla="*/ T32 w 17384"/>
                  <a:gd name="T34" fmla="+- 0 15033 5573"/>
                  <a:gd name="T35" fmla="*/ 15033 h 10007"/>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Lst>
                <a:rect l="0" t="0" r="r" b="b"/>
                <a:pathLst>
                  <a:path w="17384" h="10007">
                    <a:moveTo>
                      <a:pt x="17371" y="9460"/>
                    </a:moveTo>
                    <a:lnTo>
                      <a:pt x="13" y="9460"/>
                    </a:lnTo>
                    <a:lnTo>
                      <a:pt x="0" y="9479"/>
                    </a:lnTo>
                    <a:lnTo>
                      <a:pt x="0" y="9762"/>
                    </a:lnTo>
                    <a:lnTo>
                      <a:pt x="37" y="9762"/>
                    </a:lnTo>
                    <a:lnTo>
                      <a:pt x="37" y="9498"/>
                    </a:lnTo>
                    <a:lnTo>
                      <a:pt x="17384" y="9498"/>
                    </a:lnTo>
                    <a:lnTo>
                      <a:pt x="17384" y="9479"/>
                    </a:lnTo>
                    <a:lnTo>
                      <a:pt x="17371" y="9460"/>
                    </a:lnTo>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ts val="1400"/>
                  </a:lnSpc>
                  <a:spcBef>
                    <a:spcPts val="0"/>
                  </a:spcBef>
                  <a:spcAft>
                    <a:spcPct val="0"/>
                  </a:spcAft>
                  <a:buClrTx/>
                  <a:buSzTx/>
                  <a:buFontTx/>
                  <a:buNone/>
                  <a:tabLst/>
                  <a:defRPr/>
                </a:pPr>
                <a:endParaRPr kumimoji="0" lang="en-US" sz="1200" b="0" i="0" u="none" strike="noStrike" kern="0" cap="none" spc="0" normalizeH="0" baseline="0" noProof="0" dirty="0">
                  <a:ln>
                    <a:noFill/>
                  </a:ln>
                  <a:solidFill>
                    <a:srgbClr val="010024"/>
                  </a:solidFill>
                  <a:effectLst/>
                  <a:uLnTx/>
                  <a:uFillTx/>
                  <a:latin typeface="EYInterstate Regular" pitchFamily="1" charset="0"/>
                  <a:ea typeface="+mn-ea"/>
                  <a:cs typeface="+mn-cs"/>
                </a:endParaRPr>
              </a:p>
            </p:txBody>
          </p:sp>
          <p:sp>
            <p:nvSpPr>
              <p:cNvPr id="35" name="Freeform 19">
                <a:extLst>
                  <a:ext uri="{FF2B5EF4-FFF2-40B4-BE49-F238E27FC236}">
                    <a16:creationId xmlns:a16="http://schemas.microsoft.com/office/drawing/2014/main" id="{D0FEB33B-51D4-478E-9F78-425FEE66BF54}"/>
                  </a:ext>
                </a:extLst>
              </p:cNvPr>
              <p:cNvSpPr>
                <a:spLocks/>
              </p:cNvSpPr>
              <p:nvPr/>
            </p:nvSpPr>
            <p:spPr bwMode="auto">
              <a:xfrm>
                <a:off x="3354" y="5573"/>
                <a:ext cx="17384" cy="10007"/>
              </a:xfrm>
              <a:custGeom>
                <a:avLst/>
                <a:gdLst>
                  <a:gd name="T0" fmla="+- 0 13138 3354"/>
                  <a:gd name="T1" fmla="*/ T0 w 17384"/>
                  <a:gd name="T2" fmla="+- 0 15240 5573"/>
                  <a:gd name="T3" fmla="*/ 15240 h 10007"/>
                  <a:gd name="T4" fmla="+- 0 10948 3354"/>
                  <a:gd name="T5" fmla="*/ T4 w 17384"/>
                  <a:gd name="T6" fmla="+- 0 15240 5573"/>
                  <a:gd name="T7" fmla="*/ 15240 h 10007"/>
                  <a:gd name="T8" fmla="+- 0 10970 3354"/>
                  <a:gd name="T9" fmla="*/ T8 w 17384"/>
                  <a:gd name="T10" fmla="+- 0 15259 5573"/>
                  <a:gd name="T11" fmla="*/ 15259 h 10007"/>
                  <a:gd name="T12" fmla="+- 0 13116 3354"/>
                  <a:gd name="T13" fmla="*/ T12 w 17384"/>
                  <a:gd name="T14" fmla="+- 0 15259 5573"/>
                  <a:gd name="T15" fmla="*/ 15259 h 10007"/>
                  <a:gd name="T16" fmla="+- 0 13138 3354"/>
                  <a:gd name="T17" fmla="*/ T16 w 17384"/>
                  <a:gd name="T18" fmla="+- 0 15240 5573"/>
                  <a:gd name="T19" fmla="*/ 15240 h 10007"/>
                </a:gdLst>
                <a:ahLst/>
                <a:cxnLst>
                  <a:cxn ang="0">
                    <a:pos x="T1" y="T3"/>
                  </a:cxn>
                  <a:cxn ang="0">
                    <a:pos x="T5" y="T7"/>
                  </a:cxn>
                  <a:cxn ang="0">
                    <a:pos x="T9" y="T11"/>
                  </a:cxn>
                  <a:cxn ang="0">
                    <a:pos x="T13" y="T15"/>
                  </a:cxn>
                  <a:cxn ang="0">
                    <a:pos x="T17" y="T19"/>
                  </a:cxn>
                </a:cxnLst>
                <a:rect l="0" t="0" r="r" b="b"/>
                <a:pathLst>
                  <a:path w="17384" h="10007">
                    <a:moveTo>
                      <a:pt x="9784" y="9667"/>
                    </a:moveTo>
                    <a:lnTo>
                      <a:pt x="7594" y="9667"/>
                    </a:lnTo>
                    <a:lnTo>
                      <a:pt x="7616" y="9686"/>
                    </a:lnTo>
                    <a:lnTo>
                      <a:pt x="9762" y="9686"/>
                    </a:lnTo>
                    <a:lnTo>
                      <a:pt x="9784" y="9667"/>
                    </a:lnTo>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ts val="1400"/>
                  </a:lnSpc>
                  <a:spcBef>
                    <a:spcPts val="0"/>
                  </a:spcBef>
                  <a:spcAft>
                    <a:spcPct val="0"/>
                  </a:spcAft>
                  <a:buClrTx/>
                  <a:buSzTx/>
                  <a:buFontTx/>
                  <a:buNone/>
                  <a:tabLst/>
                  <a:defRPr/>
                </a:pPr>
                <a:endParaRPr kumimoji="0" lang="en-US" sz="1200" b="0" i="0" u="none" strike="noStrike" kern="0" cap="none" spc="0" normalizeH="0" baseline="0" noProof="0" dirty="0">
                  <a:ln>
                    <a:noFill/>
                  </a:ln>
                  <a:solidFill>
                    <a:srgbClr val="010024"/>
                  </a:solidFill>
                  <a:effectLst/>
                  <a:uLnTx/>
                  <a:uFillTx/>
                  <a:latin typeface="EYInterstate Regular" pitchFamily="1" charset="0"/>
                  <a:ea typeface="+mn-ea"/>
                  <a:cs typeface="+mn-cs"/>
                </a:endParaRPr>
              </a:p>
            </p:txBody>
          </p:sp>
          <p:sp>
            <p:nvSpPr>
              <p:cNvPr id="36" name="Freeform 20">
                <a:extLst>
                  <a:ext uri="{FF2B5EF4-FFF2-40B4-BE49-F238E27FC236}">
                    <a16:creationId xmlns:a16="http://schemas.microsoft.com/office/drawing/2014/main" id="{FC7D1700-1A0D-4417-8FB3-58CFA13595A0}"/>
                  </a:ext>
                </a:extLst>
              </p:cNvPr>
              <p:cNvSpPr>
                <a:spLocks/>
              </p:cNvSpPr>
              <p:nvPr/>
            </p:nvSpPr>
            <p:spPr bwMode="auto">
              <a:xfrm>
                <a:off x="3354" y="5573"/>
                <a:ext cx="17384" cy="10007"/>
              </a:xfrm>
              <a:custGeom>
                <a:avLst/>
                <a:gdLst>
                  <a:gd name="T0" fmla="+- 0 10857 3354"/>
                  <a:gd name="T1" fmla="*/ T0 w 17384"/>
                  <a:gd name="T2" fmla="+- 0 15071 5573"/>
                  <a:gd name="T3" fmla="*/ 15071 h 10007"/>
                  <a:gd name="T4" fmla="+- 0 10818 3354"/>
                  <a:gd name="T5" fmla="*/ T4 w 17384"/>
                  <a:gd name="T6" fmla="+- 0 15071 5573"/>
                  <a:gd name="T7" fmla="*/ 15071 h 10007"/>
                  <a:gd name="T8" fmla="+- 0 10821 3354"/>
                  <a:gd name="T9" fmla="*/ T8 w 17384"/>
                  <a:gd name="T10" fmla="+- 0 15090 5573"/>
                  <a:gd name="T11" fmla="*/ 15090 h 10007"/>
                  <a:gd name="T12" fmla="+- 0 10841 3354"/>
                  <a:gd name="T13" fmla="*/ T12 w 17384"/>
                  <a:gd name="T14" fmla="+- 0 15146 5573"/>
                  <a:gd name="T15" fmla="*/ 15146 h 10007"/>
                  <a:gd name="T16" fmla="+- 0 10863 3354"/>
                  <a:gd name="T17" fmla="*/ T16 w 17384"/>
                  <a:gd name="T18" fmla="+- 0 15184 5573"/>
                  <a:gd name="T19" fmla="*/ 15184 h 10007"/>
                  <a:gd name="T20" fmla="+- 0 10877 3354"/>
                  <a:gd name="T21" fmla="*/ T20 w 17384"/>
                  <a:gd name="T22" fmla="+- 0 15184 5573"/>
                  <a:gd name="T23" fmla="*/ 15184 h 10007"/>
                  <a:gd name="T24" fmla="+- 0 10892 3354"/>
                  <a:gd name="T25" fmla="*/ T24 w 17384"/>
                  <a:gd name="T26" fmla="+- 0 15203 5573"/>
                  <a:gd name="T27" fmla="*/ 15203 h 10007"/>
                  <a:gd name="T28" fmla="+- 0 10909 3354"/>
                  <a:gd name="T29" fmla="*/ T28 w 17384"/>
                  <a:gd name="T30" fmla="+- 0 15222 5573"/>
                  <a:gd name="T31" fmla="*/ 15222 h 10007"/>
                  <a:gd name="T32" fmla="+- 0 10928 3354"/>
                  <a:gd name="T33" fmla="*/ T32 w 17384"/>
                  <a:gd name="T34" fmla="+- 0 15240 5573"/>
                  <a:gd name="T35" fmla="*/ 15240 h 10007"/>
                  <a:gd name="T36" fmla="+- 0 13159 3354"/>
                  <a:gd name="T37" fmla="*/ T36 w 17384"/>
                  <a:gd name="T38" fmla="+- 0 15240 5573"/>
                  <a:gd name="T39" fmla="*/ 15240 h 10007"/>
                  <a:gd name="T40" fmla="+- 0 13178 3354"/>
                  <a:gd name="T41" fmla="*/ T40 w 17384"/>
                  <a:gd name="T42" fmla="+- 0 15222 5573"/>
                  <a:gd name="T43" fmla="*/ 15222 h 10007"/>
                  <a:gd name="T44" fmla="+- 0 10977 3354"/>
                  <a:gd name="T45" fmla="*/ T44 w 17384"/>
                  <a:gd name="T46" fmla="+- 0 15222 5573"/>
                  <a:gd name="T47" fmla="*/ 15222 h 10007"/>
                  <a:gd name="T48" fmla="+- 0 10956 3354"/>
                  <a:gd name="T49" fmla="*/ T48 w 17384"/>
                  <a:gd name="T50" fmla="+- 0 15203 5573"/>
                  <a:gd name="T51" fmla="*/ 15203 h 10007"/>
                  <a:gd name="T52" fmla="+- 0 10937 3354"/>
                  <a:gd name="T53" fmla="*/ T52 w 17384"/>
                  <a:gd name="T54" fmla="+- 0 15203 5573"/>
                  <a:gd name="T55" fmla="*/ 15203 h 10007"/>
                  <a:gd name="T56" fmla="+- 0 10919 3354"/>
                  <a:gd name="T57" fmla="*/ T56 w 17384"/>
                  <a:gd name="T58" fmla="+- 0 15184 5573"/>
                  <a:gd name="T59" fmla="*/ 15184 h 10007"/>
                  <a:gd name="T60" fmla="+- 0 10879 3354"/>
                  <a:gd name="T61" fmla="*/ T60 w 17384"/>
                  <a:gd name="T62" fmla="+- 0 15127 5573"/>
                  <a:gd name="T63" fmla="*/ 15127 h 10007"/>
                  <a:gd name="T64" fmla="+- 0 10862 3354"/>
                  <a:gd name="T65" fmla="*/ T64 w 17384"/>
                  <a:gd name="T66" fmla="+- 0 15090 5573"/>
                  <a:gd name="T67" fmla="*/ 15090 h 10007"/>
                  <a:gd name="T68" fmla="+- 0 10857 3354"/>
                  <a:gd name="T69" fmla="*/ T68 w 17384"/>
                  <a:gd name="T70" fmla="+- 0 15071 5573"/>
                  <a:gd name="T71" fmla="*/ 15071 h 10007"/>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 ang="0">
                    <a:pos x="T41" y="T43"/>
                  </a:cxn>
                  <a:cxn ang="0">
                    <a:pos x="T45" y="T47"/>
                  </a:cxn>
                  <a:cxn ang="0">
                    <a:pos x="T49" y="T51"/>
                  </a:cxn>
                  <a:cxn ang="0">
                    <a:pos x="T53" y="T55"/>
                  </a:cxn>
                  <a:cxn ang="0">
                    <a:pos x="T57" y="T59"/>
                  </a:cxn>
                  <a:cxn ang="0">
                    <a:pos x="T61" y="T63"/>
                  </a:cxn>
                  <a:cxn ang="0">
                    <a:pos x="T65" y="T67"/>
                  </a:cxn>
                  <a:cxn ang="0">
                    <a:pos x="T69" y="T71"/>
                  </a:cxn>
                </a:cxnLst>
                <a:rect l="0" t="0" r="r" b="b"/>
                <a:pathLst>
                  <a:path w="17384" h="10007">
                    <a:moveTo>
                      <a:pt x="7503" y="9498"/>
                    </a:moveTo>
                    <a:lnTo>
                      <a:pt x="7464" y="9498"/>
                    </a:lnTo>
                    <a:lnTo>
                      <a:pt x="7467" y="9517"/>
                    </a:lnTo>
                    <a:lnTo>
                      <a:pt x="7487" y="9573"/>
                    </a:lnTo>
                    <a:lnTo>
                      <a:pt x="7509" y="9611"/>
                    </a:lnTo>
                    <a:lnTo>
                      <a:pt x="7523" y="9611"/>
                    </a:lnTo>
                    <a:lnTo>
                      <a:pt x="7538" y="9630"/>
                    </a:lnTo>
                    <a:lnTo>
                      <a:pt x="7555" y="9649"/>
                    </a:lnTo>
                    <a:lnTo>
                      <a:pt x="7574" y="9667"/>
                    </a:lnTo>
                    <a:lnTo>
                      <a:pt x="9805" y="9667"/>
                    </a:lnTo>
                    <a:lnTo>
                      <a:pt x="9824" y="9649"/>
                    </a:lnTo>
                    <a:lnTo>
                      <a:pt x="7623" y="9649"/>
                    </a:lnTo>
                    <a:lnTo>
                      <a:pt x="7602" y="9630"/>
                    </a:lnTo>
                    <a:lnTo>
                      <a:pt x="7583" y="9630"/>
                    </a:lnTo>
                    <a:lnTo>
                      <a:pt x="7565" y="9611"/>
                    </a:lnTo>
                    <a:lnTo>
                      <a:pt x="7525" y="9554"/>
                    </a:lnTo>
                    <a:lnTo>
                      <a:pt x="7508" y="9517"/>
                    </a:lnTo>
                    <a:lnTo>
                      <a:pt x="7503" y="9498"/>
                    </a:lnTo>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ts val="1400"/>
                  </a:lnSpc>
                  <a:spcBef>
                    <a:spcPts val="0"/>
                  </a:spcBef>
                  <a:spcAft>
                    <a:spcPct val="0"/>
                  </a:spcAft>
                  <a:buClrTx/>
                  <a:buSzTx/>
                  <a:buFontTx/>
                  <a:buNone/>
                  <a:tabLst/>
                  <a:defRPr/>
                </a:pPr>
                <a:endParaRPr kumimoji="0" lang="en-US" sz="1200" b="0" i="0" u="none" strike="noStrike" kern="0" cap="none" spc="0" normalizeH="0" baseline="0" noProof="0" dirty="0">
                  <a:ln>
                    <a:noFill/>
                  </a:ln>
                  <a:solidFill>
                    <a:srgbClr val="010024"/>
                  </a:solidFill>
                  <a:effectLst/>
                  <a:uLnTx/>
                  <a:uFillTx/>
                  <a:latin typeface="EYInterstate Regular" pitchFamily="1" charset="0"/>
                  <a:ea typeface="+mn-ea"/>
                  <a:cs typeface="+mn-cs"/>
                </a:endParaRPr>
              </a:p>
            </p:txBody>
          </p:sp>
          <p:sp>
            <p:nvSpPr>
              <p:cNvPr id="37" name="Freeform 21">
                <a:extLst>
                  <a:ext uri="{FF2B5EF4-FFF2-40B4-BE49-F238E27FC236}">
                    <a16:creationId xmlns:a16="http://schemas.microsoft.com/office/drawing/2014/main" id="{F3AB06EC-61B5-4681-A6CE-4A95D3160F9D}"/>
                  </a:ext>
                </a:extLst>
              </p:cNvPr>
              <p:cNvSpPr>
                <a:spLocks/>
              </p:cNvSpPr>
              <p:nvPr/>
            </p:nvSpPr>
            <p:spPr bwMode="auto">
              <a:xfrm>
                <a:off x="3354" y="5573"/>
                <a:ext cx="17384" cy="10007"/>
              </a:xfrm>
              <a:custGeom>
                <a:avLst/>
                <a:gdLst>
                  <a:gd name="T0" fmla="+- 0 13274 3354"/>
                  <a:gd name="T1" fmla="*/ T0 w 17384"/>
                  <a:gd name="T2" fmla="+- 0 15071 5573"/>
                  <a:gd name="T3" fmla="*/ 15071 h 10007"/>
                  <a:gd name="T4" fmla="+- 0 13238 3354"/>
                  <a:gd name="T5" fmla="*/ T4 w 17384"/>
                  <a:gd name="T6" fmla="+- 0 15071 5573"/>
                  <a:gd name="T7" fmla="*/ 15071 h 10007"/>
                  <a:gd name="T8" fmla="+- 0 13234 3354"/>
                  <a:gd name="T9" fmla="*/ T8 w 17384"/>
                  <a:gd name="T10" fmla="+- 0 15090 5573"/>
                  <a:gd name="T11" fmla="*/ 15090 h 10007"/>
                  <a:gd name="T12" fmla="+- 0 13228 3354"/>
                  <a:gd name="T13" fmla="*/ T12 w 17384"/>
                  <a:gd name="T14" fmla="+- 0 15109 5573"/>
                  <a:gd name="T15" fmla="*/ 15109 h 10007"/>
                  <a:gd name="T16" fmla="+- 0 13220 3354"/>
                  <a:gd name="T17" fmla="*/ T16 w 17384"/>
                  <a:gd name="T18" fmla="+- 0 15127 5573"/>
                  <a:gd name="T19" fmla="*/ 15127 h 10007"/>
                  <a:gd name="T20" fmla="+- 0 13210 3354"/>
                  <a:gd name="T21" fmla="*/ T20 w 17384"/>
                  <a:gd name="T22" fmla="+- 0 15146 5573"/>
                  <a:gd name="T23" fmla="*/ 15146 h 10007"/>
                  <a:gd name="T24" fmla="+- 0 13198 3354"/>
                  <a:gd name="T25" fmla="*/ T24 w 17384"/>
                  <a:gd name="T26" fmla="+- 0 15146 5573"/>
                  <a:gd name="T27" fmla="*/ 15146 h 10007"/>
                  <a:gd name="T28" fmla="+- 0 13184 3354"/>
                  <a:gd name="T29" fmla="*/ T28 w 17384"/>
                  <a:gd name="T30" fmla="+- 0 15165 5573"/>
                  <a:gd name="T31" fmla="*/ 15165 h 10007"/>
                  <a:gd name="T32" fmla="+- 0 13168 3354"/>
                  <a:gd name="T33" fmla="*/ T32 w 17384"/>
                  <a:gd name="T34" fmla="+- 0 15184 5573"/>
                  <a:gd name="T35" fmla="*/ 15184 h 10007"/>
                  <a:gd name="T36" fmla="+- 0 13150 3354"/>
                  <a:gd name="T37" fmla="*/ T36 w 17384"/>
                  <a:gd name="T38" fmla="+- 0 15203 5573"/>
                  <a:gd name="T39" fmla="*/ 15203 h 10007"/>
                  <a:gd name="T40" fmla="+- 0 13130 3354"/>
                  <a:gd name="T41" fmla="*/ T40 w 17384"/>
                  <a:gd name="T42" fmla="+- 0 15222 5573"/>
                  <a:gd name="T43" fmla="*/ 15222 h 10007"/>
                  <a:gd name="T44" fmla="+- 0 13195 3354"/>
                  <a:gd name="T45" fmla="*/ T44 w 17384"/>
                  <a:gd name="T46" fmla="+- 0 15222 5573"/>
                  <a:gd name="T47" fmla="*/ 15222 h 10007"/>
                  <a:gd name="T48" fmla="+- 0 13238 3354"/>
                  <a:gd name="T49" fmla="*/ T48 w 17384"/>
                  <a:gd name="T50" fmla="+- 0 15165 5573"/>
                  <a:gd name="T51" fmla="*/ 15165 h 10007"/>
                  <a:gd name="T52" fmla="+- 0 13265 3354"/>
                  <a:gd name="T53" fmla="*/ T52 w 17384"/>
                  <a:gd name="T54" fmla="+- 0 15109 5573"/>
                  <a:gd name="T55" fmla="*/ 15109 h 10007"/>
                  <a:gd name="T56" fmla="+- 0 13270 3354"/>
                  <a:gd name="T57" fmla="*/ T56 w 17384"/>
                  <a:gd name="T58" fmla="+- 0 15090 5573"/>
                  <a:gd name="T59" fmla="*/ 15090 h 10007"/>
                  <a:gd name="T60" fmla="+- 0 13274 3354"/>
                  <a:gd name="T61" fmla="*/ T60 w 17384"/>
                  <a:gd name="T62" fmla="+- 0 15071 5573"/>
                  <a:gd name="T63" fmla="*/ 15071 h 10007"/>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 ang="0">
                    <a:pos x="T41" y="T43"/>
                  </a:cxn>
                  <a:cxn ang="0">
                    <a:pos x="T45" y="T47"/>
                  </a:cxn>
                  <a:cxn ang="0">
                    <a:pos x="T49" y="T51"/>
                  </a:cxn>
                  <a:cxn ang="0">
                    <a:pos x="T53" y="T55"/>
                  </a:cxn>
                  <a:cxn ang="0">
                    <a:pos x="T57" y="T59"/>
                  </a:cxn>
                  <a:cxn ang="0">
                    <a:pos x="T61" y="T63"/>
                  </a:cxn>
                </a:cxnLst>
                <a:rect l="0" t="0" r="r" b="b"/>
                <a:pathLst>
                  <a:path w="17384" h="10007">
                    <a:moveTo>
                      <a:pt x="9920" y="9498"/>
                    </a:moveTo>
                    <a:lnTo>
                      <a:pt x="9884" y="9498"/>
                    </a:lnTo>
                    <a:lnTo>
                      <a:pt x="9880" y="9517"/>
                    </a:lnTo>
                    <a:lnTo>
                      <a:pt x="9874" y="9536"/>
                    </a:lnTo>
                    <a:lnTo>
                      <a:pt x="9866" y="9554"/>
                    </a:lnTo>
                    <a:lnTo>
                      <a:pt x="9856" y="9573"/>
                    </a:lnTo>
                    <a:lnTo>
                      <a:pt x="9844" y="9573"/>
                    </a:lnTo>
                    <a:lnTo>
                      <a:pt x="9830" y="9592"/>
                    </a:lnTo>
                    <a:lnTo>
                      <a:pt x="9814" y="9611"/>
                    </a:lnTo>
                    <a:lnTo>
                      <a:pt x="9796" y="9630"/>
                    </a:lnTo>
                    <a:lnTo>
                      <a:pt x="9776" y="9649"/>
                    </a:lnTo>
                    <a:lnTo>
                      <a:pt x="9841" y="9649"/>
                    </a:lnTo>
                    <a:lnTo>
                      <a:pt x="9884" y="9592"/>
                    </a:lnTo>
                    <a:lnTo>
                      <a:pt x="9911" y="9536"/>
                    </a:lnTo>
                    <a:lnTo>
                      <a:pt x="9916" y="9517"/>
                    </a:lnTo>
                    <a:lnTo>
                      <a:pt x="9920" y="9498"/>
                    </a:lnTo>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ts val="1400"/>
                  </a:lnSpc>
                  <a:spcBef>
                    <a:spcPts val="0"/>
                  </a:spcBef>
                  <a:spcAft>
                    <a:spcPct val="0"/>
                  </a:spcAft>
                  <a:buClrTx/>
                  <a:buSzTx/>
                  <a:buFontTx/>
                  <a:buNone/>
                  <a:tabLst/>
                  <a:defRPr/>
                </a:pPr>
                <a:endParaRPr kumimoji="0" lang="en-US" sz="1200" b="0" i="0" u="none" strike="noStrike" kern="0" cap="none" spc="0" normalizeH="0" baseline="0" noProof="0" dirty="0">
                  <a:ln>
                    <a:noFill/>
                  </a:ln>
                  <a:solidFill>
                    <a:srgbClr val="010024"/>
                  </a:solidFill>
                  <a:effectLst/>
                  <a:uLnTx/>
                  <a:uFillTx/>
                  <a:latin typeface="EYInterstate Regular" pitchFamily="1" charset="0"/>
                  <a:ea typeface="+mn-ea"/>
                  <a:cs typeface="+mn-cs"/>
                </a:endParaRPr>
              </a:p>
            </p:txBody>
          </p:sp>
          <p:sp>
            <p:nvSpPr>
              <p:cNvPr id="38" name="Freeform 22">
                <a:extLst>
                  <a:ext uri="{FF2B5EF4-FFF2-40B4-BE49-F238E27FC236}">
                    <a16:creationId xmlns:a16="http://schemas.microsoft.com/office/drawing/2014/main" id="{A35CC173-84F8-42EF-AF4A-6B0F793B9E8E}"/>
                  </a:ext>
                </a:extLst>
              </p:cNvPr>
              <p:cNvSpPr>
                <a:spLocks/>
              </p:cNvSpPr>
              <p:nvPr/>
            </p:nvSpPr>
            <p:spPr bwMode="auto">
              <a:xfrm>
                <a:off x="3354" y="5573"/>
                <a:ext cx="17384" cy="10007"/>
              </a:xfrm>
              <a:custGeom>
                <a:avLst/>
                <a:gdLst>
                  <a:gd name="T0" fmla="+- 0 18772 3354"/>
                  <a:gd name="T1" fmla="*/ T0 w 17384"/>
                  <a:gd name="T2" fmla="+- 0 5592 5573"/>
                  <a:gd name="T3" fmla="*/ 5592 h 10007"/>
                  <a:gd name="T4" fmla="+- 0 5323 3354"/>
                  <a:gd name="T5" fmla="*/ T4 w 17384"/>
                  <a:gd name="T6" fmla="+- 0 5592 5573"/>
                  <a:gd name="T7" fmla="*/ 5592 h 10007"/>
                  <a:gd name="T8" fmla="+- 0 5285 3354"/>
                  <a:gd name="T9" fmla="*/ T8 w 17384"/>
                  <a:gd name="T10" fmla="+- 0 5611 5573"/>
                  <a:gd name="T11" fmla="*/ 5611 h 10007"/>
                  <a:gd name="T12" fmla="+- 0 5248 3354"/>
                  <a:gd name="T13" fmla="*/ T12 w 17384"/>
                  <a:gd name="T14" fmla="+- 0 5629 5573"/>
                  <a:gd name="T15" fmla="*/ 5629 h 10007"/>
                  <a:gd name="T16" fmla="+- 0 5212 3354"/>
                  <a:gd name="T17" fmla="*/ T16 w 17384"/>
                  <a:gd name="T18" fmla="+- 0 5648 5573"/>
                  <a:gd name="T19" fmla="*/ 5648 h 10007"/>
                  <a:gd name="T20" fmla="+- 0 5178 3354"/>
                  <a:gd name="T21" fmla="*/ T20 w 17384"/>
                  <a:gd name="T22" fmla="+- 0 5667 5573"/>
                  <a:gd name="T23" fmla="*/ 5667 h 10007"/>
                  <a:gd name="T24" fmla="+- 0 5147 3354"/>
                  <a:gd name="T25" fmla="*/ T24 w 17384"/>
                  <a:gd name="T26" fmla="+- 0 5705 5573"/>
                  <a:gd name="T27" fmla="*/ 5705 h 10007"/>
                  <a:gd name="T28" fmla="+- 0 5117 3354"/>
                  <a:gd name="T29" fmla="*/ T28 w 17384"/>
                  <a:gd name="T30" fmla="+- 0 5724 5573"/>
                  <a:gd name="T31" fmla="*/ 5724 h 10007"/>
                  <a:gd name="T32" fmla="+- 0 5089 3354"/>
                  <a:gd name="T33" fmla="*/ T32 w 17384"/>
                  <a:gd name="T34" fmla="+- 0 5761 5573"/>
                  <a:gd name="T35" fmla="*/ 5761 h 10007"/>
                  <a:gd name="T36" fmla="+- 0 5064 3354"/>
                  <a:gd name="T37" fmla="*/ T36 w 17384"/>
                  <a:gd name="T38" fmla="+- 0 5780 5573"/>
                  <a:gd name="T39" fmla="*/ 5780 h 10007"/>
                  <a:gd name="T40" fmla="+- 0 5041 3354"/>
                  <a:gd name="T41" fmla="*/ T40 w 17384"/>
                  <a:gd name="T42" fmla="+- 0 5818 5573"/>
                  <a:gd name="T43" fmla="*/ 5818 h 10007"/>
                  <a:gd name="T44" fmla="+- 0 5004 3354"/>
                  <a:gd name="T45" fmla="*/ T44 w 17384"/>
                  <a:gd name="T46" fmla="+- 0 5893 5573"/>
                  <a:gd name="T47" fmla="*/ 5893 h 10007"/>
                  <a:gd name="T48" fmla="+- 0 4978 3354"/>
                  <a:gd name="T49" fmla="*/ T48 w 17384"/>
                  <a:gd name="T50" fmla="+- 0 5969 5573"/>
                  <a:gd name="T51" fmla="*/ 5969 h 10007"/>
                  <a:gd name="T52" fmla="+- 0 4964 3354"/>
                  <a:gd name="T53" fmla="*/ T52 w 17384"/>
                  <a:gd name="T54" fmla="+- 0 6063 5573"/>
                  <a:gd name="T55" fmla="*/ 6063 h 10007"/>
                  <a:gd name="T56" fmla="+- 0 4962 3354"/>
                  <a:gd name="T57" fmla="*/ T56 w 17384"/>
                  <a:gd name="T58" fmla="+- 0 6101 5573"/>
                  <a:gd name="T59" fmla="*/ 6101 h 10007"/>
                  <a:gd name="T60" fmla="+- 0 4962 3354"/>
                  <a:gd name="T61" fmla="*/ T60 w 17384"/>
                  <a:gd name="T62" fmla="+- 0 14864 5573"/>
                  <a:gd name="T63" fmla="*/ 14864 h 10007"/>
                  <a:gd name="T64" fmla="+- 0 4969 3354"/>
                  <a:gd name="T65" fmla="*/ T64 w 17384"/>
                  <a:gd name="T66" fmla="+- 0 14939 5573"/>
                  <a:gd name="T67" fmla="*/ 14939 h 10007"/>
                  <a:gd name="T68" fmla="+- 0 4987 3354"/>
                  <a:gd name="T69" fmla="*/ T68 w 17384"/>
                  <a:gd name="T70" fmla="+- 0 15014 5573"/>
                  <a:gd name="T71" fmla="*/ 15014 h 10007"/>
                  <a:gd name="T72" fmla="+- 0 3382 3354"/>
                  <a:gd name="T73" fmla="*/ T72 w 17384"/>
                  <a:gd name="T74" fmla="+- 0 15033 5573"/>
                  <a:gd name="T75" fmla="*/ 15033 h 10007"/>
                  <a:gd name="T76" fmla="+- 0 5030 3354"/>
                  <a:gd name="T77" fmla="*/ T76 w 17384"/>
                  <a:gd name="T78" fmla="+- 0 15033 5573"/>
                  <a:gd name="T79" fmla="*/ 15033 h 10007"/>
                  <a:gd name="T80" fmla="+- 0 5024 3354"/>
                  <a:gd name="T81" fmla="*/ T80 w 17384"/>
                  <a:gd name="T82" fmla="+- 0 15014 5573"/>
                  <a:gd name="T83" fmla="*/ 15014 h 10007"/>
                  <a:gd name="T84" fmla="+- 0 5018 3354"/>
                  <a:gd name="T85" fmla="*/ T84 w 17384"/>
                  <a:gd name="T86" fmla="+- 0 14995 5573"/>
                  <a:gd name="T87" fmla="*/ 14995 h 10007"/>
                  <a:gd name="T88" fmla="+- 0 5002 3354"/>
                  <a:gd name="T89" fmla="*/ T88 w 17384"/>
                  <a:gd name="T90" fmla="+- 0 14920 5573"/>
                  <a:gd name="T91" fmla="*/ 14920 h 10007"/>
                  <a:gd name="T92" fmla="+- 0 4999 3354"/>
                  <a:gd name="T93" fmla="*/ T92 w 17384"/>
                  <a:gd name="T94" fmla="+- 0 14864 5573"/>
                  <a:gd name="T95" fmla="*/ 14864 h 10007"/>
                  <a:gd name="T96" fmla="+- 0 4999 3354"/>
                  <a:gd name="T97" fmla="*/ T96 w 17384"/>
                  <a:gd name="T98" fmla="+- 0 6101 5573"/>
                  <a:gd name="T99" fmla="*/ 6101 h 10007"/>
                  <a:gd name="T100" fmla="+- 0 5005 3354"/>
                  <a:gd name="T101" fmla="*/ T100 w 17384"/>
                  <a:gd name="T102" fmla="+- 0 6025 5573"/>
                  <a:gd name="T103" fmla="*/ 6025 h 10007"/>
                  <a:gd name="T104" fmla="+- 0 5024 3354"/>
                  <a:gd name="T105" fmla="*/ T104 w 17384"/>
                  <a:gd name="T106" fmla="+- 0 5950 5573"/>
                  <a:gd name="T107" fmla="*/ 5950 h 10007"/>
                  <a:gd name="T108" fmla="+- 0 5054 3354"/>
                  <a:gd name="T109" fmla="*/ T108 w 17384"/>
                  <a:gd name="T110" fmla="+- 0 5874 5573"/>
                  <a:gd name="T111" fmla="*/ 5874 h 10007"/>
                  <a:gd name="T112" fmla="+- 0 5094 3354"/>
                  <a:gd name="T113" fmla="*/ T112 w 17384"/>
                  <a:gd name="T114" fmla="+- 0 5818 5573"/>
                  <a:gd name="T115" fmla="*/ 5818 h 10007"/>
                  <a:gd name="T116" fmla="+- 0 5117 3354"/>
                  <a:gd name="T117" fmla="*/ T116 w 17384"/>
                  <a:gd name="T118" fmla="+- 0 5780 5573"/>
                  <a:gd name="T119" fmla="*/ 5780 h 10007"/>
                  <a:gd name="T120" fmla="+- 0 5143 3354"/>
                  <a:gd name="T121" fmla="*/ T120 w 17384"/>
                  <a:gd name="T122" fmla="+- 0 5761 5573"/>
                  <a:gd name="T123" fmla="*/ 5761 h 10007"/>
                  <a:gd name="T124" fmla="+- 0 5170 3354"/>
                  <a:gd name="T125" fmla="*/ T124 w 17384"/>
                  <a:gd name="T126" fmla="+- 0 5724 5573"/>
                  <a:gd name="T127" fmla="*/ 5724 h 10007"/>
                  <a:gd name="T128" fmla="+- 0 5200 3354"/>
                  <a:gd name="T129" fmla="*/ T128 w 17384"/>
                  <a:gd name="T130" fmla="+- 0 5705 5573"/>
                  <a:gd name="T131" fmla="*/ 5705 h 10007"/>
                  <a:gd name="T132" fmla="+- 0 5231 3354"/>
                  <a:gd name="T133" fmla="*/ T132 w 17384"/>
                  <a:gd name="T134" fmla="+- 0 5686 5573"/>
                  <a:gd name="T135" fmla="*/ 5686 h 10007"/>
                  <a:gd name="T136" fmla="+- 0 5264 3354"/>
                  <a:gd name="T137" fmla="*/ T136 w 17384"/>
                  <a:gd name="T138" fmla="+- 0 5667 5573"/>
                  <a:gd name="T139" fmla="*/ 5667 h 10007"/>
                  <a:gd name="T140" fmla="+- 0 5299 3354"/>
                  <a:gd name="T141" fmla="*/ T140 w 17384"/>
                  <a:gd name="T142" fmla="+- 0 5648 5573"/>
                  <a:gd name="T143" fmla="*/ 5648 h 10007"/>
                  <a:gd name="T144" fmla="+- 0 5335 3354"/>
                  <a:gd name="T145" fmla="*/ T144 w 17384"/>
                  <a:gd name="T146" fmla="+- 0 5629 5573"/>
                  <a:gd name="T147" fmla="*/ 5629 h 10007"/>
                  <a:gd name="T148" fmla="+- 0 5372 3354"/>
                  <a:gd name="T149" fmla="*/ T148 w 17384"/>
                  <a:gd name="T150" fmla="+- 0 5629 5573"/>
                  <a:gd name="T151" fmla="*/ 5629 h 10007"/>
                  <a:gd name="T152" fmla="+- 0 5410 3354"/>
                  <a:gd name="T153" fmla="*/ T152 w 17384"/>
                  <a:gd name="T154" fmla="+- 0 5611 5573"/>
                  <a:gd name="T155" fmla="*/ 5611 h 10007"/>
                  <a:gd name="T156" fmla="+- 0 18810 3354"/>
                  <a:gd name="T157" fmla="*/ T156 w 17384"/>
                  <a:gd name="T158" fmla="+- 0 5611 5573"/>
                  <a:gd name="T159" fmla="*/ 5611 h 10007"/>
                  <a:gd name="T160" fmla="+- 0 18772 3354"/>
                  <a:gd name="T161" fmla="*/ T160 w 17384"/>
                  <a:gd name="T162" fmla="+- 0 5592 5573"/>
                  <a:gd name="T163" fmla="*/ 5592 h 10007"/>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 ang="0">
                    <a:pos x="T41" y="T43"/>
                  </a:cxn>
                  <a:cxn ang="0">
                    <a:pos x="T45" y="T47"/>
                  </a:cxn>
                  <a:cxn ang="0">
                    <a:pos x="T49" y="T51"/>
                  </a:cxn>
                  <a:cxn ang="0">
                    <a:pos x="T53" y="T55"/>
                  </a:cxn>
                  <a:cxn ang="0">
                    <a:pos x="T57" y="T59"/>
                  </a:cxn>
                  <a:cxn ang="0">
                    <a:pos x="T61" y="T63"/>
                  </a:cxn>
                  <a:cxn ang="0">
                    <a:pos x="T65" y="T67"/>
                  </a:cxn>
                  <a:cxn ang="0">
                    <a:pos x="T69" y="T71"/>
                  </a:cxn>
                  <a:cxn ang="0">
                    <a:pos x="T73" y="T75"/>
                  </a:cxn>
                  <a:cxn ang="0">
                    <a:pos x="T77" y="T79"/>
                  </a:cxn>
                  <a:cxn ang="0">
                    <a:pos x="T81" y="T83"/>
                  </a:cxn>
                  <a:cxn ang="0">
                    <a:pos x="T85" y="T87"/>
                  </a:cxn>
                  <a:cxn ang="0">
                    <a:pos x="T89" y="T91"/>
                  </a:cxn>
                  <a:cxn ang="0">
                    <a:pos x="T93" y="T95"/>
                  </a:cxn>
                  <a:cxn ang="0">
                    <a:pos x="T97" y="T99"/>
                  </a:cxn>
                  <a:cxn ang="0">
                    <a:pos x="T101" y="T103"/>
                  </a:cxn>
                  <a:cxn ang="0">
                    <a:pos x="T105" y="T107"/>
                  </a:cxn>
                  <a:cxn ang="0">
                    <a:pos x="T109" y="T111"/>
                  </a:cxn>
                  <a:cxn ang="0">
                    <a:pos x="T113" y="T115"/>
                  </a:cxn>
                  <a:cxn ang="0">
                    <a:pos x="T117" y="T119"/>
                  </a:cxn>
                  <a:cxn ang="0">
                    <a:pos x="T121" y="T123"/>
                  </a:cxn>
                  <a:cxn ang="0">
                    <a:pos x="T125" y="T127"/>
                  </a:cxn>
                  <a:cxn ang="0">
                    <a:pos x="T129" y="T131"/>
                  </a:cxn>
                  <a:cxn ang="0">
                    <a:pos x="T133" y="T135"/>
                  </a:cxn>
                  <a:cxn ang="0">
                    <a:pos x="T137" y="T139"/>
                  </a:cxn>
                  <a:cxn ang="0">
                    <a:pos x="T141" y="T143"/>
                  </a:cxn>
                  <a:cxn ang="0">
                    <a:pos x="T145" y="T147"/>
                  </a:cxn>
                  <a:cxn ang="0">
                    <a:pos x="T149" y="T151"/>
                  </a:cxn>
                  <a:cxn ang="0">
                    <a:pos x="T153" y="T155"/>
                  </a:cxn>
                  <a:cxn ang="0">
                    <a:pos x="T157" y="T159"/>
                  </a:cxn>
                  <a:cxn ang="0">
                    <a:pos x="T161" y="T163"/>
                  </a:cxn>
                </a:cxnLst>
                <a:rect l="0" t="0" r="r" b="b"/>
                <a:pathLst>
                  <a:path w="17384" h="10007">
                    <a:moveTo>
                      <a:pt x="15418" y="19"/>
                    </a:moveTo>
                    <a:lnTo>
                      <a:pt x="1969" y="19"/>
                    </a:lnTo>
                    <a:lnTo>
                      <a:pt x="1931" y="38"/>
                    </a:lnTo>
                    <a:lnTo>
                      <a:pt x="1894" y="56"/>
                    </a:lnTo>
                    <a:lnTo>
                      <a:pt x="1858" y="75"/>
                    </a:lnTo>
                    <a:lnTo>
                      <a:pt x="1824" y="94"/>
                    </a:lnTo>
                    <a:lnTo>
                      <a:pt x="1793" y="132"/>
                    </a:lnTo>
                    <a:lnTo>
                      <a:pt x="1763" y="151"/>
                    </a:lnTo>
                    <a:lnTo>
                      <a:pt x="1735" y="188"/>
                    </a:lnTo>
                    <a:lnTo>
                      <a:pt x="1710" y="207"/>
                    </a:lnTo>
                    <a:lnTo>
                      <a:pt x="1687" y="245"/>
                    </a:lnTo>
                    <a:lnTo>
                      <a:pt x="1650" y="320"/>
                    </a:lnTo>
                    <a:lnTo>
                      <a:pt x="1624" y="396"/>
                    </a:lnTo>
                    <a:lnTo>
                      <a:pt x="1610" y="490"/>
                    </a:lnTo>
                    <a:lnTo>
                      <a:pt x="1608" y="528"/>
                    </a:lnTo>
                    <a:lnTo>
                      <a:pt x="1608" y="9291"/>
                    </a:lnTo>
                    <a:lnTo>
                      <a:pt x="1615" y="9366"/>
                    </a:lnTo>
                    <a:lnTo>
                      <a:pt x="1633" y="9441"/>
                    </a:lnTo>
                    <a:lnTo>
                      <a:pt x="28" y="9460"/>
                    </a:lnTo>
                    <a:lnTo>
                      <a:pt x="1676" y="9460"/>
                    </a:lnTo>
                    <a:lnTo>
                      <a:pt x="1670" y="9441"/>
                    </a:lnTo>
                    <a:lnTo>
                      <a:pt x="1664" y="9422"/>
                    </a:lnTo>
                    <a:lnTo>
                      <a:pt x="1648" y="9347"/>
                    </a:lnTo>
                    <a:lnTo>
                      <a:pt x="1645" y="9291"/>
                    </a:lnTo>
                    <a:lnTo>
                      <a:pt x="1645" y="528"/>
                    </a:lnTo>
                    <a:lnTo>
                      <a:pt x="1651" y="452"/>
                    </a:lnTo>
                    <a:lnTo>
                      <a:pt x="1670" y="377"/>
                    </a:lnTo>
                    <a:lnTo>
                      <a:pt x="1700" y="301"/>
                    </a:lnTo>
                    <a:lnTo>
                      <a:pt x="1740" y="245"/>
                    </a:lnTo>
                    <a:lnTo>
                      <a:pt x="1763" y="207"/>
                    </a:lnTo>
                    <a:lnTo>
                      <a:pt x="1789" y="188"/>
                    </a:lnTo>
                    <a:lnTo>
                      <a:pt x="1816" y="151"/>
                    </a:lnTo>
                    <a:lnTo>
                      <a:pt x="1846" y="132"/>
                    </a:lnTo>
                    <a:lnTo>
                      <a:pt x="1877" y="113"/>
                    </a:lnTo>
                    <a:lnTo>
                      <a:pt x="1910" y="94"/>
                    </a:lnTo>
                    <a:lnTo>
                      <a:pt x="1945" y="75"/>
                    </a:lnTo>
                    <a:lnTo>
                      <a:pt x="1981" y="56"/>
                    </a:lnTo>
                    <a:lnTo>
                      <a:pt x="2018" y="56"/>
                    </a:lnTo>
                    <a:lnTo>
                      <a:pt x="2056" y="38"/>
                    </a:lnTo>
                    <a:lnTo>
                      <a:pt x="15456" y="38"/>
                    </a:lnTo>
                    <a:lnTo>
                      <a:pt x="15418" y="19"/>
                    </a:lnTo>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ts val="1400"/>
                  </a:lnSpc>
                  <a:spcBef>
                    <a:spcPts val="0"/>
                  </a:spcBef>
                  <a:spcAft>
                    <a:spcPct val="0"/>
                  </a:spcAft>
                  <a:buClrTx/>
                  <a:buSzTx/>
                  <a:buFontTx/>
                  <a:buNone/>
                  <a:tabLst/>
                  <a:defRPr/>
                </a:pPr>
                <a:endParaRPr kumimoji="0" lang="en-US" sz="1200" b="0" i="0" u="none" strike="noStrike" kern="0" cap="none" spc="0" normalizeH="0" baseline="0" noProof="0" dirty="0">
                  <a:ln>
                    <a:noFill/>
                  </a:ln>
                  <a:solidFill>
                    <a:srgbClr val="010024"/>
                  </a:solidFill>
                  <a:effectLst/>
                  <a:uLnTx/>
                  <a:uFillTx/>
                  <a:latin typeface="EYInterstate Regular" pitchFamily="1" charset="0"/>
                  <a:ea typeface="+mn-ea"/>
                  <a:cs typeface="+mn-cs"/>
                </a:endParaRPr>
              </a:p>
            </p:txBody>
          </p:sp>
          <p:sp>
            <p:nvSpPr>
              <p:cNvPr id="39" name="Freeform 23">
                <a:extLst>
                  <a:ext uri="{FF2B5EF4-FFF2-40B4-BE49-F238E27FC236}">
                    <a16:creationId xmlns:a16="http://schemas.microsoft.com/office/drawing/2014/main" id="{BE74E21B-C77E-4934-A8D0-00229E05F050}"/>
                  </a:ext>
                </a:extLst>
              </p:cNvPr>
              <p:cNvSpPr>
                <a:spLocks/>
              </p:cNvSpPr>
              <p:nvPr/>
            </p:nvSpPr>
            <p:spPr bwMode="auto">
              <a:xfrm>
                <a:off x="3354" y="5573"/>
                <a:ext cx="17384" cy="10007"/>
              </a:xfrm>
              <a:custGeom>
                <a:avLst/>
                <a:gdLst>
                  <a:gd name="T0" fmla="+- 0 6506 3354"/>
                  <a:gd name="T1" fmla="*/ T0 w 17384"/>
                  <a:gd name="T2" fmla="+- 0 14826 5573"/>
                  <a:gd name="T3" fmla="*/ 14826 h 10007"/>
                  <a:gd name="T4" fmla="+- 0 6468 3354"/>
                  <a:gd name="T5" fmla="*/ T4 w 17384"/>
                  <a:gd name="T6" fmla="+- 0 14826 5573"/>
                  <a:gd name="T7" fmla="*/ 14826 h 10007"/>
                  <a:gd name="T8" fmla="+- 0 6425 3354"/>
                  <a:gd name="T9" fmla="*/ T8 w 17384"/>
                  <a:gd name="T10" fmla="+- 0 15014 5573"/>
                  <a:gd name="T11" fmla="*/ 15014 h 10007"/>
                  <a:gd name="T12" fmla="+- 0 6424 3354"/>
                  <a:gd name="T13" fmla="*/ T12 w 17384"/>
                  <a:gd name="T14" fmla="+- 0 15033 5573"/>
                  <a:gd name="T15" fmla="*/ 15033 h 10007"/>
                  <a:gd name="T16" fmla="+- 0 6461 3354"/>
                  <a:gd name="T17" fmla="*/ T16 w 17384"/>
                  <a:gd name="T18" fmla="+- 0 15033 5573"/>
                  <a:gd name="T19" fmla="*/ 15033 h 10007"/>
                  <a:gd name="T20" fmla="+- 0 6506 3354"/>
                  <a:gd name="T21" fmla="*/ T20 w 17384"/>
                  <a:gd name="T22" fmla="+- 0 14826 5573"/>
                  <a:gd name="T23" fmla="*/ 14826 h 10007"/>
                </a:gdLst>
                <a:ahLst/>
                <a:cxnLst>
                  <a:cxn ang="0">
                    <a:pos x="T1" y="T3"/>
                  </a:cxn>
                  <a:cxn ang="0">
                    <a:pos x="T5" y="T7"/>
                  </a:cxn>
                  <a:cxn ang="0">
                    <a:pos x="T9" y="T11"/>
                  </a:cxn>
                  <a:cxn ang="0">
                    <a:pos x="T13" y="T15"/>
                  </a:cxn>
                  <a:cxn ang="0">
                    <a:pos x="T17" y="T19"/>
                  </a:cxn>
                  <a:cxn ang="0">
                    <a:pos x="T21" y="T23"/>
                  </a:cxn>
                </a:cxnLst>
                <a:rect l="0" t="0" r="r" b="b"/>
                <a:pathLst>
                  <a:path w="17384" h="10007">
                    <a:moveTo>
                      <a:pt x="3152" y="9253"/>
                    </a:moveTo>
                    <a:lnTo>
                      <a:pt x="3114" y="9253"/>
                    </a:lnTo>
                    <a:lnTo>
                      <a:pt x="3071" y="9441"/>
                    </a:lnTo>
                    <a:lnTo>
                      <a:pt x="3070" y="9460"/>
                    </a:lnTo>
                    <a:lnTo>
                      <a:pt x="3107" y="9460"/>
                    </a:lnTo>
                    <a:lnTo>
                      <a:pt x="3152" y="9253"/>
                    </a:lnTo>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ts val="1400"/>
                  </a:lnSpc>
                  <a:spcBef>
                    <a:spcPts val="0"/>
                  </a:spcBef>
                  <a:spcAft>
                    <a:spcPct val="0"/>
                  </a:spcAft>
                  <a:buClrTx/>
                  <a:buSzTx/>
                  <a:buFontTx/>
                  <a:buNone/>
                  <a:tabLst/>
                  <a:defRPr/>
                </a:pPr>
                <a:endParaRPr kumimoji="0" lang="en-US" sz="1200" b="0" i="0" u="none" strike="noStrike" kern="0" cap="none" spc="0" normalizeH="0" baseline="0" noProof="0" dirty="0">
                  <a:ln>
                    <a:noFill/>
                  </a:ln>
                  <a:solidFill>
                    <a:srgbClr val="010024"/>
                  </a:solidFill>
                  <a:effectLst/>
                  <a:uLnTx/>
                  <a:uFillTx/>
                  <a:latin typeface="EYInterstate Regular" pitchFamily="1" charset="0"/>
                  <a:ea typeface="+mn-ea"/>
                  <a:cs typeface="+mn-cs"/>
                </a:endParaRPr>
              </a:p>
            </p:txBody>
          </p:sp>
          <p:sp>
            <p:nvSpPr>
              <p:cNvPr id="40" name="Freeform 24">
                <a:extLst>
                  <a:ext uri="{FF2B5EF4-FFF2-40B4-BE49-F238E27FC236}">
                    <a16:creationId xmlns:a16="http://schemas.microsoft.com/office/drawing/2014/main" id="{8D2A5BFE-E346-4D73-A944-EAEE808D1A5B}"/>
                  </a:ext>
                </a:extLst>
              </p:cNvPr>
              <p:cNvSpPr>
                <a:spLocks/>
              </p:cNvSpPr>
              <p:nvPr/>
            </p:nvSpPr>
            <p:spPr bwMode="auto">
              <a:xfrm>
                <a:off x="3354" y="5573"/>
                <a:ext cx="17384" cy="10007"/>
              </a:xfrm>
              <a:custGeom>
                <a:avLst/>
                <a:gdLst>
                  <a:gd name="T0" fmla="+- 0 17584 3354"/>
                  <a:gd name="T1" fmla="*/ T0 w 17384"/>
                  <a:gd name="T2" fmla="+- 0 14826 5573"/>
                  <a:gd name="T3" fmla="*/ 14826 h 10007"/>
                  <a:gd name="T4" fmla="+- 0 17547 3354"/>
                  <a:gd name="T5" fmla="*/ T4 w 17384"/>
                  <a:gd name="T6" fmla="+- 0 14826 5573"/>
                  <a:gd name="T7" fmla="*/ 14826 h 10007"/>
                  <a:gd name="T8" fmla="+- 0 17592 3354"/>
                  <a:gd name="T9" fmla="*/ T8 w 17384"/>
                  <a:gd name="T10" fmla="+- 0 15033 5573"/>
                  <a:gd name="T11" fmla="*/ 15033 h 10007"/>
                  <a:gd name="T12" fmla="+- 0 17629 3354"/>
                  <a:gd name="T13" fmla="*/ T12 w 17384"/>
                  <a:gd name="T14" fmla="+- 0 15033 5573"/>
                  <a:gd name="T15" fmla="*/ 15033 h 10007"/>
                  <a:gd name="T16" fmla="+- 0 17627 3354"/>
                  <a:gd name="T17" fmla="*/ T16 w 17384"/>
                  <a:gd name="T18" fmla="+- 0 15014 5573"/>
                  <a:gd name="T19" fmla="*/ 15014 h 10007"/>
                  <a:gd name="T20" fmla="+- 0 17584 3354"/>
                  <a:gd name="T21" fmla="*/ T20 w 17384"/>
                  <a:gd name="T22" fmla="+- 0 14826 5573"/>
                  <a:gd name="T23" fmla="*/ 14826 h 10007"/>
                </a:gdLst>
                <a:ahLst/>
                <a:cxnLst>
                  <a:cxn ang="0">
                    <a:pos x="T1" y="T3"/>
                  </a:cxn>
                  <a:cxn ang="0">
                    <a:pos x="T5" y="T7"/>
                  </a:cxn>
                  <a:cxn ang="0">
                    <a:pos x="T9" y="T11"/>
                  </a:cxn>
                  <a:cxn ang="0">
                    <a:pos x="T13" y="T15"/>
                  </a:cxn>
                  <a:cxn ang="0">
                    <a:pos x="T17" y="T19"/>
                  </a:cxn>
                  <a:cxn ang="0">
                    <a:pos x="T21" y="T23"/>
                  </a:cxn>
                </a:cxnLst>
                <a:rect l="0" t="0" r="r" b="b"/>
                <a:pathLst>
                  <a:path w="17384" h="10007">
                    <a:moveTo>
                      <a:pt x="14230" y="9253"/>
                    </a:moveTo>
                    <a:lnTo>
                      <a:pt x="14193" y="9253"/>
                    </a:lnTo>
                    <a:lnTo>
                      <a:pt x="14238" y="9460"/>
                    </a:lnTo>
                    <a:lnTo>
                      <a:pt x="14275" y="9460"/>
                    </a:lnTo>
                    <a:lnTo>
                      <a:pt x="14273" y="9441"/>
                    </a:lnTo>
                    <a:lnTo>
                      <a:pt x="14230" y="9253"/>
                    </a:lnTo>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ts val="1400"/>
                  </a:lnSpc>
                  <a:spcBef>
                    <a:spcPts val="0"/>
                  </a:spcBef>
                  <a:spcAft>
                    <a:spcPct val="0"/>
                  </a:spcAft>
                  <a:buClrTx/>
                  <a:buSzTx/>
                  <a:buFontTx/>
                  <a:buNone/>
                  <a:tabLst/>
                  <a:defRPr/>
                </a:pPr>
                <a:endParaRPr kumimoji="0" lang="en-US" sz="1200" b="0" i="0" u="none" strike="noStrike" kern="0" cap="none" spc="0" normalizeH="0" baseline="0" noProof="0" dirty="0">
                  <a:ln>
                    <a:noFill/>
                  </a:ln>
                  <a:solidFill>
                    <a:srgbClr val="010024"/>
                  </a:solidFill>
                  <a:effectLst/>
                  <a:uLnTx/>
                  <a:uFillTx/>
                  <a:latin typeface="EYInterstate Regular" pitchFamily="1" charset="0"/>
                  <a:ea typeface="+mn-ea"/>
                  <a:cs typeface="+mn-cs"/>
                </a:endParaRPr>
              </a:p>
            </p:txBody>
          </p:sp>
          <p:sp>
            <p:nvSpPr>
              <p:cNvPr id="41" name="Freeform 25">
                <a:extLst>
                  <a:ext uri="{FF2B5EF4-FFF2-40B4-BE49-F238E27FC236}">
                    <a16:creationId xmlns:a16="http://schemas.microsoft.com/office/drawing/2014/main" id="{38C89368-50CE-4BE7-BC3D-15FD00D10F2F}"/>
                  </a:ext>
                </a:extLst>
              </p:cNvPr>
              <p:cNvSpPr>
                <a:spLocks/>
              </p:cNvSpPr>
              <p:nvPr/>
            </p:nvSpPr>
            <p:spPr bwMode="auto">
              <a:xfrm>
                <a:off x="3354" y="5573"/>
                <a:ext cx="17384" cy="10007"/>
              </a:xfrm>
              <a:custGeom>
                <a:avLst/>
                <a:gdLst>
                  <a:gd name="T0" fmla="+- 0 18810 3354"/>
                  <a:gd name="T1" fmla="*/ T0 w 17384"/>
                  <a:gd name="T2" fmla="+- 0 5611 5573"/>
                  <a:gd name="T3" fmla="*/ 5611 h 10007"/>
                  <a:gd name="T4" fmla="+- 0 18685 3354"/>
                  <a:gd name="T5" fmla="*/ T4 w 17384"/>
                  <a:gd name="T6" fmla="+- 0 5611 5573"/>
                  <a:gd name="T7" fmla="*/ 5611 h 10007"/>
                  <a:gd name="T8" fmla="+- 0 18723 3354"/>
                  <a:gd name="T9" fmla="*/ T8 w 17384"/>
                  <a:gd name="T10" fmla="+- 0 5629 5573"/>
                  <a:gd name="T11" fmla="*/ 5629 h 10007"/>
                  <a:gd name="T12" fmla="+- 0 18760 3354"/>
                  <a:gd name="T13" fmla="*/ T12 w 17384"/>
                  <a:gd name="T14" fmla="+- 0 5629 5573"/>
                  <a:gd name="T15" fmla="*/ 5629 h 10007"/>
                  <a:gd name="T16" fmla="+- 0 18796 3354"/>
                  <a:gd name="T17" fmla="*/ T16 w 17384"/>
                  <a:gd name="T18" fmla="+- 0 5648 5573"/>
                  <a:gd name="T19" fmla="*/ 5648 h 10007"/>
                  <a:gd name="T20" fmla="+- 0 18863 3354"/>
                  <a:gd name="T21" fmla="*/ T20 w 17384"/>
                  <a:gd name="T22" fmla="+- 0 5686 5573"/>
                  <a:gd name="T23" fmla="*/ 5686 h 10007"/>
                  <a:gd name="T24" fmla="+- 0 18924 3354"/>
                  <a:gd name="T25" fmla="*/ T24 w 17384"/>
                  <a:gd name="T26" fmla="+- 0 5724 5573"/>
                  <a:gd name="T27" fmla="*/ 5724 h 10007"/>
                  <a:gd name="T28" fmla="+- 0 18952 3354"/>
                  <a:gd name="T29" fmla="*/ T28 w 17384"/>
                  <a:gd name="T30" fmla="+- 0 5761 5573"/>
                  <a:gd name="T31" fmla="*/ 5761 h 10007"/>
                  <a:gd name="T32" fmla="+- 0 18978 3354"/>
                  <a:gd name="T33" fmla="*/ T32 w 17384"/>
                  <a:gd name="T34" fmla="+- 0 5780 5573"/>
                  <a:gd name="T35" fmla="*/ 5780 h 10007"/>
                  <a:gd name="T36" fmla="+- 0 19001 3354"/>
                  <a:gd name="T37" fmla="*/ T36 w 17384"/>
                  <a:gd name="T38" fmla="+- 0 5818 5573"/>
                  <a:gd name="T39" fmla="*/ 5818 h 10007"/>
                  <a:gd name="T40" fmla="+- 0 19022 3354"/>
                  <a:gd name="T41" fmla="*/ T40 w 17384"/>
                  <a:gd name="T42" fmla="+- 0 5837 5573"/>
                  <a:gd name="T43" fmla="*/ 5837 h 10007"/>
                  <a:gd name="T44" fmla="+- 0 19041 3354"/>
                  <a:gd name="T45" fmla="*/ T44 w 17384"/>
                  <a:gd name="T46" fmla="+- 0 5874 5573"/>
                  <a:gd name="T47" fmla="*/ 5874 h 10007"/>
                  <a:gd name="T48" fmla="+- 0 19071 3354"/>
                  <a:gd name="T49" fmla="*/ T48 w 17384"/>
                  <a:gd name="T50" fmla="+- 0 5950 5573"/>
                  <a:gd name="T51" fmla="*/ 5950 h 10007"/>
                  <a:gd name="T52" fmla="+- 0 19089 3354"/>
                  <a:gd name="T53" fmla="*/ T52 w 17384"/>
                  <a:gd name="T54" fmla="+- 0 6025 5573"/>
                  <a:gd name="T55" fmla="*/ 6025 h 10007"/>
                  <a:gd name="T56" fmla="+- 0 19096 3354"/>
                  <a:gd name="T57" fmla="*/ T56 w 17384"/>
                  <a:gd name="T58" fmla="+- 0 6101 5573"/>
                  <a:gd name="T59" fmla="*/ 6101 h 10007"/>
                  <a:gd name="T60" fmla="+- 0 19096 3354"/>
                  <a:gd name="T61" fmla="*/ T60 w 17384"/>
                  <a:gd name="T62" fmla="+- 0 14864 5573"/>
                  <a:gd name="T63" fmla="*/ 14864 h 10007"/>
                  <a:gd name="T64" fmla="+- 0 19089 3354"/>
                  <a:gd name="T65" fmla="*/ T64 w 17384"/>
                  <a:gd name="T66" fmla="+- 0 14939 5573"/>
                  <a:gd name="T67" fmla="*/ 14939 h 10007"/>
                  <a:gd name="T68" fmla="+- 0 19069 3354"/>
                  <a:gd name="T69" fmla="*/ T68 w 17384"/>
                  <a:gd name="T70" fmla="+- 0 15014 5573"/>
                  <a:gd name="T71" fmla="*/ 15014 h 10007"/>
                  <a:gd name="T72" fmla="+- 0 17629 3354"/>
                  <a:gd name="T73" fmla="*/ T72 w 17384"/>
                  <a:gd name="T74" fmla="+- 0 15033 5573"/>
                  <a:gd name="T75" fmla="*/ 15033 h 10007"/>
                  <a:gd name="T76" fmla="+- 0 19104 3354"/>
                  <a:gd name="T77" fmla="*/ T76 w 17384"/>
                  <a:gd name="T78" fmla="+- 0 15033 5573"/>
                  <a:gd name="T79" fmla="*/ 15033 h 10007"/>
                  <a:gd name="T80" fmla="+- 0 19124 3354"/>
                  <a:gd name="T81" fmla="*/ T80 w 17384"/>
                  <a:gd name="T82" fmla="+- 0 14958 5573"/>
                  <a:gd name="T83" fmla="*/ 14958 h 10007"/>
                  <a:gd name="T84" fmla="+- 0 19132 3354"/>
                  <a:gd name="T85" fmla="*/ T84 w 17384"/>
                  <a:gd name="T86" fmla="+- 0 14882 5573"/>
                  <a:gd name="T87" fmla="*/ 14882 h 10007"/>
                  <a:gd name="T88" fmla="+- 0 19132 3354"/>
                  <a:gd name="T89" fmla="*/ T88 w 17384"/>
                  <a:gd name="T90" fmla="+- 0 6101 5573"/>
                  <a:gd name="T91" fmla="*/ 6101 h 10007"/>
                  <a:gd name="T92" fmla="+- 0 19131 3354"/>
                  <a:gd name="T93" fmla="*/ T92 w 17384"/>
                  <a:gd name="T94" fmla="+- 0 6063 5573"/>
                  <a:gd name="T95" fmla="*/ 6063 h 10007"/>
                  <a:gd name="T96" fmla="+- 0 19117 3354"/>
                  <a:gd name="T97" fmla="*/ T96 w 17384"/>
                  <a:gd name="T98" fmla="+- 0 5969 5573"/>
                  <a:gd name="T99" fmla="*/ 5969 h 10007"/>
                  <a:gd name="T100" fmla="+- 0 19091 3354"/>
                  <a:gd name="T101" fmla="*/ T100 w 17384"/>
                  <a:gd name="T102" fmla="+- 0 5893 5573"/>
                  <a:gd name="T103" fmla="*/ 5893 h 10007"/>
                  <a:gd name="T104" fmla="+- 0 19053 3354"/>
                  <a:gd name="T105" fmla="*/ T104 w 17384"/>
                  <a:gd name="T106" fmla="+- 0 5818 5573"/>
                  <a:gd name="T107" fmla="*/ 5818 h 10007"/>
                  <a:gd name="T108" fmla="+- 0 19005 3354"/>
                  <a:gd name="T109" fmla="*/ T108 w 17384"/>
                  <a:gd name="T110" fmla="+- 0 5761 5573"/>
                  <a:gd name="T111" fmla="*/ 5761 h 10007"/>
                  <a:gd name="T112" fmla="+- 0 18978 3354"/>
                  <a:gd name="T113" fmla="*/ T112 w 17384"/>
                  <a:gd name="T114" fmla="+- 0 5724 5573"/>
                  <a:gd name="T115" fmla="*/ 5724 h 10007"/>
                  <a:gd name="T116" fmla="+- 0 18948 3354"/>
                  <a:gd name="T117" fmla="*/ T116 w 17384"/>
                  <a:gd name="T118" fmla="+- 0 5705 5573"/>
                  <a:gd name="T119" fmla="*/ 5705 h 10007"/>
                  <a:gd name="T120" fmla="+- 0 18916 3354"/>
                  <a:gd name="T121" fmla="*/ T120 w 17384"/>
                  <a:gd name="T122" fmla="+- 0 5667 5573"/>
                  <a:gd name="T123" fmla="*/ 5667 h 10007"/>
                  <a:gd name="T124" fmla="+- 0 18883 3354"/>
                  <a:gd name="T125" fmla="*/ T124 w 17384"/>
                  <a:gd name="T126" fmla="+- 0 5648 5573"/>
                  <a:gd name="T127" fmla="*/ 5648 h 10007"/>
                  <a:gd name="T128" fmla="+- 0 18847 3354"/>
                  <a:gd name="T129" fmla="*/ T128 w 17384"/>
                  <a:gd name="T130" fmla="+- 0 5629 5573"/>
                  <a:gd name="T131" fmla="*/ 5629 h 10007"/>
                  <a:gd name="T132" fmla="+- 0 18810 3354"/>
                  <a:gd name="T133" fmla="*/ T132 w 17384"/>
                  <a:gd name="T134" fmla="+- 0 5611 5573"/>
                  <a:gd name="T135" fmla="*/ 5611 h 10007"/>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 ang="0">
                    <a:pos x="T41" y="T43"/>
                  </a:cxn>
                  <a:cxn ang="0">
                    <a:pos x="T45" y="T47"/>
                  </a:cxn>
                  <a:cxn ang="0">
                    <a:pos x="T49" y="T51"/>
                  </a:cxn>
                  <a:cxn ang="0">
                    <a:pos x="T53" y="T55"/>
                  </a:cxn>
                  <a:cxn ang="0">
                    <a:pos x="T57" y="T59"/>
                  </a:cxn>
                  <a:cxn ang="0">
                    <a:pos x="T61" y="T63"/>
                  </a:cxn>
                  <a:cxn ang="0">
                    <a:pos x="T65" y="T67"/>
                  </a:cxn>
                  <a:cxn ang="0">
                    <a:pos x="T69" y="T71"/>
                  </a:cxn>
                  <a:cxn ang="0">
                    <a:pos x="T73" y="T75"/>
                  </a:cxn>
                  <a:cxn ang="0">
                    <a:pos x="T77" y="T79"/>
                  </a:cxn>
                  <a:cxn ang="0">
                    <a:pos x="T81" y="T83"/>
                  </a:cxn>
                  <a:cxn ang="0">
                    <a:pos x="T85" y="T87"/>
                  </a:cxn>
                  <a:cxn ang="0">
                    <a:pos x="T89" y="T91"/>
                  </a:cxn>
                  <a:cxn ang="0">
                    <a:pos x="T93" y="T95"/>
                  </a:cxn>
                  <a:cxn ang="0">
                    <a:pos x="T97" y="T99"/>
                  </a:cxn>
                  <a:cxn ang="0">
                    <a:pos x="T101" y="T103"/>
                  </a:cxn>
                  <a:cxn ang="0">
                    <a:pos x="T105" y="T107"/>
                  </a:cxn>
                  <a:cxn ang="0">
                    <a:pos x="T109" y="T111"/>
                  </a:cxn>
                  <a:cxn ang="0">
                    <a:pos x="T113" y="T115"/>
                  </a:cxn>
                  <a:cxn ang="0">
                    <a:pos x="T117" y="T119"/>
                  </a:cxn>
                  <a:cxn ang="0">
                    <a:pos x="T121" y="T123"/>
                  </a:cxn>
                  <a:cxn ang="0">
                    <a:pos x="T125" y="T127"/>
                  </a:cxn>
                  <a:cxn ang="0">
                    <a:pos x="T129" y="T131"/>
                  </a:cxn>
                  <a:cxn ang="0">
                    <a:pos x="T133" y="T135"/>
                  </a:cxn>
                </a:cxnLst>
                <a:rect l="0" t="0" r="r" b="b"/>
                <a:pathLst>
                  <a:path w="17384" h="10007">
                    <a:moveTo>
                      <a:pt x="15456" y="38"/>
                    </a:moveTo>
                    <a:lnTo>
                      <a:pt x="15331" y="38"/>
                    </a:lnTo>
                    <a:lnTo>
                      <a:pt x="15369" y="56"/>
                    </a:lnTo>
                    <a:lnTo>
                      <a:pt x="15406" y="56"/>
                    </a:lnTo>
                    <a:lnTo>
                      <a:pt x="15442" y="75"/>
                    </a:lnTo>
                    <a:lnTo>
                      <a:pt x="15509" y="113"/>
                    </a:lnTo>
                    <a:lnTo>
                      <a:pt x="15570" y="151"/>
                    </a:lnTo>
                    <a:lnTo>
                      <a:pt x="15598" y="188"/>
                    </a:lnTo>
                    <a:lnTo>
                      <a:pt x="15624" y="207"/>
                    </a:lnTo>
                    <a:lnTo>
                      <a:pt x="15647" y="245"/>
                    </a:lnTo>
                    <a:lnTo>
                      <a:pt x="15668" y="264"/>
                    </a:lnTo>
                    <a:lnTo>
                      <a:pt x="15687" y="301"/>
                    </a:lnTo>
                    <a:lnTo>
                      <a:pt x="15717" y="377"/>
                    </a:lnTo>
                    <a:lnTo>
                      <a:pt x="15735" y="452"/>
                    </a:lnTo>
                    <a:lnTo>
                      <a:pt x="15742" y="528"/>
                    </a:lnTo>
                    <a:lnTo>
                      <a:pt x="15742" y="9291"/>
                    </a:lnTo>
                    <a:lnTo>
                      <a:pt x="15735" y="9366"/>
                    </a:lnTo>
                    <a:lnTo>
                      <a:pt x="15715" y="9441"/>
                    </a:lnTo>
                    <a:lnTo>
                      <a:pt x="14275" y="9460"/>
                    </a:lnTo>
                    <a:lnTo>
                      <a:pt x="15750" y="9460"/>
                    </a:lnTo>
                    <a:lnTo>
                      <a:pt x="15770" y="9385"/>
                    </a:lnTo>
                    <a:lnTo>
                      <a:pt x="15778" y="9309"/>
                    </a:lnTo>
                    <a:lnTo>
                      <a:pt x="15778" y="528"/>
                    </a:lnTo>
                    <a:lnTo>
                      <a:pt x="15777" y="490"/>
                    </a:lnTo>
                    <a:lnTo>
                      <a:pt x="15763" y="396"/>
                    </a:lnTo>
                    <a:lnTo>
                      <a:pt x="15737" y="320"/>
                    </a:lnTo>
                    <a:lnTo>
                      <a:pt x="15699" y="245"/>
                    </a:lnTo>
                    <a:lnTo>
                      <a:pt x="15651" y="188"/>
                    </a:lnTo>
                    <a:lnTo>
                      <a:pt x="15624" y="151"/>
                    </a:lnTo>
                    <a:lnTo>
                      <a:pt x="15594" y="132"/>
                    </a:lnTo>
                    <a:lnTo>
                      <a:pt x="15562" y="94"/>
                    </a:lnTo>
                    <a:lnTo>
                      <a:pt x="15529" y="75"/>
                    </a:lnTo>
                    <a:lnTo>
                      <a:pt x="15493" y="56"/>
                    </a:lnTo>
                    <a:lnTo>
                      <a:pt x="15456" y="38"/>
                    </a:lnTo>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ts val="1400"/>
                  </a:lnSpc>
                  <a:spcBef>
                    <a:spcPts val="0"/>
                  </a:spcBef>
                  <a:spcAft>
                    <a:spcPct val="0"/>
                  </a:spcAft>
                  <a:buClrTx/>
                  <a:buSzTx/>
                  <a:buFontTx/>
                  <a:buNone/>
                  <a:tabLst/>
                  <a:defRPr/>
                </a:pPr>
                <a:endParaRPr kumimoji="0" lang="en-US" sz="1200" b="0" i="0" u="none" strike="noStrike" kern="0" cap="none" spc="0" normalizeH="0" baseline="0" noProof="0" dirty="0">
                  <a:ln>
                    <a:noFill/>
                  </a:ln>
                  <a:solidFill>
                    <a:srgbClr val="010024"/>
                  </a:solidFill>
                  <a:effectLst/>
                  <a:uLnTx/>
                  <a:uFillTx/>
                  <a:latin typeface="EYInterstate Regular" pitchFamily="1" charset="0"/>
                  <a:ea typeface="+mn-ea"/>
                  <a:cs typeface="+mn-cs"/>
                </a:endParaRPr>
              </a:p>
            </p:txBody>
          </p:sp>
          <p:sp>
            <p:nvSpPr>
              <p:cNvPr id="42" name="Freeform 26">
                <a:extLst>
                  <a:ext uri="{FF2B5EF4-FFF2-40B4-BE49-F238E27FC236}">
                    <a16:creationId xmlns:a16="http://schemas.microsoft.com/office/drawing/2014/main" id="{44FB750A-6053-49DA-993B-F9A3BAB19BB1}"/>
                  </a:ext>
                </a:extLst>
              </p:cNvPr>
              <p:cNvSpPr>
                <a:spLocks/>
              </p:cNvSpPr>
              <p:nvPr/>
            </p:nvSpPr>
            <p:spPr bwMode="auto">
              <a:xfrm>
                <a:off x="3354" y="5573"/>
                <a:ext cx="17384" cy="10007"/>
              </a:xfrm>
              <a:custGeom>
                <a:avLst/>
                <a:gdLst>
                  <a:gd name="T0" fmla="+- 0 18951 3354"/>
                  <a:gd name="T1" fmla="*/ T0 w 17384"/>
                  <a:gd name="T2" fmla="+- 0 14807 5573"/>
                  <a:gd name="T3" fmla="*/ 14807 h 10007"/>
                  <a:gd name="T4" fmla="+- 0 5145 3354"/>
                  <a:gd name="T5" fmla="*/ T4 w 17384"/>
                  <a:gd name="T6" fmla="+- 0 14807 5573"/>
                  <a:gd name="T7" fmla="*/ 14807 h 10007"/>
                  <a:gd name="T8" fmla="+- 0 5165 3354"/>
                  <a:gd name="T9" fmla="*/ T8 w 17384"/>
                  <a:gd name="T10" fmla="+- 0 14826 5573"/>
                  <a:gd name="T11" fmla="*/ 14826 h 10007"/>
                  <a:gd name="T12" fmla="+- 0 18931 3354"/>
                  <a:gd name="T13" fmla="*/ T12 w 17384"/>
                  <a:gd name="T14" fmla="+- 0 14826 5573"/>
                  <a:gd name="T15" fmla="*/ 14826 h 10007"/>
                  <a:gd name="T16" fmla="+- 0 18951 3354"/>
                  <a:gd name="T17" fmla="*/ T16 w 17384"/>
                  <a:gd name="T18" fmla="+- 0 14807 5573"/>
                  <a:gd name="T19" fmla="*/ 14807 h 10007"/>
                </a:gdLst>
                <a:ahLst/>
                <a:cxnLst>
                  <a:cxn ang="0">
                    <a:pos x="T1" y="T3"/>
                  </a:cxn>
                  <a:cxn ang="0">
                    <a:pos x="T5" y="T7"/>
                  </a:cxn>
                  <a:cxn ang="0">
                    <a:pos x="T9" y="T11"/>
                  </a:cxn>
                  <a:cxn ang="0">
                    <a:pos x="T13" y="T15"/>
                  </a:cxn>
                  <a:cxn ang="0">
                    <a:pos x="T17" y="T19"/>
                  </a:cxn>
                </a:cxnLst>
                <a:rect l="0" t="0" r="r" b="b"/>
                <a:pathLst>
                  <a:path w="17384" h="10007">
                    <a:moveTo>
                      <a:pt x="15597" y="9234"/>
                    </a:moveTo>
                    <a:lnTo>
                      <a:pt x="1791" y="9234"/>
                    </a:lnTo>
                    <a:lnTo>
                      <a:pt x="1811" y="9253"/>
                    </a:lnTo>
                    <a:lnTo>
                      <a:pt x="15577" y="9253"/>
                    </a:lnTo>
                    <a:lnTo>
                      <a:pt x="15597" y="9234"/>
                    </a:lnTo>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ts val="1400"/>
                  </a:lnSpc>
                  <a:spcBef>
                    <a:spcPts val="0"/>
                  </a:spcBef>
                  <a:spcAft>
                    <a:spcPct val="0"/>
                  </a:spcAft>
                  <a:buClrTx/>
                  <a:buSzTx/>
                  <a:buFontTx/>
                  <a:buNone/>
                  <a:tabLst/>
                  <a:defRPr/>
                </a:pPr>
                <a:endParaRPr kumimoji="0" lang="en-US" sz="1200" b="0" i="0" u="none" strike="noStrike" kern="0" cap="none" spc="0" normalizeH="0" baseline="0" noProof="0" dirty="0">
                  <a:ln>
                    <a:noFill/>
                  </a:ln>
                  <a:solidFill>
                    <a:srgbClr val="010024"/>
                  </a:solidFill>
                  <a:effectLst/>
                  <a:uLnTx/>
                  <a:uFillTx/>
                  <a:latin typeface="EYInterstate Regular" pitchFamily="1" charset="0"/>
                  <a:ea typeface="+mn-ea"/>
                  <a:cs typeface="+mn-cs"/>
                </a:endParaRPr>
              </a:p>
            </p:txBody>
          </p:sp>
          <p:sp>
            <p:nvSpPr>
              <p:cNvPr id="43" name="Freeform 27">
                <a:extLst>
                  <a:ext uri="{FF2B5EF4-FFF2-40B4-BE49-F238E27FC236}">
                    <a16:creationId xmlns:a16="http://schemas.microsoft.com/office/drawing/2014/main" id="{3025C881-5DB0-476C-A757-9B5734BFA522}"/>
                  </a:ext>
                </a:extLst>
              </p:cNvPr>
              <p:cNvSpPr>
                <a:spLocks/>
              </p:cNvSpPr>
              <p:nvPr/>
            </p:nvSpPr>
            <p:spPr bwMode="auto">
              <a:xfrm>
                <a:off x="3354" y="5573"/>
                <a:ext cx="17384" cy="10007"/>
              </a:xfrm>
              <a:custGeom>
                <a:avLst/>
                <a:gdLst>
                  <a:gd name="T0" fmla="+- 0 5451 3354"/>
                  <a:gd name="T1" fmla="*/ T0 w 17384"/>
                  <a:gd name="T2" fmla="+- 0 5686 5573"/>
                  <a:gd name="T3" fmla="*/ 5686 h 10007"/>
                  <a:gd name="T4" fmla="+- 0 5314 3354"/>
                  <a:gd name="T5" fmla="*/ T4 w 17384"/>
                  <a:gd name="T6" fmla="+- 0 5686 5573"/>
                  <a:gd name="T7" fmla="*/ 5686 h 10007"/>
                  <a:gd name="T8" fmla="+- 0 5283 3354"/>
                  <a:gd name="T9" fmla="*/ T8 w 17384"/>
                  <a:gd name="T10" fmla="+- 0 5705 5573"/>
                  <a:gd name="T11" fmla="*/ 5705 h 10007"/>
                  <a:gd name="T12" fmla="+- 0 5226 3354"/>
                  <a:gd name="T13" fmla="*/ T12 w 17384"/>
                  <a:gd name="T14" fmla="+- 0 5742 5573"/>
                  <a:gd name="T15" fmla="*/ 5742 h 10007"/>
                  <a:gd name="T16" fmla="+- 0 5175 3354"/>
                  <a:gd name="T17" fmla="*/ T16 w 17384"/>
                  <a:gd name="T18" fmla="+- 0 5780 5573"/>
                  <a:gd name="T19" fmla="*/ 5780 h 10007"/>
                  <a:gd name="T20" fmla="+- 0 5153 3354"/>
                  <a:gd name="T21" fmla="*/ T20 w 17384"/>
                  <a:gd name="T22" fmla="+- 0 5818 5573"/>
                  <a:gd name="T23" fmla="*/ 5818 h 10007"/>
                  <a:gd name="T24" fmla="+- 0 5132 3354"/>
                  <a:gd name="T25" fmla="*/ T24 w 17384"/>
                  <a:gd name="T26" fmla="+- 0 5837 5573"/>
                  <a:gd name="T27" fmla="*/ 5837 h 10007"/>
                  <a:gd name="T28" fmla="+- 0 5113 3354"/>
                  <a:gd name="T29" fmla="*/ T28 w 17384"/>
                  <a:gd name="T30" fmla="+- 0 5856 5573"/>
                  <a:gd name="T31" fmla="*/ 5856 h 10007"/>
                  <a:gd name="T32" fmla="+- 0 5096 3354"/>
                  <a:gd name="T33" fmla="*/ T32 w 17384"/>
                  <a:gd name="T34" fmla="+- 0 5893 5573"/>
                  <a:gd name="T35" fmla="*/ 5893 h 10007"/>
                  <a:gd name="T36" fmla="+- 0 5082 3354"/>
                  <a:gd name="T37" fmla="*/ T36 w 17384"/>
                  <a:gd name="T38" fmla="+- 0 5931 5573"/>
                  <a:gd name="T39" fmla="*/ 5931 h 10007"/>
                  <a:gd name="T40" fmla="+- 0 5070 3354"/>
                  <a:gd name="T41" fmla="*/ T40 w 17384"/>
                  <a:gd name="T42" fmla="+- 0 5950 5573"/>
                  <a:gd name="T43" fmla="*/ 5950 h 10007"/>
                  <a:gd name="T44" fmla="+- 0 5060 3354"/>
                  <a:gd name="T45" fmla="*/ T44 w 17384"/>
                  <a:gd name="T46" fmla="+- 0 5987 5573"/>
                  <a:gd name="T47" fmla="*/ 5987 h 10007"/>
                  <a:gd name="T48" fmla="+- 0 5053 3354"/>
                  <a:gd name="T49" fmla="*/ T48 w 17384"/>
                  <a:gd name="T50" fmla="+- 0 6025 5573"/>
                  <a:gd name="T51" fmla="*/ 6025 h 10007"/>
                  <a:gd name="T52" fmla="+- 0 5049 3354"/>
                  <a:gd name="T53" fmla="*/ T52 w 17384"/>
                  <a:gd name="T54" fmla="+- 0 6063 5573"/>
                  <a:gd name="T55" fmla="*/ 6063 h 10007"/>
                  <a:gd name="T56" fmla="+- 0 5047 3354"/>
                  <a:gd name="T57" fmla="*/ T56 w 17384"/>
                  <a:gd name="T58" fmla="+- 0 6101 5573"/>
                  <a:gd name="T59" fmla="*/ 6101 h 10007"/>
                  <a:gd name="T60" fmla="+- 0 5047 3354"/>
                  <a:gd name="T61" fmla="*/ T60 w 17384"/>
                  <a:gd name="T62" fmla="+- 0 14656 5573"/>
                  <a:gd name="T63" fmla="*/ 14656 h 10007"/>
                  <a:gd name="T64" fmla="+- 0 5069 3354"/>
                  <a:gd name="T65" fmla="*/ T64 w 17384"/>
                  <a:gd name="T66" fmla="+- 0 14732 5573"/>
                  <a:gd name="T67" fmla="*/ 14732 h 10007"/>
                  <a:gd name="T68" fmla="+- 0 5109 3354"/>
                  <a:gd name="T69" fmla="*/ T68 w 17384"/>
                  <a:gd name="T70" fmla="+- 0 14788 5573"/>
                  <a:gd name="T71" fmla="*/ 14788 h 10007"/>
                  <a:gd name="T72" fmla="+- 0 5127 3354"/>
                  <a:gd name="T73" fmla="*/ T72 w 17384"/>
                  <a:gd name="T74" fmla="+- 0 14807 5573"/>
                  <a:gd name="T75" fmla="*/ 14807 h 10007"/>
                  <a:gd name="T76" fmla="+- 0 18969 3354"/>
                  <a:gd name="T77" fmla="*/ T76 w 17384"/>
                  <a:gd name="T78" fmla="+- 0 14807 5573"/>
                  <a:gd name="T79" fmla="*/ 14807 h 10007"/>
                  <a:gd name="T80" fmla="+- 0 18986 3354"/>
                  <a:gd name="T81" fmla="*/ T80 w 17384"/>
                  <a:gd name="T82" fmla="+- 0 14788 5573"/>
                  <a:gd name="T83" fmla="*/ 14788 h 10007"/>
                  <a:gd name="T84" fmla="+- 0 5165 3354"/>
                  <a:gd name="T85" fmla="*/ T84 w 17384"/>
                  <a:gd name="T86" fmla="+- 0 14788 5573"/>
                  <a:gd name="T87" fmla="*/ 14788 h 10007"/>
                  <a:gd name="T88" fmla="+- 0 5146 3354"/>
                  <a:gd name="T89" fmla="*/ T88 w 17384"/>
                  <a:gd name="T90" fmla="+- 0 14769 5573"/>
                  <a:gd name="T91" fmla="*/ 14769 h 10007"/>
                  <a:gd name="T92" fmla="+- 0 5103 3354"/>
                  <a:gd name="T93" fmla="*/ T92 w 17384"/>
                  <a:gd name="T94" fmla="+- 0 14713 5573"/>
                  <a:gd name="T95" fmla="*/ 14713 h 10007"/>
                  <a:gd name="T96" fmla="+- 0 5084 3354"/>
                  <a:gd name="T97" fmla="*/ T96 w 17384"/>
                  <a:gd name="T98" fmla="+- 0 13789 5573"/>
                  <a:gd name="T99" fmla="*/ 13789 h 10007"/>
                  <a:gd name="T100" fmla="+- 0 5084 3354"/>
                  <a:gd name="T101" fmla="*/ T100 w 17384"/>
                  <a:gd name="T102" fmla="+- 0 6101 5573"/>
                  <a:gd name="T103" fmla="*/ 6101 h 10007"/>
                  <a:gd name="T104" fmla="+- 0 5085 3354"/>
                  <a:gd name="T105" fmla="*/ T104 w 17384"/>
                  <a:gd name="T106" fmla="+- 0 6063 5573"/>
                  <a:gd name="T107" fmla="*/ 6063 h 10007"/>
                  <a:gd name="T108" fmla="+- 0 5089 3354"/>
                  <a:gd name="T109" fmla="*/ T108 w 17384"/>
                  <a:gd name="T110" fmla="+- 0 6025 5573"/>
                  <a:gd name="T111" fmla="*/ 6025 h 10007"/>
                  <a:gd name="T112" fmla="+- 0 5096 3354"/>
                  <a:gd name="T113" fmla="*/ T112 w 17384"/>
                  <a:gd name="T114" fmla="+- 0 5987 5573"/>
                  <a:gd name="T115" fmla="*/ 5987 h 10007"/>
                  <a:gd name="T116" fmla="+- 0 5104 3354"/>
                  <a:gd name="T117" fmla="*/ T116 w 17384"/>
                  <a:gd name="T118" fmla="+- 0 5969 5573"/>
                  <a:gd name="T119" fmla="*/ 5969 h 10007"/>
                  <a:gd name="T120" fmla="+- 0 5115 3354"/>
                  <a:gd name="T121" fmla="*/ T120 w 17384"/>
                  <a:gd name="T122" fmla="+- 0 5931 5573"/>
                  <a:gd name="T123" fmla="*/ 5931 h 10007"/>
                  <a:gd name="T124" fmla="+- 0 5129 3354"/>
                  <a:gd name="T125" fmla="*/ T124 w 17384"/>
                  <a:gd name="T126" fmla="+- 0 5912 5573"/>
                  <a:gd name="T127" fmla="*/ 5912 h 10007"/>
                  <a:gd name="T128" fmla="+- 0 5144 3354"/>
                  <a:gd name="T129" fmla="*/ T128 w 17384"/>
                  <a:gd name="T130" fmla="+- 0 5874 5573"/>
                  <a:gd name="T131" fmla="*/ 5874 h 10007"/>
                  <a:gd name="T132" fmla="+- 0 5161 3354"/>
                  <a:gd name="T133" fmla="*/ T132 w 17384"/>
                  <a:gd name="T134" fmla="+- 0 5856 5573"/>
                  <a:gd name="T135" fmla="*/ 5856 h 10007"/>
                  <a:gd name="T136" fmla="+- 0 5180 3354"/>
                  <a:gd name="T137" fmla="*/ T136 w 17384"/>
                  <a:gd name="T138" fmla="+- 0 5837 5573"/>
                  <a:gd name="T139" fmla="*/ 5837 h 10007"/>
                  <a:gd name="T140" fmla="+- 0 5201 3354"/>
                  <a:gd name="T141" fmla="*/ T140 w 17384"/>
                  <a:gd name="T142" fmla="+- 0 5818 5573"/>
                  <a:gd name="T143" fmla="*/ 5818 h 10007"/>
                  <a:gd name="T144" fmla="+- 0 5224 3354"/>
                  <a:gd name="T145" fmla="*/ T144 w 17384"/>
                  <a:gd name="T146" fmla="+- 0 5780 5573"/>
                  <a:gd name="T147" fmla="*/ 5780 h 10007"/>
                  <a:gd name="T148" fmla="+- 0 5248 3354"/>
                  <a:gd name="T149" fmla="*/ T148 w 17384"/>
                  <a:gd name="T150" fmla="+- 0 5761 5573"/>
                  <a:gd name="T151" fmla="*/ 5761 h 10007"/>
                  <a:gd name="T152" fmla="+- 0 5273 3354"/>
                  <a:gd name="T153" fmla="*/ T152 w 17384"/>
                  <a:gd name="T154" fmla="+- 0 5761 5573"/>
                  <a:gd name="T155" fmla="*/ 5761 h 10007"/>
                  <a:gd name="T156" fmla="+- 0 5300 3354"/>
                  <a:gd name="T157" fmla="*/ T156 w 17384"/>
                  <a:gd name="T158" fmla="+- 0 5742 5573"/>
                  <a:gd name="T159" fmla="*/ 5742 h 10007"/>
                  <a:gd name="T160" fmla="+- 0 5328 3354"/>
                  <a:gd name="T161" fmla="*/ T160 w 17384"/>
                  <a:gd name="T162" fmla="+- 0 5724 5573"/>
                  <a:gd name="T163" fmla="*/ 5724 h 10007"/>
                  <a:gd name="T164" fmla="+- 0 5357 3354"/>
                  <a:gd name="T165" fmla="*/ T164 w 17384"/>
                  <a:gd name="T166" fmla="+- 0 5705 5573"/>
                  <a:gd name="T167" fmla="*/ 5705 h 10007"/>
                  <a:gd name="T168" fmla="+- 0 5419 3354"/>
                  <a:gd name="T169" fmla="*/ T168 w 17384"/>
                  <a:gd name="T170" fmla="+- 0 5705 5573"/>
                  <a:gd name="T171" fmla="*/ 5705 h 10007"/>
                  <a:gd name="T172" fmla="+- 0 5451 3354"/>
                  <a:gd name="T173" fmla="*/ T172 w 17384"/>
                  <a:gd name="T174" fmla="+- 0 5686 5573"/>
                  <a:gd name="T175" fmla="*/ 5686 h 10007"/>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 ang="0">
                    <a:pos x="T41" y="T43"/>
                  </a:cxn>
                  <a:cxn ang="0">
                    <a:pos x="T45" y="T47"/>
                  </a:cxn>
                  <a:cxn ang="0">
                    <a:pos x="T49" y="T51"/>
                  </a:cxn>
                  <a:cxn ang="0">
                    <a:pos x="T53" y="T55"/>
                  </a:cxn>
                  <a:cxn ang="0">
                    <a:pos x="T57" y="T59"/>
                  </a:cxn>
                  <a:cxn ang="0">
                    <a:pos x="T61" y="T63"/>
                  </a:cxn>
                  <a:cxn ang="0">
                    <a:pos x="T65" y="T67"/>
                  </a:cxn>
                  <a:cxn ang="0">
                    <a:pos x="T69" y="T71"/>
                  </a:cxn>
                  <a:cxn ang="0">
                    <a:pos x="T73" y="T75"/>
                  </a:cxn>
                  <a:cxn ang="0">
                    <a:pos x="T77" y="T79"/>
                  </a:cxn>
                  <a:cxn ang="0">
                    <a:pos x="T81" y="T83"/>
                  </a:cxn>
                  <a:cxn ang="0">
                    <a:pos x="T85" y="T87"/>
                  </a:cxn>
                  <a:cxn ang="0">
                    <a:pos x="T89" y="T91"/>
                  </a:cxn>
                  <a:cxn ang="0">
                    <a:pos x="T93" y="T95"/>
                  </a:cxn>
                  <a:cxn ang="0">
                    <a:pos x="T97" y="T99"/>
                  </a:cxn>
                  <a:cxn ang="0">
                    <a:pos x="T101" y="T103"/>
                  </a:cxn>
                  <a:cxn ang="0">
                    <a:pos x="T105" y="T107"/>
                  </a:cxn>
                  <a:cxn ang="0">
                    <a:pos x="T109" y="T111"/>
                  </a:cxn>
                  <a:cxn ang="0">
                    <a:pos x="T113" y="T115"/>
                  </a:cxn>
                  <a:cxn ang="0">
                    <a:pos x="T117" y="T119"/>
                  </a:cxn>
                  <a:cxn ang="0">
                    <a:pos x="T121" y="T123"/>
                  </a:cxn>
                  <a:cxn ang="0">
                    <a:pos x="T125" y="T127"/>
                  </a:cxn>
                  <a:cxn ang="0">
                    <a:pos x="T129" y="T131"/>
                  </a:cxn>
                  <a:cxn ang="0">
                    <a:pos x="T133" y="T135"/>
                  </a:cxn>
                  <a:cxn ang="0">
                    <a:pos x="T137" y="T139"/>
                  </a:cxn>
                  <a:cxn ang="0">
                    <a:pos x="T141" y="T143"/>
                  </a:cxn>
                  <a:cxn ang="0">
                    <a:pos x="T145" y="T147"/>
                  </a:cxn>
                  <a:cxn ang="0">
                    <a:pos x="T149" y="T151"/>
                  </a:cxn>
                  <a:cxn ang="0">
                    <a:pos x="T153" y="T155"/>
                  </a:cxn>
                  <a:cxn ang="0">
                    <a:pos x="T157" y="T159"/>
                  </a:cxn>
                  <a:cxn ang="0">
                    <a:pos x="T161" y="T163"/>
                  </a:cxn>
                  <a:cxn ang="0">
                    <a:pos x="T165" y="T167"/>
                  </a:cxn>
                  <a:cxn ang="0">
                    <a:pos x="T169" y="T171"/>
                  </a:cxn>
                  <a:cxn ang="0">
                    <a:pos x="T173" y="T175"/>
                  </a:cxn>
                </a:cxnLst>
                <a:rect l="0" t="0" r="r" b="b"/>
                <a:pathLst>
                  <a:path w="17384" h="10007">
                    <a:moveTo>
                      <a:pt x="2097" y="113"/>
                    </a:moveTo>
                    <a:lnTo>
                      <a:pt x="1960" y="113"/>
                    </a:lnTo>
                    <a:lnTo>
                      <a:pt x="1929" y="132"/>
                    </a:lnTo>
                    <a:lnTo>
                      <a:pt x="1872" y="169"/>
                    </a:lnTo>
                    <a:lnTo>
                      <a:pt x="1821" y="207"/>
                    </a:lnTo>
                    <a:lnTo>
                      <a:pt x="1799" y="245"/>
                    </a:lnTo>
                    <a:lnTo>
                      <a:pt x="1778" y="264"/>
                    </a:lnTo>
                    <a:lnTo>
                      <a:pt x="1759" y="283"/>
                    </a:lnTo>
                    <a:lnTo>
                      <a:pt x="1742" y="320"/>
                    </a:lnTo>
                    <a:lnTo>
                      <a:pt x="1728" y="358"/>
                    </a:lnTo>
                    <a:lnTo>
                      <a:pt x="1716" y="377"/>
                    </a:lnTo>
                    <a:lnTo>
                      <a:pt x="1706" y="414"/>
                    </a:lnTo>
                    <a:lnTo>
                      <a:pt x="1699" y="452"/>
                    </a:lnTo>
                    <a:lnTo>
                      <a:pt x="1695" y="490"/>
                    </a:lnTo>
                    <a:lnTo>
                      <a:pt x="1693" y="528"/>
                    </a:lnTo>
                    <a:lnTo>
                      <a:pt x="1693" y="9083"/>
                    </a:lnTo>
                    <a:lnTo>
                      <a:pt x="1715" y="9159"/>
                    </a:lnTo>
                    <a:lnTo>
                      <a:pt x="1755" y="9215"/>
                    </a:lnTo>
                    <a:lnTo>
                      <a:pt x="1773" y="9234"/>
                    </a:lnTo>
                    <a:lnTo>
                      <a:pt x="15615" y="9234"/>
                    </a:lnTo>
                    <a:lnTo>
                      <a:pt x="15632" y="9215"/>
                    </a:lnTo>
                    <a:lnTo>
                      <a:pt x="1811" y="9215"/>
                    </a:lnTo>
                    <a:lnTo>
                      <a:pt x="1792" y="9196"/>
                    </a:lnTo>
                    <a:lnTo>
                      <a:pt x="1749" y="9140"/>
                    </a:lnTo>
                    <a:lnTo>
                      <a:pt x="1730" y="8216"/>
                    </a:lnTo>
                    <a:lnTo>
                      <a:pt x="1730" y="528"/>
                    </a:lnTo>
                    <a:lnTo>
                      <a:pt x="1731" y="490"/>
                    </a:lnTo>
                    <a:lnTo>
                      <a:pt x="1735" y="452"/>
                    </a:lnTo>
                    <a:lnTo>
                      <a:pt x="1742" y="414"/>
                    </a:lnTo>
                    <a:lnTo>
                      <a:pt x="1750" y="396"/>
                    </a:lnTo>
                    <a:lnTo>
                      <a:pt x="1761" y="358"/>
                    </a:lnTo>
                    <a:lnTo>
                      <a:pt x="1775" y="339"/>
                    </a:lnTo>
                    <a:lnTo>
                      <a:pt x="1790" y="301"/>
                    </a:lnTo>
                    <a:lnTo>
                      <a:pt x="1807" y="283"/>
                    </a:lnTo>
                    <a:lnTo>
                      <a:pt x="1826" y="264"/>
                    </a:lnTo>
                    <a:lnTo>
                      <a:pt x="1847" y="245"/>
                    </a:lnTo>
                    <a:lnTo>
                      <a:pt x="1870" y="207"/>
                    </a:lnTo>
                    <a:lnTo>
                      <a:pt x="1894" y="188"/>
                    </a:lnTo>
                    <a:lnTo>
                      <a:pt x="1919" y="188"/>
                    </a:lnTo>
                    <a:lnTo>
                      <a:pt x="1946" y="169"/>
                    </a:lnTo>
                    <a:lnTo>
                      <a:pt x="1974" y="151"/>
                    </a:lnTo>
                    <a:lnTo>
                      <a:pt x="2003" y="132"/>
                    </a:lnTo>
                    <a:lnTo>
                      <a:pt x="2065" y="132"/>
                    </a:lnTo>
                    <a:lnTo>
                      <a:pt x="2097" y="113"/>
                    </a:lnTo>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ts val="1400"/>
                  </a:lnSpc>
                  <a:spcBef>
                    <a:spcPts val="0"/>
                  </a:spcBef>
                  <a:spcAft>
                    <a:spcPct val="0"/>
                  </a:spcAft>
                  <a:buClrTx/>
                  <a:buSzTx/>
                  <a:buFontTx/>
                  <a:buNone/>
                  <a:tabLst/>
                  <a:defRPr/>
                </a:pPr>
                <a:endParaRPr kumimoji="0" lang="en-US" sz="1200" b="0" i="0" u="none" strike="noStrike" kern="0" cap="none" spc="0" normalizeH="0" baseline="0" noProof="0" dirty="0">
                  <a:ln>
                    <a:noFill/>
                  </a:ln>
                  <a:solidFill>
                    <a:srgbClr val="010024"/>
                  </a:solidFill>
                  <a:effectLst/>
                  <a:uLnTx/>
                  <a:uFillTx/>
                  <a:latin typeface="EYInterstate Regular" pitchFamily="1" charset="0"/>
                  <a:ea typeface="+mn-ea"/>
                  <a:cs typeface="+mn-cs"/>
                </a:endParaRPr>
              </a:p>
            </p:txBody>
          </p:sp>
          <p:sp>
            <p:nvSpPr>
              <p:cNvPr id="44" name="Freeform 28">
                <a:extLst>
                  <a:ext uri="{FF2B5EF4-FFF2-40B4-BE49-F238E27FC236}">
                    <a16:creationId xmlns:a16="http://schemas.microsoft.com/office/drawing/2014/main" id="{9FAC1501-66C9-4930-B54C-52C27CED6B59}"/>
                  </a:ext>
                </a:extLst>
              </p:cNvPr>
              <p:cNvSpPr>
                <a:spLocks/>
              </p:cNvSpPr>
              <p:nvPr/>
            </p:nvSpPr>
            <p:spPr bwMode="auto">
              <a:xfrm>
                <a:off x="3354" y="5573"/>
                <a:ext cx="17384" cy="10007"/>
              </a:xfrm>
              <a:custGeom>
                <a:avLst/>
                <a:gdLst>
                  <a:gd name="T0" fmla="+- 0 18781 3354"/>
                  <a:gd name="T1" fmla="*/ T0 w 17384"/>
                  <a:gd name="T2" fmla="+- 0 5686 5573"/>
                  <a:gd name="T3" fmla="*/ 5686 h 10007"/>
                  <a:gd name="T4" fmla="+- 0 18644 3354"/>
                  <a:gd name="T5" fmla="*/ T4 w 17384"/>
                  <a:gd name="T6" fmla="+- 0 5686 5573"/>
                  <a:gd name="T7" fmla="*/ 5686 h 10007"/>
                  <a:gd name="T8" fmla="+- 0 18676 3354"/>
                  <a:gd name="T9" fmla="*/ T8 w 17384"/>
                  <a:gd name="T10" fmla="+- 0 5705 5573"/>
                  <a:gd name="T11" fmla="*/ 5705 h 10007"/>
                  <a:gd name="T12" fmla="+- 0 18737 3354"/>
                  <a:gd name="T13" fmla="*/ T12 w 17384"/>
                  <a:gd name="T14" fmla="+- 0 5705 5573"/>
                  <a:gd name="T15" fmla="*/ 5705 h 10007"/>
                  <a:gd name="T16" fmla="+- 0 18767 3354"/>
                  <a:gd name="T17" fmla="*/ T16 w 17384"/>
                  <a:gd name="T18" fmla="+- 0 5724 5573"/>
                  <a:gd name="T19" fmla="*/ 5724 h 10007"/>
                  <a:gd name="T20" fmla="+- 0 18795 3354"/>
                  <a:gd name="T21" fmla="*/ T20 w 17384"/>
                  <a:gd name="T22" fmla="+- 0 5742 5573"/>
                  <a:gd name="T23" fmla="*/ 5742 h 10007"/>
                  <a:gd name="T24" fmla="+- 0 18822 3354"/>
                  <a:gd name="T25" fmla="*/ T24 w 17384"/>
                  <a:gd name="T26" fmla="+- 0 5761 5573"/>
                  <a:gd name="T27" fmla="*/ 5761 h 10007"/>
                  <a:gd name="T28" fmla="+- 0 18847 3354"/>
                  <a:gd name="T29" fmla="*/ T28 w 17384"/>
                  <a:gd name="T30" fmla="+- 0 5761 5573"/>
                  <a:gd name="T31" fmla="*/ 5761 h 10007"/>
                  <a:gd name="T32" fmla="+- 0 18871 3354"/>
                  <a:gd name="T33" fmla="*/ T32 w 17384"/>
                  <a:gd name="T34" fmla="+- 0 5780 5573"/>
                  <a:gd name="T35" fmla="*/ 5780 h 10007"/>
                  <a:gd name="T36" fmla="+- 0 18894 3354"/>
                  <a:gd name="T37" fmla="*/ T36 w 17384"/>
                  <a:gd name="T38" fmla="+- 0 5818 5573"/>
                  <a:gd name="T39" fmla="*/ 5818 h 10007"/>
                  <a:gd name="T40" fmla="+- 0 18914 3354"/>
                  <a:gd name="T41" fmla="*/ T40 w 17384"/>
                  <a:gd name="T42" fmla="+- 0 5837 5573"/>
                  <a:gd name="T43" fmla="*/ 5837 h 10007"/>
                  <a:gd name="T44" fmla="+- 0 18934 3354"/>
                  <a:gd name="T45" fmla="*/ T44 w 17384"/>
                  <a:gd name="T46" fmla="+- 0 5856 5573"/>
                  <a:gd name="T47" fmla="*/ 5856 h 10007"/>
                  <a:gd name="T48" fmla="+- 0 18951 3354"/>
                  <a:gd name="T49" fmla="*/ T48 w 17384"/>
                  <a:gd name="T50" fmla="+- 0 5874 5573"/>
                  <a:gd name="T51" fmla="*/ 5874 h 10007"/>
                  <a:gd name="T52" fmla="+- 0 18966 3354"/>
                  <a:gd name="T53" fmla="*/ T52 w 17384"/>
                  <a:gd name="T54" fmla="+- 0 5912 5573"/>
                  <a:gd name="T55" fmla="*/ 5912 h 10007"/>
                  <a:gd name="T56" fmla="+- 0 18979 3354"/>
                  <a:gd name="T57" fmla="*/ T56 w 17384"/>
                  <a:gd name="T58" fmla="+- 0 5931 5573"/>
                  <a:gd name="T59" fmla="*/ 5931 h 10007"/>
                  <a:gd name="T60" fmla="+- 0 18990 3354"/>
                  <a:gd name="T61" fmla="*/ T60 w 17384"/>
                  <a:gd name="T62" fmla="+- 0 5969 5573"/>
                  <a:gd name="T63" fmla="*/ 5969 h 10007"/>
                  <a:gd name="T64" fmla="+- 0 18999 3354"/>
                  <a:gd name="T65" fmla="*/ T64 w 17384"/>
                  <a:gd name="T66" fmla="+- 0 5987 5573"/>
                  <a:gd name="T67" fmla="*/ 5987 h 10007"/>
                  <a:gd name="T68" fmla="+- 0 19005 3354"/>
                  <a:gd name="T69" fmla="*/ T68 w 17384"/>
                  <a:gd name="T70" fmla="+- 0 6025 5573"/>
                  <a:gd name="T71" fmla="*/ 6025 h 10007"/>
                  <a:gd name="T72" fmla="+- 0 19009 3354"/>
                  <a:gd name="T73" fmla="*/ T72 w 17384"/>
                  <a:gd name="T74" fmla="+- 0 6063 5573"/>
                  <a:gd name="T75" fmla="*/ 6063 h 10007"/>
                  <a:gd name="T76" fmla="+- 0 19011 3354"/>
                  <a:gd name="T77" fmla="*/ T76 w 17384"/>
                  <a:gd name="T78" fmla="+- 0 6101 5573"/>
                  <a:gd name="T79" fmla="*/ 6101 h 10007"/>
                  <a:gd name="T80" fmla="+- 0 19011 3354"/>
                  <a:gd name="T81" fmla="*/ T80 w 17384"/>
                  <a:gd name="T82" fmla="+- 0 14656 5573"/>
                  <a:gd name="T83" fmla="*/ 14656 h 10007"/>
                  <a:gd name="T84" fmla="+- 0 18984 3354"/>
                  <a:gd name="T85" fmla="*/ T84 w 17384"/>
                  <a:gd name="T86" fmla="+- 0 14732 5573"/>
                  <a:gd name="T87" fmla="*/ 14732 h 10007"/>
                  <a:gd name="T88" fmla="+- 0 18954 3354"/>
                  <a:gd name="T89" fmla="*/ T88 w 17384"/>
                  <a:gd name="T90" fmla="+- 0 14769 5573"/>
                  <a:gd name="T91" fmla="*/ 14769 h 10007"/>
                  <a:gd name="T92" fmla="+- 0 18936 3354"/>
                  <a:gd name="T93" fmla="*/ T92 w 17384"/>
                  <a:gd name="T94" fmla="+- 0 14769 5573"/>
                  <a:gd name="T95" fmla="*/ 14769 h 10007"/>
                  <a:gd name="T96" fmla="+- 0 18916 3354"/>
                  <a:gd name="T97" fmla="*/ T96 w 17384"/>
                  <a:gd name="T98" fmla="+- 0 14788 5573"/>
                  <a:gd name="T99" fmla="*/ 14788 h 10007"/>
                  <a:gd name="T100" fmla="+- 0 18986 3354"/>
                  <a:gd name="T101" fmla="*/ T100 w 17384"/>
                  <a:gd name="T102" fmla="+- 0 14788 5573"/>
                  <a:gd name="T103" fmla="*/ 14788 h 10007"/>
                  <a:gd name="T104" fmla="+- 0 19002 3354"/>
                  <a:gd name="T105" fmla="*/ T104 w 17384"/>
                  <a:gd name="T106" fmla="+- 0 14769 5573"/>
                  <a:gd name="T107" fmla="*/ 14769 h 10007"/>
                  <a:gd name="T108" fmla="+- 0 19035 3354"/>
                  <a:gd name="T109" fmla="*/ T108 w 17384"/>
                  <a:gd name="T110" fmla="+- 0 14713 5573"/>
                  <a:gd name="T111" fmla="*/ 14713 h 10007"/>
                  <a:gd name="T112" fmla="+- 0 19047 3354"/>
                  <a:gd name="T113" fmla="*/ T112 w 17384"/>
                  <a:gd name="T114" fmla="+- 0 13789 5573"/>
                  <a:gd name="T115" fmla="*/ 13789 h 10007"/>
                  <a:gd name="T116" fmla="+- 0 19047 3354"/>
                  <a:gd name="T117" fmla="*/ T116 w 17384"/>
                  <a:gd name="T118" fmla="+- 0 6101 5573"/>
                  <a:gd name="T119" fmla="*/ 6101 h 10007"/>
                  <a:gd name="T120" fmla="+- 0 19042 3354"/>
                  <a:gd name="T121" fmla="*/ T120 w 17384"/>
                  <a:gd name="T122" fmla="+- 0 6025 5573"/>
                  <a:gd name="T123" fmla="*/ 6025 h 10007"/>
                  <a:gd name="T124" fmla="+- 0 19025 3354"/>
                  <a:gd name="T125" fmla="*/ T124 w 17384"/>
                  <a:gd name="T126" fmla="+- 0 5950 5573"/>
                  <a:gd name="T127" fmla="*/ 5950 h 10007"/>
                  <a:gd name="T128" fmla="+- 0 19013 3354"/>
                  <a:gd name="T129" fmla="*/ T128 w 17384"/>
                  <a:gd name="T130" fmla="+- 0 5931 5573"/>
                  <a:gd name="T131" fmla="*/ 5931 h 10007"/>
                  <a:gd name="T132" fmla="+- 0 18999 3354"/>
                  <a:gd name="T133" fmla="*/ T132 w 17384"/>
                  <a:gd name="T134" fmla="+- 0 5893 5573"/>
                  <a:gd name="T135" fmla="*/ 5893 h 10007"/>
                  <a:gd name="T136" fmla="+- 0 18982 3354"/>
                  <a:gd name="T137" fmla="*/ T136 w 17384"/>
                  <a:gd name="T138" fmla="+- 0 5856 5573"/>
                  <a:gd name="T139" fmla="*/ 5856 h 10007"/>
                  <a:gd name="T140" fmla="+- 0 18963 3354"/>
                  <a:gd name="T141" fmla="*/ T140 w 17384"/>
                  <a:gd name="T142" fmla="+- 0 5837 5573"/>
                  <a:gd name="T143" fmla="*/ 5837 h 10007"/>
                  <a:gd name="T144" fmla="+- 0 18942 3354"/>
                  <a:gd name="T145" fmla="*/ T144 w 17384"/>
                  <a:gd name="T146" fmla="+- 0 5818 5573"/>
                  <a:gd name="T147" fmla="*/ 5818 h 10007"/>
                  <a:gd name="T148" fmla="+- 0 18919 3354"/>
                  <a:gd name="T149" fmla="*/ T148 w 17384"/>
                  <a:gd name="T150" fmla="+- 0 5780 5573"/>
                  <a:gd name="T151" fmla="*/ 5780 h 10007"/>
                  <a:gd name="T152" fmla="+- 0 18895 3354"/>
                  <a:gd name="T153" fmla="*/ T152 w 17384"/>
                  <a:gd name="T154" fmla="+- 0 5761 5573"/>
                  <a:gd name="T155" fmla="*/ 5761 h 10007"/>
                  <a:gd name="T156" fmla="+- 0 18869 3354"/>
                  <a:gd name="T157" fmla="*/ T156 w 17384"/>
                  <a:gd name="T158" fmla="+- 0 5742 5573"/>
                  <a:gd name="T159" fmla="*/ 5742 h 10007"/>
                  <a:gd name="T160" fmla="+- 0 18841 3354"/>
                  <a:gd name="T161" fmla="*/ T160 w 17384"/>
                  <a:gd name="T162" fmla="+- 0 5724 5573"/>
                  <a:gd name="T163" fmla="*/ 5724 h 10007"/>
                  <a:gd name="T164" fmla="+- 0 18812 3354"/>
                  <a:gd name="T165" fmla="*/ T164 w 17384"/>
                  <a:gd name="T166" fmla="+- 0 5705 5573"/>
                  <a:gd name="T167" fmla="*/ 5705 h 10007"/>
                  <a:gd name="T168" fmla="+- 0 18781 3354"/>
                  <a:gd name="T169" fmla="*/ T168 w 17384"/>
                  <a:gd name="T170" fmla="+- 0 5686 5573"/>
                  <a:gd name="T171" fmla="*/ 5686 h 10007"/>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 ang="0">
                    <a:pos x="T41" y="T43"/>
                  </a:cxn>
                  <a:cxn ang="0">
                    <a:pos x="T45" y="T47"/>
                  </a:cxn>
                  <a:cxn ang="0">
                    <a:pos x="T49" y="T51"/>
                  </a:cxn>
                  <a:cxn ang="0">
                    <a:pos x="T53" y="T55"/>
                  </a:cxn>
                  <a:cxn ang="0">
                    <a:pos x="T57" y="T59"/>
                  </a:cxn>
                  <a:cxn ang="0">
                    <a:pos x="T61" y="T63"/>
                  </a:cxn>
                  <a:cxn ang="0">
                    <a:pos x="T65" y="T67"/>
                  </a:cxn>
                  <a:cxn ang="0">
                    <a:pos x="T69" y="T71"/>
                  </a:cxn>
                  <a:cxn ang="0">
                    <a:pos x="T73" y="T75"/>
                  </a:cxn>
                  <a:cxn ang="0">
                    <a:pos x="T77" y="T79"/>
                  </a:cxn>
                  <a:cxn ang="0">
                    <a:pos x="T81" y="T83"/>
                  </a:cxn>
                  <a:cxn ang="0">
                    <a:pos x="T85" y="T87"/>
                  </a:cxn>
                  <a:cxn ang="0">
                    <a:pos x="T89" y="T91"/>
                  </a:cxn>
                  <a:cxn ang="0">
                    <a:pos x="T93" y="T95"/>
                  </a:cxn>
                  <a:cxn ang="0">
                    <a:pos x="T97" y="T99"/>
                  </a:cxn>
                  <a:cxn ang="0">
                    <a:pos x="T101" y="T103"/>
                  </a:cxn>
                  <a:cxn ang="0">
                    <a:pos x="T105" y="T107"/>
                  </a:cxn>
                  <a:cxn ang="0">
                    <a:pos x="T109" y="T111"/>
                  </a:cxn>
                  <a:cxn ang="0">
                    <a:pos x="T113" y="T115"/>
                  </a:cxn>
                  <a:cxn ang="0">
                    <a:pos x="T117" y="T119"/>
                  </a:cxn>
                  <a:cxn ang="0">
                    <a:pos x="T121" y="T123"/>
                  </a:cxn>
                  <a:cxn ang="0">
                    <a:pos x="T125" y="T127"/>
                  </a:cxn>
                  <a:cxn ang="0">
                    <a:pos x="T129" y="T131"/>
                  </a:cxn>
                  <a:cxn ang="0">
                    <a:pos x="T133" y="T135"/>
                  </a:cxn>
                  <a:cxn ang="0">
                    <a:pos x="T137" y="T139"/>
                  </a:cxn>
                  <a:cxn ang="0">
                    <a:pos x="T141" y="T143"/>
                  </a:cxn>
                  <a:cxn ang="0">
                    <a:pos x="T145" y="T147"/>
                  </a:cxn>
                  <a:cxn ang="0">
                    <a:pos x="T149" y="T151"/>
                  </a:cxn>
                  <a:cxn ang="0">
                    <a:pos x="T153" y="T155"/>
                  </a:cxn>
                  <a:cxn ang="0">
                    <a:pos x="T157" y="T159"/>
                  </a:cxn>
                  <a:cxn ang="0">
                    <a:pos x="T161" y="T163"/>
                  </a:cxn>
                  <a:cxn ang="0">
                    <a:pos x="T165" y="T167"/>
                  </a:cxn>
                  <a:cxn ang="0">
                    <a:pos x="T169" y="T171"/>
                  </a:cxn>
                </a:cxnLst>
                <a:rect l="0" t="0" r="r" b="b"/>
                <a:pathLst>
                  <a:path w="17384" h="10007">
                    <a:moveTo>
                      <a:pt x="15427" y="113"/>
                    </a:moveTo>
                    <a:lnTo>
                      <a:pt x="15290" y="113"/>
                    </a:lnTo>
                    <a:lnTo>
                      <a:pt x="15322" y="132"/>
                    </a:lnTo>
                    <a:lnTo>
                      <a:pt x="15383" y="132"/>
                    </a:lnTo>
                    <a:lnTo>
                      <a:pt x="15413" y="151"/>
                    </a:lnTo>
                    <a:lnTo>
                      <a:pt x="15441" y="169"/>
                    </a:lnTo>
                    <a:lnTo>
                      <a:pt x="15468" y="188"/>
                    </a:lnTo>
                    <a:lnTo>
                      <a:pt x="15493" y="188"/>
                    </a:lnTo>
                    <a:lnTo>
                      <a:pt x="15517" y="207"/>
                    </a:lnTo>
                    <a:lnTo>
                      <a:pt x="15540" y="245"/>
                    </a:lnTo>
                    <a:lnTo>
                      <a:pt x="15560" y="264"/>
                    </a:lnTo>
                    <a:lnTo>
                      <a:pt x="15580" y="283"/>
                    </a:lnTo>
                    <a:lnTo>
                      <a:pt x="15597" y="301"/>
                    </a:lnTo>
                    <a:lnTo>
                      <a:pt x="15612" y="339"/>
                    </a:lnTo>
                    <a:lnTo>
                      <a:pt x="15625" y="358"/>
                    </a:lnTo>
                    <a:lnTo>
                      <a:pt x="15636" y="396"/>
                    </a:lnTo>
                    <a:lnTo>
                      <a:pt x="15645" y="414"/>
                    </a:lnTo>
                    <a:lnTo>
                      <a:pt x="15651" y="452"/>
                    </a:lnTo>
                    <a:lnTo>
                      <a:pt x="15655" y="490"/>
                    </a:lnTo>
                    <a:lnTo>
                      <a:pt x="15657" y="528"/>
                    </a:lnTo>
                    <a:lnTo>
                      <a:pt x="15657" y="9083"/>
                    </a:lnTo>
                    <a:lnTo>
                      <a:pt x="15630" y="9159"/>
                    </a:lnTo>
                    <a:lnTo>
                      <a:pt x="15600" y="9196"/>
                    </a:lnTo>
                    <a:lnTo>
                      <a:pt x="15582" y="9196"/>
                    </a:lnTo>
                    <a:lnTo>
                      <a:pt x="15562" y="9215"/>
                    </a:lnTo>
                    <a:lnTo>
                      <a:pt x="15632" y="9215"/>
                    </a:lnTo>
                    <a:lnTo>
                      <a:pt x="15648" y="9196"/>
                    </a:lnTo>
                    <a:lnTo>
                      <a:pt x="15681" y="9140"/>
                    </a:lnTo>
                    <a:lnTo>
                      <a:pt x="15693" y="8216"/>
                    </a:lnTo>
                    <a:lnTo>
                      <a:pt x="15693" y="528"/>
                    </a:lnTo>
                    <a:lnTo>
                      <a:pt x="15688" y="452"/>
                    </a:lnTo>
                    <a:lnTo>
                      <a:pt x="15671" y="377"/>
                    </a:lnTo>
                    <a:lnTo>
                      <a:pt x="15659" y="358"/>
                    </a:lnTo>
                    <a:lnTo>
                      <a:pt x="15645" y="320"/>
                    </a:lnTo>
                    <a:lnTo>
                      <a:pt x="15628" y="283"/>
                    </a:lnTo>
                    <a:lnTo>
                      <a:pt x="15609" y="264"/>
                    </a:lnTo>
                    <a:lnTo>
                      <a:pt x="15588" y="245"/>
                    </a:lnTo>
                    <a:lnTo>
                      <a:pt x="15565" y="207"/>
                    </a:lnTo>
                    <a:lnTo>
                      <a:pt x="15541" y="188"/>
                    </a:lnTo>
                    <a:lnTo>
                      <a:pt x="15515" y="169"/>
                    </a:lnTo>
                    <a:lnTo>
                      <a:pt x="15487" y="151"/>
                    </a:lnTo>
                    <a:lnTo>
                      <a:pt x="15458" y="132"/>
                    </a:lnTo>
                    <a:lnTo>
                      <a:pt x="15427" y="113"/>
                    </a:lnTo>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ts val="1400"/>
                  </a:lnSpc>
                  <a:spcBef>
                    <a:spcPts val="0"/>
                  </a:spcBef>
                  <a:spcAft>
                    <a:spcPct val="0"/>
                  </a:spcAft>
                  <a:buClrTx/>
                  <a:buSzTx/>
                  <a:buFontTx/>
                  <a:buNone/>
                  <a:tabLst/>
                  <a:defRPr/>
                </a:pPr>
                <a:endParaRPr kumimoji="0" lang="en-US" sz="1200" b="0" i="0" u="none" strike="noStrike" kern="0" cap="none" spc="0" normalizeH="0" baseline="0" noProof="0" dirty="0">
                  <a:ln>
                    <a:noFill/>
                  </a:ln>
                  <a:solidFill>
                    <a:srgbClr val="010024"/>
                  </a:solidFill>
                  <a:effectLst/>
                  <a:uLnTx/>
                  <a:uFillTx/>
                  <a:latin typeface="EYInterstate Regular" pitchFamily="1" charset="0"/>
                  <a:ea typeface="+mn-ea"/>
                  <a:cs typeface="+mn-cs"/>
                </a:endParaRPr>
              </a:p>
            </p:txBody>
          </p:sp>
          <p:sp>
            <p:nvSpPr>
              <p:cNvPr id="45" name="Freeform 29">
                <a:extLst>
                  <a:ext uri="{FF2B5EF4-FFF2-40B4-BE49-F238E27FC236}">
                    <a16:creationId xmlns:a16="http://schemas.microsoft.com/office/drawing/2014/main" id="{C0268DC7-C211-4ADD-9087-D4163AEA6E69}"/>
                  </a:ext>
                </a:extLst>
              </p:cNvPr>
              <p:cNvSpPr>
                <a:spLocks/>
              </p:cNvSpPr>
              <p:nvPr/>
            </p:nvSpPr>
            <p:spPr bwMode="auto">
              <a:xfrm>
                <a:off x="3354" y="5573"/>
                <a:ext cx="17384" cy="10007"/>
              </a:xfrm>
              <a:custGeom>
                <a:avLst/>
                <a:gdLst>
                  <a:gd name="T0" fmla="+- 0 18716 3354"/>
                  <a:gd name="T1" fmla="*/ T0 w 17384"/>
                  <a:gd name="T2" fmla="+- 0 5667 5573"/>
                  <a:gd name="T3" fmla="*/ 5667 h 10007"/>
                  <a:gd name="T4" fmla="+- 0 5379 3354"/>
                  <a:gd name="T5" fmla="*/ T4 w 17384"/>
                  <a:gd name="T6" fmla="+- 0 5667 5573"/>
                  <a:gd name="T7" fmla="*/ 5667 h 10007"/>
                  <a:gd name="T8" fmla="+- 0 5346 3354"/>
                  <a:gd name="T9" fmla="*/ T8 w 17384"/>
                  <a:gd name="T10" fmla="+- 0 5686 5573"/>
                  <a:gd name="T11" fmla="*/ 5686 h 10007"/>
                  <a:gd name="T12" fmla="+- 0 18749 3354"/>
                  <a:gd name="T13" fmla="*/ T12 w 17384"/>
                  <a:gd name="T14" fmla="+- 0 5686 5573"/>
                  <a:gd name="T15" fmla="*/ 5686 h 10007"/>
                  <a:gd name="T16" fmla="+- 0 18716 3354"/>
                  <a:gd name="T17" fmla="*/ T16 w 17384"/>
                  <a:gd name="T18" fmla="+- 0 5667 5573"/>
                  <a:gd name="T19" fmla="*/ 5667 h 10007"/>
                </a:gdLst>
                <a:ahLst/>
                <a:cxnLst>
                  <a:cxn ang="0">
                    <a:pos x="T1" y="T3"/>
                  </a:cxn>
                  <a:cxn ang="0">
                    <a:pos x="T5" y="T7"/>
                  </a:cxn>
                  <a:cxn ang="0">
                    <a:pos x="T9" y="T11"/>
                  </a:cxn>
                  <a:cxn ang="0">
                    <a:pos x="T13" y="T15"/>
                  </a:cxn>
                  <a:cxn ang="0">
                    <a:pos x="T17" y="T19"/>
                  </a:cxn>
                </a:cxnLst>
                <a:rect l="0" t="0" r="r" b="b"/>
                <a:pathLst>
                  <a:path w="17384" h="10007">
                    <a:moveTo>
                      <a:pt x="15362" y="94"/>
                    </a:moveTo>
                    <a:lnTo>
                      <a:pt x="2025" y="94"/>
                    </a:lnTo>
                    <a:lnTo>
                      <a:pt x="1992" y="113"/>
                    </a:lnTo>
                    <a:lnTo>
                      <a:pt x="15395" y="113"/>
                    </a:lnTo>
                    <a:lnTo>
                      <a:pt x="15362" y="94"/>
                    </a:lnTo>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ts val="1400"/>
                  </a:lnSpc>
                  <a:spcBef>
                    <a:spcPts val="0"/>
                  </a:spcBef>
                  <a:spcAft>
                    <a:spcPct val="0"/>
                  </a:spcAft>
                  <a:buClrTx/>
                  <a:buSzTx/>
                  <a:buFontTx/>
                  <a:buNone/>
                  <a:tabLst/>
                  <a:defRPr/>
                </a:pPr>
                <a:endParaRPr kumimoji="0" lang="en-US" sz="1200" b="0" i="0" u="none" strike="noStrike" kern="0" cap="none" spc="0" normalizeH="0" baseline="0" noProof="0" dirty="0">
                  <a:ln>
                    <a:noFill/>
                  </a:ln>
                  <a:solidFill>
                    <a:srgbClr val="010024"/>
                  </a:solidFill>
                  <a:effectLst/>
                  <a:uLnTx/>
                  <a:uFillTx/>
                  <a:latin typeface="EYInterstate Regular" pitchFamily="1" charset="0"/>
                  <a:ea typeface="+mn-ea"/>
                  <a:cs typeface="+mn-cs"/>
                </a:endParaRPr>
              </a:p>
            </p:txBody>
          </p:sp>
          <p:sp>
            <p:nvSpPr>
              <p:cNvPr id="46" name="Freeform 30">
                <a:extLst>
                  <a:ext uri="{FF2B5EF4-FFF2-40B4-BE49-F238E27FC236}">
                    <a16:creationId xmlns:a16="http://schemas.microsoft.com/office/drawing/2014/main" id="{51E43AA0-1162-4758-9E9F-91C0CED68B2A}"/>
                  </a:ext>
                </a:extLst>
              </p:cNvPr>
              <p:cNvSpPr>
                <a:spLocks/>
              </p:cNvSpPr>
              <p:nvPr/>
            </p:nvSpPr>
            <p:spPr bwMode="auto">
              <a:xfrm>
                <a:off x="3354" y="5573"/>
                <a:ext cx="17384" cy="10007"/>
              </a:xfrm>
              <a:custGeom>
                <a:avLst/>
                <a:gdLst>
                  <a:gd name="T0" fmla="+- 0 18611 3354"/>
                  <a:gd name="T1" fmla="*/ T0 w 17384"/>
                  <a:gd name="T2" fmla="+- 0 5648 5573"/>
                  <a:gd name="T3" fmla="*/ 5648 h 10007"/>
                  <a:gd name="T4" fmla="+- 0 5483 3354"/>
                  <a:gd name="T5" fmla="*/ T4 w 17384"/>
                  <a:gd name="T6" fmla="+- 0 5648 5573"/>
                  <a:gd name="T7" fmla="*/ 5648 h 10007"/>
                  <a:gd name="T8" fmla="+- 0 5448 3354"/>
                  <a:gd name="T9" fmla="*/ T8 w 17384"/>
                  <a:gd name="T10" fmla="+- 0 5667 5573"/>
                  <a:gd name="T11" fmla="*/ 5667 h 10007"/>
                  <a:gd name="T12" fmla="+- 0 18647 3354"/>
                  <a:gd name="T13" fmla="*/ T12 w 17384"/>
                  <a:gd name="T14" fmla="+- 0 5667 5573"/>
                  <a:gd name="T15" fmla="*/ 5667 h 10007"/>
                  <a:gd name="T16" fmla="+- 0 18611 3354"/>
                  <a:gd name="T17" fmla="*/ T16 w 17384"/>
                  <a:gd name="T18" fmla="+- 0 5648 5573"/>
                  <a:gd name="T19" fmla="*/ 5648 h 10007"/>
                </a:gdLst>
                <a:ahLst/>
                <a:cxnLst>
                  <a:cxn ang="0">
                    <a:pos x="T1" y="T3"/>
                  </a:cxn>
                  <a:cxn ang="0">
                    <a:pos x="T5" y="T7"/>
                  </a:cxn>
                  <a:cxn ang="0">
                    <a:pos x="T9" y="T11"/>
                  </a:cxn>
                  <a:cxn ang="0">
                    <a:pos x="T13" y="T15"/>
                  </a:cxn>
                  <a:cxn ang="0">
                    <a:pos x="T17" y="T19"/>
                  </a:cxn>
                </a:cxnLst>
                <a:rect l="0" t="0" r="r" b="b"/>
                <a:pathLst>
                  <a:path w="17384" h="10007">
                    <a:moveTo>
                      <a:pt x="15257" y="75"/>
                    </a:moveTo>
                    <a:lnTo>
                      <a:pt x="2129" y="75"/>
                    </a:lnTo>
                    <a:lnTo>
                      <a:pt x="2094" y="94"/>
                    </a:lnTo>
                    <a:lnTo>
                      <a:pt x="15293" y="94"/>
                    </a:lnTo>
                    <a:lnTo>
                      <a:pt x="15257" y="75"/>
                    </a:lnTo>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ts val="1400"/>
                  </a:lnSpc>
                  <a:spcBef>
                    <a:spcPts val="0"/>
                  </a:spcBef>
                  <a:spcAft>
                    <a:spcPct val="0"/>
                  </a:spcAft>
                  <a:buClrTx/>
                  <a:buSzTx/>
                  <a:buFontTx/>
                  <a:buNone/>
                  <a:tabLst/>
                  <a:defRPr/>
                </a:pPr>
                <a:endParaRPr kumimoji="0" lang="en-US" sz="1200" b="0" i="0" u="none" strike="noStrike" kern="0" cap="none" spc="0" normalizeH="0" baseline="0" noProof="0" dirty="0">
                  <a:ln>
                    <a:noFill/>
                  </a:ln>
                  <a:solidFill>
                    <a:srgbClr val="010024"/>
                  </a:solidFill>
                  <a:effectLst/>
                  <a:uLnTx/>
                  <a:uFillTx/>
                  <a:latin typeface="EYInterstate Regular" pitchFamily="1" charset="0"/>
                  <a:ea typeface="+mn-ea"/>
                  <a:cs typeface="+mn-cs"/>
                </a:endParaRPr>
              </a:p>
            </p:txBody>
          </p:sp>
          <p:sp>
            <p:nvSpPr>
              <p:cNvPr id="47" name="Freeform 31">
                <a:extLst>
                  <a:ext uri="{FF2B5EF4-FFF2-40B4-BE49-F238E27FC236}">
                    <a16:creationId xmlns:a16="http://schemas.microsoft.com/office/drawing/2014/main" id="{A7E59EEE-A61F-460F-BEEC-8CF2F505E257}"/>
                  </a:ext>
                </a:extLst>
              </p:cNvPr>
              <p:cNvSpPr>
                <a:spLocks/>
              </p:cNvSpPr>
              <p:nvPr/>
            </p:nvSpPr>
            <p:spPr bwMode="auto">
              <a:xfrm>
                <a:off x="3354" y="5573"/>
                <a:ext cx="17384" cy="10007"/>
              </a:xfrm>
              <a:custGeom>
                <a:avLst/>
                <a:gdLst>
                  <a:gd name="T0" fmla="+- 0 18690 3354"/>
                  <a:gd name="T1" fmla="*/ T0 w 17384"/>
                  <a:gd name="T2" fmla="+- 0 5573 5573"/>
                  <a:gd name="T3" fmla="*/ 5573 h 10007"/>
                  <a:gd name="T4" fmla="+- 0 5404 3354"/>
                  <a:gd name="T5" fmla="*/ T4 w 17384"/>
                  <a:gd name="T6" fmla="+- 0 5573 5573"/>
                  <a:gd name="T7" fmla="*/ 5573 h 10007"/>
                  <a:gd name="T8" fmla="+- 0 5363 3354"/>
                  <a:gd name="T9" fmla="*/ T8 w 17384"/>
                  <a:gd name="T10" fmla="+- 0 5592 5573"/>
                  <a:gd name="T11" fmla="*/ 5592 h 10007"/>
                  <a:gd name="T12" fmla="+- 0 18732 3354"/>
                  <a:gd name="T13" fmla="*/ T12 w 17384"/>
                  <a:gd name="T14" fmla="+- 0 5592 5573"/>
                  <a:gd name="T15" fmla="*/ 5592 h 10007"/>
                  <a:gd name="T16" fmla="+- 0 18690 3354"/>
                  <a:gd name="T17" fmla="*/ T16 w 17384"/>
                  <a:gd name="T18" fmla="+- 0 5573 5573"/>
                  <a:gd name="T19" fmla="*/ 5573 h 10007"/>
                </a:gdLst>
                <a:ahLst/>
                <a:cxnLst>
                  <a:cxn ang="0">
                    <a:pos x="T1" y="T3"/>
                  </a:cxn>
                  <a:cxn ang="0">
                    <a:pos x="T5" y="T7"/>
                  </a:cxn>
                  <a:cxn ang="0">
                    <a:pos x="T9" y="T11"/>
                  </a:cxn>
                  <a:cxn ang="0">
                    <a:pos x="T13" y="T15"/>
                  </a:cxn>
                  <a:cxn ang="0">
                    <a:pos x="T17" y="T19"/>
                  </a:cxn>
                </a:cxnLst>
                <a:rect l="0" t="0" r="r" b="b"/>
                <a:pathLst>
                  <a:path w="17384" h="10007">
                    <a:moveTo>
                      <a:pt x="15336" y="0"/>
                    </a:moveTo>
                    <a:lnTo>
                      <a:pt x="2050" y="0"/>
                    </a:lnTo>
                    <a:lnTo>
                      <a:pt x="2009" y="19"/>
                    </a:lnTo>
                    <a:lnTo>
                      <a:pt x="15378" y="19"/>
                    </a:lnTo>
                    <a:lnTo>
                      <a:pt x="15336" y="0"/>
                    </a:lnTo>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ts val="1400"/>
                  </a:lnSpc>
                  <a:spcBef>
                    <a:spcPts val="0"/>
                  </a:spcBef>
                  <a:spcAft>
                    <a:spcPct val="0"/>
                  </a:spcAft>
                  <a:buClrTx/>
                  <a:buSzTx/>
                  <a:buFontTx/>
                  <a:buNone/>
                  <a:tabLst/>
                  <a:defRPr/>
                </a:pPr>
                <a:endParaRPr kumimoji="0" lang="en-US" sz="1200" b="0" i="0" u="none" strike="noStrike" kern="0" cap="none" spc="0" normalizeH="0" baseline="0" noProof="0" dirty="0">
                  <a:ln>
                    <a:noFill/>
                  </a:ln>
                  <a:solidFill>
                    <a:srgbClr val="010024"/>
                  </a:solidFill>
                  <a:effectLst/>
                  <a:uLnTx/>
                  <a:uFillTx/>
                  <a:latin typeface="EYInterstate Regular" pitchFamily="1" charset="0"/>
                  <a:ea typeface="+mn-ea"/>
                  <a:cs typeface="+mn-cs"/>
                </a:endParaRPr>
              </a:p>
            </p:txBody>
          </p:sp>
        </p:grpSp>
        <p:grpSp>
          <p:nvGrpSpPr>
            <p:cNvPr id="10" name="Group 32">
              <a:extLst>
                <a:ext uri="{FF2B5EF4-FFF2-40B4-BE49-F238E27FC236}">
                  <a16:creationId xmlns:a16="http://schemas.microsoft.com/office/drawing/2014/main" id="{114C09BE-2919-4294-A611-0BBDFFE26302}"/>
                </a:ext>
              </a:extLst>
            </p:cNvPr>
            <p:cNvGrpSpPr>
              <a:grpSpLocks/>
            </p:cNvGrpSpPr>
            <p:nvPr/>
          </p:nvGrpSpPr>
          <p:grpSpPr bwMode="auto">
            <a:xfrm>
              <a:off x="5397" y="6126"/>
              <a:ext cx="13298" cy="8350"/>
              <a:chOff x="5397" y="6126"/>
              <a:chExt cx="13298" cy="8350"/>
            </a:xfrm>
            <a:grpFill/>
          </p:grpSpPr>
          <p:sp>
            <p:nvSpPr>
              <p:cNvPr id="19" name="Freeform 33">
                <a:extLst>
                  <a:ext uri="{FF2B5EF4-FFF2-40B4-BE49-F238E27FC236}">
                    <a16:creationId xmlns:a16="http://schemas.microsoft.com/office/drawing/2014/main" id="{2E1DB840-5D29-4F9F-B12C-64A8B11631B7}"/>
                  </a:ext>
                </a:extLst>
              </p:cNvPr>
              <p:cNvSpPr>
                <a:spLocks/>
              </p:cNvSpPr>
              <p:nvPr/>
            </p:nvSpPr>
            <p:spPr bwMode="auto">
              <a:xfrm>
                <a:off x="5397" y="6126"/>
                <a:ext cx="13298" cy="8350"/>
              </a:xfrm>
              <a:custGeom>
                <a:avLst/>
                <a:gdLst>
                  <a:gd name="T0" fmla="+- 0 18649 5397"/>
                  <a:gd name="T1" fmla="*/ T0 w 13298"/>
                  <a:gd name="T2" fmla="+- 0 6126 6126"/>
                  <a:gd name="T3" fmla="*/ 6126 h 8350"/>
                  <a:gd name="T4" fmla="+- 0 5443 5397"/>
                  <a:gd name="T5" fmla="*/ T4 w 13298"/>
                  <a:gd name="T6" fmla="+- 0 6126 6126"/>
                  <a:gd name="T7" fmla="*/ 6126 h 8350"/>
                  <a:gd name="T8" fmla="+- 0 5421 5397"/>
                  <a:gd name="T9" fmla="*/ T8 w 13298"/>
                  <a:gd name="T10" fmla="+- 0 6131 6126"/>
                  <a:gd name="T11" fmla="*/ 6131 h 8350"/>
                  <a:gd name="T12" fmla="+- 0 5405 5397"/>
                  <a:gd name="T13" fmla="*/ T12 w 13298"/>
                  <a:gd name="T14" fmla="+- 0 6145 6126"/>
                  <a:gd name="T15" fmla="*/ 6145 h 8350"/>
                  <a:gd name="T16" fmla="+- 0 5397 5397"/>
                  <a:gd name="T17" fmla="*/ T16 w 13298"/>
                  <a:gd name="T18" fmla="+- 0 6166 6126"/>
                  <a:gd name="T19" fmla="*/ 6166 h 8350"/>
                  <a:gd name="T20" fmla="+- 0 5397 5397"/>
                  <a:gd name="T21" fmla="*/ T20 w 13298"/>
                  <a:gd name="T22" fmla="+- 0 14430 6126"/>
                  <a:gd name="T23" fmla="*/ 14430 h 8350"/>
                  <a:gd name="T24" fmla="+- 0 5402 5397"/>
                  <a:gd name="T25" fmla="*/ T24 w 13298"/>
                  <a:gd name="T26" fmla="+- 0 14451 6126"/>
                  <a:gd name="T27" fmla="*/ 14451 h 8350"/>
                  <a:gd name="T28" fmla="+- 0 5417 5397"/>
                  <a:gd name="T29" fmla="*/ T28 w 13298"/>
                  <a:gd name="T30" fmla="+- 0 14468 6126"/>
                  <a:gd name="T31" fmla="*/ 14468 h 8350"/>
                  <a:gd name="T32" fmla="+- 0 5437 5397"/>
                  <a:gd name="T33" fmla="*/ T32 w 13298"/>
                  <a:gd name="T34" fmla="+- 0 14475 6126"/>
                  <a:gd name="T35" fmla="*/ 14475 h 8350"/>
                  <a:gd name="T36" fmla="+- 0 18649 5397"/>
                  <a:gd name="T37" fmla="*/ T36 w 13298"/>
                  <a:gd name="T38" fmla="+- 0 14476 6126"/>
                  <a:gd name="T39" fmla="*/ 14476 h 8350"/>
                  <a:gd name="T40" fmla="+- 0 18671 5397"/>
                  <a:gd name="T41" fmla="*/ T40 w 13298"/>
                  <a:gd name="T42" fmla="+- 0 14470 6126"/>
                  <a:gd name="T43" fmla="*/ 14470 h 8350"/>
                  <a:gd name="T44" fmla="+- 0 18687 5397"/>
                  <a:gd name="T45" fmla="*/ T44 w 13298"/>
                  <a:gd name="T46" fmla="+- 0 14456 6126"/>
                  <a:gd name="T47" fmla="*/ 14456 h 8350"/>
                  <a:gd name="T48" fmla="+- 0 18695 5397"/>
                  <a:gd name="T49" fmla="*/ T48 w 13298"/>
                  <a:gd name="T50" fmla="+- 0 14435 6126"/>
                  <a:gd name="T51" fmla="*/ 14435 h 8350"/>
                  <a:gd name="T52" fmla="+- 0 18695 5397"/>
                  <a:gd name="T53" fmla="*/ T52 w 13298"/>
                  <a:gd name="T54" fmla="+- 0 14430 6126"/>
                  <a:gd name="T55" fmla="*/ 14430 h 8350"/>
                  <a:gd name="T56" fmla="+- 0 5443 5397"/>
                  <a:gd name="T57" fmla="*/ T56 w 13298"/>
                  <a:gd name="T58" fmla="+- 0 14430 6126"/>
                  <a:gd name="T59" fmla="*/ 14430 h 8350"/>
                  <a:gd name="T60" fmla="+- 0 5443 5397"/>
                  <a:gd name="T61" fmla="*/ T60 w 13298"/>
                  <a:gd name="T62" fmla="+- 0 6171 6126"/>
                  <a:gd name="T63" fmla="*/ 6171 h 8350"/>
                  <a:gd name="T64" fmla="+- 0 18695 5397"/>
                  <a:gd name="T65" fmla="*/ T64 w 13298"/>
                  <a:gd name="T66" fmla="+- 0 6171 6126"/>
                  <a:gd name="T67" fmla="*/ 6171 h 8350"/>
                  <a:gd name="T68" fmla="+- 0 18690 5397"/>
                  <a:gd name="T69" fmla="*/ T68 w 13298"/>
                  <a:gd name="T70" fmla="+- 0 6150 6126"/>
                  <a:gd name="T71" fmla="*/ 6150 h 8350"/>
                  <a:gd name="T72" fmla="+- 0 18675 5397"/>
                  <a:gd name="T73" fmla="*/ T72 w 13298"/>
                  <a:gd name="T74" fmla="+- 0 6134 6126"/>
                  <a:gd name="T75" fmla="*/ 6134 h 8350"/>
                  <a:gd name="T76" fmla="+- 0 18655 5397"/>
                  <a:gd name="T77" fmla="*/ T76 w 13298"/>
                  <a:gd name="T78" fmla="+- 0 6126 6126"/>
                  <a:gd name="T79" fmla="*/ 6126 h 8350"/>
                  <a:gd name="T80" fmla="+- 0 18649 5397"/>
                  <a:gd name="T81" fmla="*/ T80 w 13298"/>
                  <a:gd name="T82" fmla="+- 0 6126 6126"/>
                  <a:gd name="T83" fmla="*/ 6126 h 8350"/>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 ang="0">
                    <a:pos x="T41" y="T43"/>
                  </a:cxn>
                  <a:cxn ang="0">
                    <a:pos x="T45" y="T47"/>
                  </a:cxn>
                  <a:cxn ang="0">
                    <a:pos x="T49" y="T51"/>
                  </a:cxn>
                  <a:cxn ang="0">
                    <a:pos x="T53" y="T55"/>
                  </a:cxn>
                  <a:cxn ang="0">
                    <a:pos x="T57" y="T59"/>
                  </a:cxn>
                  <a:cxn ang="0">
                    <a:pos x="T61" y="T63"/>
                  </a:cxn>
                  <a:cxn ang="0">
                    <a:pos x="T65" y="T67"/>
                  </a:cxn>
                  <a:cxn ang="0">
                    <a:pos x="T69" y="T71"/>
                  </a:cxn>
                  <a:cxn ang="0">
                    <a:pos x="T73" y="T75"/>
                  </a:cxn>
                  <a:cxn ang="0">
                    <a:pos x="T77" y="T79"/>
                  </a:cxn>
                  <a:cxn ang="0">
                    <a:pos x="T81" y="T83"/>
                  </a:cxn>
                </a:cxnLst>
                <a:rect l="0" t="0" r="r" b="b"/>
                <a:pathLst>
                  <a:path w="13298" h="8350">
                    <a:moveTo>
                      <a:pt x="13252" y="0"/>
                    </a:moveTo>
                    <a:lnTo>
                      <a:pt x="46" y="0"/>
                    </a:lnTo>
                    <a:lnTo>
                      <a:pt x="24" y="5"/>
                    </a:lnTo>
                    <a:lnTo>
                      <a:pt x="8" y="19"/>
                    </a:lnTo>
                    <a:lnTo>
                      <a:pt x="0" y="40"/>
                    </a:lnTo>
                    <a:lnTo>
                      <a:pt x="0" y="8304"/>
                    </a:lnTo>
                    <a:lnTo>
                      <a:pt x="5" y="8325"/>
                    </a:lnTo>
                    <a:lnTo>
                      <a:pt x="20" y="8342"/>
                    </a:lnTo>
                    <a:lnTo>
                      <a:pt x="40" y="8349"/>
                    </a:lnTo>
                    <a:lnTo>
                      <a:pt x="13252" y="8350"/>
                    </a:lnTo>
                    <a:lnTo>
                      <a:pt x="13274" y="8344"/>
                    </a:lnTo>
                    <a:lnTo>
                      <a:pt x="13290" y="8330"/>
                    </a:lnTo>
                    <a:lnTo>
                      <a:pt x="13298" y="8309"/>
                    </a:lnTo>
                    <a:lnTo>
                      <a:pt x="13298" y="8304"/>
                    </a:lnTo>
                    <a:lnTo>
                      <a:pt x="46" y="8304"/>
                    </a:lnTo>
                    <a:lnTo>
                      <a:pt x="46" y="45"/>
                    </a:lnTo>
                    <a:lnTo>
                      <a:pt x="13298" y="45"/>
                    </a:lnTo>
                    <a:lnTo>
                      <a:pt x="13293" y="24"/>
                    </a:lnTo>
                    <a:lnTo>
                      <a:pt x="13278" y="8"/>
                    </a:lnTo>
                    <a:lnTo>
                      <a:pt x="13258" y="0"/>
                    </a:lnTo>
                    <a:lnTo>
                      <a:pt x="13252" y="0"/>
                    </a:lnTo>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ts val="1400"/>
                  </a:lnSpc>
                  <a:spcBef>
                    <a:spcPts val="0"/>
                  </a:spcBef>
                  <a:spcAft>
                    <a:spcPct val="0"/>
                  </a:spcAft>
                  <a:buClrTx/>
                  <a:buSzTx/>
                  <a:buFontTx/>
                  <a:buNone/>
                  <a:tabLst/>
                  <a:defRPr/>
                </a:pPr>
                <a:endParaRPr kumimoji="0" lang="en-US" sz="1200" b="0" i="0" u="none" strike="noStrike" kern="0" cap="none" spc="0" normalizeH="0" baseline="0" noProof="0" dirty="0">
                  <a:ln>
                    <a:noFill/>
                  </a:ln>
                  <a:solidFill>
                    <a:srgbClr val="010024"/>
                  </a:solidFill>
                  <a:effectLst/>
                  <a:uLnTx/>
                  <a:uFillTx/>
                  <a:latin typeface="EYInterstate Regular" pitchFamily="1" charset="0"/>
                  <a:ea typeface="+mn-ea"/>
                  <a:cs typeface="+mn-cs"/>
                </a:endParaRPr>
              </a:p>
            </p:txBody>
          </p:sp>
        </p:grpSp>
        <p:grpSp>
          <p:nvGrpSpPr>
            <p:cNvPr id="11" name="Group 34">
              <a:extLst>
                <a:ext uri="{FF2B5EF4-FFF2-40B4-BE49-F238E27FC236}">
                  <a16:creationId xmlns:a16="http://schemas.microsoft.com/office/drawing/2014/main" id="{E14EC17D-0518-4790-8422-F023E85E588A}"/>
                </a:ext>
              </a:extLst>
            </p:cNvPr>
            <p:cNvGrpSpPr>
              <a:grpSpLocks/>
            </p:cNvGrpSpPr>
            <p:nvPr/>
          </p:nvGrpSpPr>
          <p:grpSpPr bwMode="auto">
            <a:xfrm>
              <a:off x="18649" y="6171"/>
              <a:ext cx="46" cy="8259"/>
              <a:chOff x="18649" y="6171"/>
              <a:chExt cx="46" cy="8259"/>
            </a:xfrm>
            <a:grpFill/>
          </p:grpSpPr>
          <p:sp>
            <p:nvSpPr>
              <p:cNvPr id="18" name="Freeform 35">
                <a:extLst>
                  <a:ext uri="{FF2B5EF4-FFF2-40B4-BE49-F238E27FC236}">
                    <a16:creationId xmlns:a16="http://schemas.microsoft.com/office/drawing/2014/main" id="{0B7195A2-A67B-4CE6-BACC-C5F4D20F81B0}"/>
                  </a:ext>
                </a:extLst>
              </p:cNvPr>
              <p:cNvSpPr>
                <a:spLocks/>
              </p:cNvSpPr>
              <p:nvPr/>
            </p:nvSpPr>
            <p:spPr bwMode="auto">
              <a:xfrm>
                <a:off x="18649" y="6171"/>
                <a:ext cx="46" cy="8259"/>
              </a:xfrm>
              <a:custGeom>
                <a:avLst/>
                <a:gdLst>
                  <a:gd name="T0" fmla="+- 0 18695 18649"/>
                  <a:gd name="T1" fmla="*/ T0 w 46"/>
                  <a:gd name="T2" fmla="+- 0 6171 6171"/>
                  <a:gd name="T3" fmla="*/ 6171 h 8259"/>
                  <a:gd name="T4" fmla="+- 0 18649 18649"/>
                  <a:gd name="T5" fmla="*/ T4 w 46"/>
                  <a:gd name="T6" fmla="+- 0 6171 6171"/>
                  <a:gd name="T7" fmla="*/ 6171 h 8259"/>
                  <a:gd name="T8" fmla="+- 0 18649 18649"/>
                  <a:gd name="T9" fmla="*/ T8 w 46"/>
                  <a:gd name="T10" fmla="+- 0 14430 6171"/>
                  <a:gd name="T11" fmla="*/ 14430 h 8259"/>
                  <a:gd name="T12" fmla="+- 0 18695 18649"/>
                  <a:gd name="T13" fmla="*/ T12 w 46"/>
                  <a:gd name="T14" fmla="+- 0 14430 6171"/>
                  <a:gd name="T15" fmla="*/ 14430 h 8259"/>
                  <a:gd name="T16" fmla="+- 0 18695 18649"/>
                  <a:gd name="T17" fmla="*/ T16 w 46"/>
                  <a:gd name="T18" fmla="+- 0 6171 6171"/>
                  <a:gd name="T19" fmla="*/ 6171 h 8259"/>
                </a:gdLst>
                <a:ahLst/>
                <a:cxnLst>
                  <a:cxn ang="0">
                    <a:pos x="T1" y="T3"/>
                  </a:cxn>
                  <a:cxn ang="0">
                    <a:pos x="T5" y="T7"/>
                  </a:cxn>
                  <a:cxn ang="0">
                    <a:pos x="T9" y="T11"/>
                  </a:cxn>
                  <a:cxn ang="0">
                    <a:pos x="T13" y="T15"/>
                  </a:cxn>
                  <a:cxn ang="0">
                    <a:pos x="T17" y="T19"/>
                  </a:cxn>
                </a:cxnLst>
                <a:rect l="0" t="0" r="r" b="b"/>
                <a:pathLst>
                  <a:path w="46" h="8259">
                    <a:moveTo>
                      <a:pt x="46" y="0"/>
                    </a:moveTo>
                    <a:lnTo>
                      <a:pt x="0" y="0"/>
                    </a:lnTo>
                    <a:lnTo>
                      <a:pt x="0" y="8259"/>
                    </a:lnTo>
                    <a:lnTo>
                      <a:pt x="46" y="8259"/>
                    </a:lnTo>
                    <a:lnTo>
                      <a:pt x="46" y="0"/>
                    </a:lnTo>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ts val="1400"/>
                  </a:lnSpc>
                  <a:spcBef>
                    <a:spcPts val="0"/>
                  </a:spcBef>
                  <a:spcAft>
                    <a:spcPct val="0"/>
                  </a:spcAft>
                  <a:buClrTx/>
                  <a:buSzTx/>
                  <a:buFontTx/>
                  <a:buNone/>
                  <a:tabLst/>
                  <a:defRPr/>
                </a:pPr>
                <a:endParaRPr kumimoji="0" lang="en-US" sz="1200" b="0" i="0" u="none" strike="noStrike" kern="0" cap="none" spc="0" normalizeH="0" baseline="0" noProof="0" dirty="0">
                  <a:ln>
                    <a:noFill/>
                  </a:ln>
                  <a:solidFill>
                    <a:srgbClr val="010024"/>
                  </a:solidFill>
                  <a:effectLst/>
                  <a:uLnTx/>
                  <a:uFillTx/>
                  <a:latin typeface="EYInterstate Regular" pitchFamily="1" charset="0"/>
                  <a:ea typeface="+mn-ea"/>
                  <a:cs typeface="+mn-cs"/>
                </a:endParaRPr>
              </a:p>
            </p:txBody>
          </p:sp>
        </p:grpSp>
        <p:grpSp>
          <p:nvGrpSpPr>
            <p:cNvPr id="12" name="Group 36">
              <a:extLst>
                <a:ext uri="{FF2B5EF4-FFF2-40B4-BE49-F238E27FC236}">
                  <a16:creationId xmlns:a16="http://schemas.microsoft.com/office/drawing/2014/main" id="{3CD17002-4100-4E8F-AAD0-DE29885A002F}"/>
                </a:ext>
              </a:extLst>
            </p:cNvPr>
            <p:cNvGrpSpPr>
              <a:grpSpLocks/>
            </p:cNvGrpSpPr>
            <p:nvPr/>
          </p:nvGrpSpPr>
          <p:grpSpPr bwMode="auto">
            <a:xfrm>
              <a:off x="11977" y="5856"/>
              <a:ext cx="146" cy="146"/>
              <a:chOff x="11977" y="5856"/>
              <a:chExt cx="146" cy="146"/>
            </a:xfrm>
            <a:grpFill/>
          </p:grpSpPr>
          <p:sp>
            <p:nvSpPr>
              <p:cNvPr id="16" name="Freeform 20">
                <a:extLst>
                  <a:ext uri="{FF2B5EF4-FFF2-40B4-BE49-F238E27FC236}">
                    <a16:creationId xmlns:a16="http://schemas.microsoft.com/office/drawing/2014/main" id="{8A350C93-FA62-46D4-BA91-25B6EDA9C37A}"/>
                  </a:ext>
                </a:extLst>
              </p:cNvPr>
              <p:cNvSpPr>
                <a:spLocks/>
              </p:cNvSpPr>
              <p:nvPr/>
            </p:nvSpPr>
            <p:spPr bwMode="auto">
              <a:xfrm>
                <a:off x="11977" y="5856"/>
                <a:ext cx="146" cy="146"/>
              </a:xfrm>
              <a:custGeom>
                <a:avLst/>
                <a:gdLst>
                  <a:gd name="T0" fmla="+- 0 12057 11977"/>
                  <a:gd name="T1" fmla="*/ T0 w 146"/>
                  <a:gd name="T2" fmla="+- 0 5856 5856"/>
                  <a:gd name="T3" fmla="*/ 5856 h 146"/>
                  <a:gd name="T4" fmla="+- 0 11995 11977"/>
                  <a:gd name="T5" fmla="*/ T4 w 146"/>
                  <a:gd name="T6" fmla="+- 0 5881 5856"/>
                  <a:gd name="T7" fmla="*/ 5881 h 146"/>
                  <a:gd name="T8" fmla="+- 0 11977 11977"/>
                  <a:gd name="T9" fmla="*/ T8 w 146"/>
                  <a:gd name="T10" fmla="+- 0 5919 5856"/>
                  <a:gd name="T11" fmla="*/ 5919 h 146"/>
                  <a:gd name="T12" fmla="+- 0 11980 11977"/>
                  <a:gd name="T13" fmla="*/ T12 w 146"/>
                  <a:gd name="T14" fmla="+- 0 5944 5856"/>
                  <a:gd name="T15" fmla="*/ 5944 h 146"/>
                  <a:gd name="T16" fmla="+- 0 12018 11977"/>
                  <a:gd name="T17" fmla="*/ T16 w 146"/>
                  <a:gd name="T18" fmla="+- 0 5994 5856"/>
                  <a:gd name="T19" fmla="*/ 5994 h 146"/>
                  <a:gd name="T20" fmla="+- 0 12050 11977"/>
                  <a:gd name="T21" fmla="*/ T20 w 146"/>
                  <a:gd name="T22" fmla="+- 0 6002 5856"/>
                  <a:gd name="T23" fmla="*/ 6002 h 146"/>
                  <a:gd name="T24" fmla="+- 0 12072 11977"/>
                  <a:gd name="T25" fmla="*/ T24 w 146"/>
                  <a:gd name="T26" fmla="+- 0 5998 5856"/>
                  <a:gd name="T27" fmla="*/ 5998 h 146"/>
                  <a:gd name="T28" fmla="+- 0 12092 11977"/>
                  <a:gd name="T29" fmla="*/ T28 w 146"/>
                  <a:gd name="T30" fmla="+- 0 5989 5856"/>
                  <a:gd name="T31" fmla="*/ 5989 h 146"/>
                  <a:gd name="T32" fmla="+- 0 12107 11977"/>
                  <a:gd name="T33" fmla="*/ T32 w 146"/>
                  <a:gd name="T34" fmla="+- 0 5974 5856"/>
                  <a:gd name="T35" fmla="*/ 5974 h 146"/>
                  <a:gd name="T36" fmla="+- 0 12112 11977"/>
                  <a:gd name="T37" fmla="*/ T36 w 146"/>
                  <a:gd name="T38" fmla="+- 0 5965 5856"/>
                  <a:gd name="T39" fmla="*/ 5965 h 146"/>
                  <a:gd name="T40" fmla="+- 0 12053 11977"/>
                  <a:gd name="T41" fmla="*/ T40 w 146"/>
                  <a:gd name="T42" fmla="+- 0 5965 5856"/>
                  <a:gd name="T43" fmla="*/ 5965 h 146"/>
                  <a:gd name="T44" fmla="+- 0 12030 11977"/>
                  <a:gd name="T45" fmla="*/ T44 w 146"/>
                  <a:gd name="T46" fmla="+- 0 5959 5856"/>
                  <a:gd name="T47" fmla="*/ 5959 h 146"/>
                  <a:gd name="T48" fmla="+- 0 12016 11977"/>
                  <a:gd name="T49" fmla="*/ T48 w 146"/>
                  <a:gd name="T50" fmla="+- 0 5943 5856"/>
                  <a:gd name="T51" fmla="*/ 5943 h 146"/>
                  <a:gd name="T52" fmla="+- 0 12018 11977"/>
                  <a:gd name="T53" fmla="*/ T52 w 146"/>
                  <a:gd name="T54" fmla="+- 0 5916 5856"/>
                  <a:gd name="T55" fmla="*/ 5916 h 146"/>
                  <a:gd name="T56" fmla="+- 0 12029 11977"/>
                  <a:gd name="T57" fmla="*/ T56 w 146"/>
                  <a:gd name="T58" fmla="+- 0 5899 5856"/>
                  <a:gd name="T59" fmla="*/ 5899 h 146"/>
                  <a:gd name="T60" fmla="+- 0 12045 11977"/>
                  <a:gd name="T61" fmla="*/ T60 w 146"/>
                  <a:gd name="T62" fmla="+- 0 5892 5856"/>
                  <a:gd name="T63" fmla="*/ 5892 h 146"/>
                  <a:gd name="T64" fmla="+- 0 12050 11977"/>
                  <a:gd name="T65" fmla="*/ T64 w 146"/>
                  <a:gd name="T66" fmla="+- 0 5892 5856"/>
                  <a:gd name="T67" fmla="*/ 5892 h 146"/>
                  <a:gd name="T68" fmla="+- 0 12112 11977"/>
                  <a:gd name="T69" fmla="*/ T68 w 146"/>
                  <a:gd name="T70" fmla="+- 0 5892 5856"/>
                  <a:gd name="T71" fmla="*/ 5892 h 146"/>
                  <a:gd name="T72" fmla="+- 0 12110 11977"/>
                  <a:gd name="T73" fmla="*/ T72 w 146"/>
                  <a:gd name="T74" fmla="+- 0 5889 5856"/>
                  <a:gd name="T75" fmla="*/ 5889 h 146"/>
                  <a:gd name="T76" fmla="+- 0 12096 11977"/>
                  <a:gd name="T77" fmla="*/ T76 w 146"/>
                  <a:gd name="T78" fmla="+- 0 5872 5856"/>
                  <a:gd name="T79" fmla="*/ 5872 h 146"/>
                  <a:gd name="T80" fmla="+- 0 12078 11977"/>
                  <a:gd name="T81" fmla="*/ T80 w 146"/>
                  <a:gd name="T82" fmla="+- 0 5861 5856"/>
                  <a:gd name="T83" fmla="*/ 5861 h 146"/>
                  <a:gd name="T84" fmla="+- 0 12057 11977"/>
                  <a:gd name="T85" fmla="*/ T84 w 146"/>
                  <a:gd name="T86" fmla="+- 0 5856 5856"/>
                  <a:gd name="T87" fmla="*/ 5856 h 146"/>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 ang="0">
                    <a:pos x="T41" y="T43"/>
                  </a:cxn>
                  <a:cxn ang="0">
                    <a:pos x="T45" y="T47"/>
                  </a:cxn>
                  <a:cxn ang="0">
                    <a:pos x="T49" y="T51"/>
                  </a:cxn>
                  <a:cxn ang="0">
                    <a:pos x="T53" y="T55"/>
                  </a:cxn>
                  <a:cxn ang="0">
                    <a:pos x="T57" y="T59"/>
                  </a:cxn>
                  <a:cxn ang="0">
                    <a:pos x="T61" y="T63"/>
                  </a:cxn>
                  <a:cxn ang="0">
                    <a:pos x="T65" y="T67"/>
                  </a:cxn>
                  <a:cxn ang="0">
                    <a:pos x="T69" y="T71"/>
                  </a:cxn>
                  <a:cxn ang="0">
                    <a:pos x="T73" y="T75"/>
                  </a:cxn>
                  <a:cxn ang="0">
                    <a:pos x="T77" y="T79"/>
                  </a:cxn>
                  <a:cxn ang="0">
                    <a:pos x="T81" y="T83"/>
                  </a:cxn>
                  <a:cxn ang="0">
                    <a:pos x="T85" y="T87"/>
                  </a:cxn>
                </a:cxnLst>
                <a:rect l="0" t="0" r="r" b="b"/>
                <a:pathLst>
                  <a:path w="146" h="146">
                    <a:moveTo>
                      <a:pt x="80" y="0"/>
                    </a:moveTo>
                    <a:lnTo>
                      <a:pt x="18" y="25"/>
                    </a:lnTo>
                    <a:lnTo>
                      <a:pt x="0" y="63"/>
                    </a:lnTo>
                    <a:lnTo>
                      <a:pt x="3" y="88"/>
                    </a:lnTo>
                    <a:lnTo>
                      <a:pt x="41" y="138"/>
                    </a:lnTo>
                    <a:lnTo>
                      <a:pt x="73" y="146"/>
                    </a:lnTo>
                    <a:lnTo>
                      <a:pt x="95" y="142"/>
                    </a:lnTo>
                    <a:lnTo>
                      <a:pt x="115" y="133"/>
                    </a:lnTo>
                    <a:lnTo>
                      <a:pt x="130" y="118"/>
                    </a:lnTo>
                    <a:lnTo>
                      <a:pt x="135" y="109"/>
                    </a:lnTo>
                    <a:lnTo>
                      <a:pt x="76" y="109"/>
                    </a:lnTo>
                    <a:lnTo>
                      <a:pt x="53" y="103"/>
                    </a:lnTo>
                    <a:lnTo>
                      <a:pt x="39" y="87"/>
                    </a:lnTo>
                    <a:lnTo>
                      <a:pt x="41" y="60"/>
                    </a:lnTo>
                    <a:lnTo>
                      <a:pt x="52" y="43"/>
                    </a:lnTo>
                    <a:lnTo>
                      <a:pt x="68" y="36"/>
                    </a:lnTo>
                    <a:lnTo>
                      <a:pt x="73" y="36"/>
                    </a:lnTo>
                    <a:lnTo>
                      <a:pt x="135" y="36"/>
                    </a:lnTo>
                    <a:lnTo>
                      <a:pt x="133" y="33"/>
                    </a:lnTo>
                    <a:lnTo>
                      <a:pt x="119" y="16"/>
                    </a:lnTo>
                    <a:lnTo>
                      <a:pt x="101" y="5"/>
                    </a:lnTo>
                    <a:lnTo>
                      <a:pt x="80" y="0"/>
                    </a:lnTo>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ts val="1400"/>
                  </a:lnSpc>
                  <a:spcBef>
                    <a:spcPts val="0"/>
                  </a:spcBef>
                  <a:spcAft>
                    <a:spcPct val="0"/>
                  </a:spcAft>
                  <a:buClrTx/>
                  <a:buSzTx/>
                  <a:buFontTx/>
                  <a:buNone/>
                  <a:tabLst/>
                  <a:defRPr/>
                </a:pPr>
                <a:endParaRPr kumimoji="0" lang="en-US" sz="1200" b="0" i="0" u="none" strike="noStrike" kern="0" cap="none" spc="0" normalizeH="0" baseline="0" noProof="0" dirty="0">
                  <a:ln>
                    <a:noFill/>
                  </a:ln>
                  <a:solidFill>
                    <a:srgbClr val="010024"/>
                  </a:solidFill>
                  <a:effectLst/>
                  <a:uLnTx/>
                  <a:uFillTx/>
                  <a:latin typeface="EYInterstate Regular" pitchFamily="1" charset="0"/>
                  <a:ea typeface="+mn-ea"/>
                  <a:cs typeface="+mn-cs"/>
                </a:endParaRPr>
              </a:p>
            </p:txBody>
          </p:sp>
          <p:sp>
            <p:nvSpPr>
              <p:cNvPr id="17" name="Freeform 21">
                <a:extLst>
                  <a:ext uri="{FF2B5EF4-FFF2-40B4-BE49-F238E27FC236}">
                    <a16:creationId xmlns:a16="http://schemas.microsoft.com/office/drawing/2014/main" id="{F90CEA22-70D6-4CEE-A6BB-1CD7BB62DC48}"/>
                  </a:ext>
                </a:extLst>
              </p:cNvPr>
              <p:cNvSpPr>
                <a:spLocks/>
              </p:cNvSpPr>
              <p:nvPr/>
            </p:nvSpPr>
            <p:spPr bwMode="auto">
              <a:xfrm>
                <a:off x="11977" y="5856"/>
                <a:ext cx="146" cy="146"/>
              </a:xfrm>
              <a:custGeom>
                <a:avLst/>
                <a:gdLst>
                  <a:gd name="T0" fmla="+- 0 12112 11977"/>
                  <a:gd name="T1" fmla="*/ T0 w 146"/>
                  <a:gd name="T2" fmla="+- 0 5892 5856"/>
                  <a:gd name="T3" fmla="*/ 5892 h 146"/>
                  <a:gd name="T4" fmla="+- 0 12050 11977"/>
                  <a:gd name="T5" fmla="*/ T4 w 146"/>
                  <a:gd name="T6" fmla="+- 0 5892 5856"/>
                  <a:gd name="T7" fmla="*/ 5892 h 146"/>
                  <a:gd name="T8" fmla="+- 0 12071 11977"/>
                  <a:gd name="T9" fmla="*/ T8 w 146"/>
                  <a:gd name="T10" fmla="+- 0 5899 5856"/>
                  <a:gd name="T11" fmla="*/ 5899 h 146"/>
                  <a:gd name="T12" fmla="+- 0 12084 11977"/>
                  <a:gd name="T13" fmla="*/ T12 w 146"/>
                  <a:gd name="T14" fmla="+- 0 5916 5856"/>
                  <a:gd name="T15" fmla="*/ 5916 h 146"/>
                  <a:gd name="T16" fmla="+- 0 12081 11977"/>
                  <a:gd name="T17" fmla="*/ T16 w 146"/>
                  <a:gd name="T18" fmla="+- 0 5942 5856"/>
                  <a:gd name="T19" fmla="*/ 5942 h 146"/>
                  <a:gd name="T20" fmla="+- 0 12070 11977"/>
                  <a:gd name="T21" fmla="*/ T20 w 146"/>
                  <a:gd name="T22" fmla="+- 0 5959 5856"/>
                  <a:gd name="T23" fmla="*/ 5959 h 146"/>
                  <a:gd name="T24" fmla="+- 0 12053 11977"/>
                  <a:gd name="T25" fmla="*/ T24 w 146"/>
                  <a:gd name="T26" fmla="+- 0 5965 5856"/>
                  <a:gd name="T27" fmla="*/ 5965 h 146"/>
                  <a:gd name="T28" fmla="+- 0 12112 11977"/>
                  <a:gd name="T29" fmla="*/ T28 w 146"/>
                  <a:gd name="T30" fmla="+- 0 5965 5856"/>
                  <a:gd name="T31" fmla="*/ 5965 h 146"/>
                  <a:gd name="T32" fmla="+- 0 12118 11977"/>
                  <a:gd name="T33" fmla="*/ T32 w 146"/>
                  <a:gd name="T34" fmla="+- 0 5955 5856"/>
                  <a:gd name="T35" fmla="*/ 5955 h 146"/>
                  <a:gd name="T36" fmla="+- 0 12123 11977"/>
                  <a:gd name="T37" fmla="*/ T36 w 146"/>
                  <a:gd name="T38" fmla="+- 0 5933 5856"/>
                  <a:gd name="T39" fmla="*/ 5933 h 146"/>
                  <a:gd name="T40" fmla="+- 0 12120 11977"/>
                  <a:gd name="T41" fmla="*/ T40 w 146"/>
                  <a:gd name="T42" fmla="+- 0 5909 5856"/>
                  <a:gd name="T43" fmla="*/ 5909 h 146"/>
                  <a:gd name="T44" fmla="+- 0 12112 11977"/>
                  <a:gd name="T45" fmla="*/ T44 w 146"/>
                  <a:gd name="T46" fmla="+- 0 5892 5856"/>
                  <a:gd name="T47" fmla="*/ 5892 h 146"/>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 ang="0">
                    <a:pos x="T41" y="T43"/>
                  </a:cxn>
                  <a:cxn ang="0">
                    <a:pos x="T45" y="T47"/>
                  </a:cxn>
                </a:cxnLst>
                <a:rect l="0" t="0" r="r" b="b"/>
                <a:pathLst>
                  <a:path w="146" h="146">
                    <a:moveTo>
                      <a:pt x="135" y="36"/>
                    </a:moveTo>
                    <a:lnTo>
                      <a:pt x="73" y="36"/>
                    </a:lnTo>
                    <a:lnTo>
                      <a:pt x="94" y="43"/>
                    </a:lnTo>
                    <a:lnTo>
                      <a:pt x="107" y="60"/>
                    </a:lnTo>
                    <a:lnTo>
                      <a:pt x="104" y="86"/>
                    </a:lnTo>
                    <a:lnTo>
                      <a:pt x="93" y="103"/>
                    </a:lnTo>
                    <a:lnTo>
                      <a:pt x="76" y="109"/>
                    </a:lnTo>
                    <a:lnTo>
                      <a:pt x="135" y="109"/>
                    </a:lnTo>
                    <a:lnTo>
                      <a:pt x="141" y="99"/>
                    </a:lnTo>
                    <a:lnTo>
                      <a:pt x="146" y="77"/>
                    </a:lnTo>
                    <a:lnTo>
                      <a:pt x="143" y="53"/>
                    </a:lnTo>
                    <a:lnTo>
                      <a:pt x="135" y="36"/>
                    </a:lnTo>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ts val="1400"/>
                  </a:lnSpc>
                  <a:spcBef>
                    <a:spcPts val="0"/>
                  </a:spcBef>
                  <a:spcAft>
                    <a:spcPct val="0"/>
                  </a:spcAft>
                  <a:buClrTx/>
                  <a:buSzTx/>
                  <a:buFontTx/>
                  <a:buNone/>
                  <a:tabLst/>
                  <a:defRPr/>
                </a:pPr>
                <a:endParaRPr kumimoji="0" lang="en-US" sz="1200" b="0" i="0" u="none" strike="noStrike" kern="0" cap="none" spc="0" normalizeH="0" baseline="0" noProof="0" dirty="0">
                  <a:ln>
                    <a:noFill/>
                  </a:ln>
                  <a:solidFill>
                    <a:srgbClr val="010024"/>
                  </a:solidFill>
                  <a:effectLst/>
                  <a:uLnTx/>
                  <a:uFillTx/>
                  <a:latin typeface="EYInterstate Regular" pitchFamily="1" charset="0"/>
                  <a:ea typeface="+mn-ea"/>
                  <a:cs typeface="+mn-cs"/>
                </a:endParaRPr>
              </a:p>
            </p:txBody>
          </p:sp>
        </p:grpSp>
        <p:grpSp>
          <p:nvGrpSpPr>
            <p:cNvPr id="13" name="Group 39">
              <a:extLst>
                <a:ext uri="{FF2B5EF4-FFF2-40B4-BE49-F238E27FC236}">
                  <a16:creationId xmlns:a16="http://schemas.microsoft.com/office/drawing/2014/main" id="{34E48D13-CA86-444A-95A9-96B11973C35F}"/>
                </a:ext>
              </a:extLst>
            </p:cNvPr>
            <p:cNvGrpSpPr>
              <a:grpSpLocks/>
            </p:cNvGrpSpPr>
            <p:nvPr/>
          </p:nvGrpSpPr>
          <p:grpSpPr bwMode="auto">
            <a:xfrm>
              <a:off x="9224" y="15443"/>
              <a:ext cx="221" cy="78"/>
              <a:chOff x="9224" y="15443"/>
              <a:chExt cx="221" cy="78"/>
            </a:xfrm>
            <a:grpFill/>
          </p:grpSpPr>
          <p:sp>
            <p:nvSpPr>
              <p:cNvPr id="15" name="Freeform 40">
                <a:extLst>
                  <a:ext uri="{FF2B5EF4-FFF2-40B4-BE49-F238E27FC236}">
                    <a16:creationId xmlns:a16="http://schemas.microsoft.com/office/drawing/2014/main" id="{218857C3-51E0-4363-88D6-9C0941994D6C}"/>
                  </a:ext>
                </a:extLst>
              </p:cNvPr>
              <p:cNvSpPr>
                <a:spLocks/>
              </p:cNvSpPr>
              <p:nvPr/>
            </p:nvSpPr>
            <p:spPr bwMode="auto">
              <a:xfrm>
                <a:off x="9224" y="15443"/>
                <a:ext cx="221" cy="78"/>
              </a:xfrm>
              <a:custGeom>
                <a:avLst/>
                <a:gdLst>
                  <a:gd name="T0" fmla="+- 0 9334 9224"/>
                  <a:gd name="T1" fmla="*/ T0 w 221"/>
                  <a:gd name="T2" fmla="+- 0 15443 15443"/>
                  <a:gd name="T3" fmla="*/ 15443 h 78"/>
                  <a:gd name="T4" fmla="+- 0 9262 9224"/>
                  <a:gd name="T5" fmla="*/ T4 w 221"/>
                  <a:gd name="T6" fmla="+- 0 15449 15443"/>
                  <a:gd name="T7" fmla="*/ 15449 h 78"/>
                  <a:gd name="T8" fmla="+- 0 9224 9224"/>
                  <a:gd name="T9" fmla="*/ T8 w 221"/>
                  <a:gd name="T10" fmla="+- 0 15480 15443"/>
                  <a:gd name="T11" fmla="*/ 15480 h 78"/>
                  <a:gd name="T12" fmla="+- 0 9226 9224"/>
                  <a:gd name="T13" fmla="*/ T12 w 221"/>
                  <a:gd name="T14" fmla="+- 0 15489 15443"/>
                  <a:gd name="T15" fmla="*/ 15489 h 78"/>
                  <a:gd name="T16" fmla="+- 0 9294 9224"/>
                  <a:gd name="T17" fmla="*/ T16 w 221"/>
                  <a:gd name="T18" fmla="+- 0 15518 15443"/>
                  <a:gd name="T19" fmla="*/ 15518 h 78"/>
                  <a:gd name="T20" fmla="+- 0 9343 9224"/>
                  <a:gd name="T21" fmla="*/ T20 w 221"/>
                  <a:gd name="T22" fmla="+- 0 15521 15443"/>
                  <a:gd name="T23" fmla="*/ 15521 h 78"/>
                  <a:gd name="T24" fmla="+- 0 9354 9224"/>
                  <a:gd name="T25" fmla="*/ T24 w 221"/>
                  <a:gd name="T26" fmla="+- 0 15521 15443"/>
                  <a:gd name="T27" fmla="*/ 15521 h 78"/>
                  <a:gd name="T28" fmla="+- 0 9426 9224"/>
                  <a:gd name="T29" fmla="*/ T28 w 221"/>
                  <a:gd name="T30" fmla="+- 0 15508 15443"/>
                  <a:gd name="T31" fmla="*/ 15508 h 78"/>
                  <a:gd name="T32" fmla="+- 0 9445 9224"/>
                  <a:gd name="T33" fmla="*/ T32 w 221"/>
                  <a:gd name="T34" fmla="+- 0 15485 15443"/>
                  <a:gd name="T35" fmla="*/ 15485 h 78"/>
                  <a:gd name="T36" fmla="+- 0 9443 9224"/>
                  <a:gd name="T37" fmla="*/ T36 w 221"/>
                  <a:gd name="T38" fmla="+- 0 15475 15443"/>
                  <a:gd name="T39" fmla="*/ 15475 h 78"/>
                  <a:gd name="T40" fmla="+- 0 9375 9224"/>
                  <a:gd name="T41" fmla="*/ T40 w 221"/>
                  <a:gd name="T42" fmla="+- 0 15446 15443"/>
                  <a:gd name="T43" fmla="*/ 15446 h 78"/>
                  <a:gd name="T44" fmla="+- 0 9334 9224"/>
                  <a:gd name="T45" fmla="*/ T44 w 221"/>
                  <a:gd name="T46" fmla="+- 0 15443 15443"/>
                  <a:gd name="T47" fmla="*/ 15443 h 78"/>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 ang="0">
                    <a:pos x="T41" y="T43"/>
                  </a:cxn>
                  <a:cxn ang="0">
                    <a:pos x="T45" y="T47"/>
                  </a:cxn>
                </a:cxnLst>
                <a:rect l="0" t="0" r="r" b="b"/>
                <a:pathLst>
                  <a:path w="221" h="78">
                    <a:moveTo>
                      <a:pt x="110" y="0"/>
                    </a:moveTo>
                    <a:lnTo>
                      <a:pt x="38" y="6"/>
                    </a:lnTo>
                    <a:lnTo>
                      <a:pt x="0" y="37"/>
                    </a:lnTo>
                    <a:lnTo>
                      <a:pt x="2" y="46"/>
                    </a:lnTo>
                    <a:lnTo>
                      <a:pt x="70" y="75"/>
                    </a:lnTo>
                    <a:lnTo>
                      <a:pt x="119" y="78"/>
                    </a:lnTo>
                    <a:lnTo>
                      <a:pt x="130" y="78"/>
                    </a:lnTo>
                    <a:lnTo>
                      <a:pt x="202" y="65"/>
                    </a:lnTo>
                    <a:lnTo>
                      <a:pt x="221" y="42"/>
                    </a:lnTo>
                    <a:lnTo>
                      <a:pt x="219" y="32"/>
                    </a:lnTo>
                    <a:lnTo>
                      <a:pt x="151" y="3"/>
                    </a:lnTo>
                    <a:lnTo>
                      <a:pt x="110" y="0"/>
                    </a:lnTo>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ts val="1400"/>
                  </a:lnSpc>
                  <a:spcBef>
                    <a:spcPts val="0"/>
                  </a:spcBef>
                  <a:spcAft>
                    <a:spcPct val="0"/>
                  </a:spcAft>
                  <a:buClrTx/>
                  <a:buSzTx/>
                  <a:buFontTx/>
                  <a:buNone/>
                  <a:tabLst/>
                  <a:defRPr/>
                </a:pPr>
                <a:endParaRPr kumimoji="0" lang="en-US" sz="1200" b="0" i="0" u="none" strike="noStrike" kern="0" cap="none" spc="0" normalizeH="0" baseline="0" noProof="0" dirty="0">
                  <a:ln>
                    <a:noFill/>
                  </a:ln>
                  <a:solidFill>
                    <a:srgbClr val="010024"/>
                  </a:solidFill>
                  <a:effectLst/>
                  <a:uLnTx/>
                  <a:uFillTx/>
                  <a:latin typeface="EYInterstate Regular" pitchFamily="1" charset="0"/>
                  <a:ea typeface="+mn-ea"/>
                  <a:cs typeface="+mn-cs"/>
                </a:endParaRPr>
              </a:p>
            </p:txBody>
          </p:sp>
        </p:grpSp>
        <p:sp>
          <p:nvSpPr>
            <p:cNvPr id="14" name="Freeform 42">
              <a:extLst>
                <a:ext uri="{FF2B5EF4-FFF2-40B4-BE49-F238E27FC236}">
                  <a16:creationId xmlns:a16="http://schemas.microsoft.com/office/drawing/2014/main" id="{B9B07958-6307-4C44-9E45-0BA269E92889}"/>
                </a:ext>
              </a:extLst>
            </p:cNvPr>
            <p:cNvSpPr>
              <a:spLocks/>
            </p:cNvSpPr>
            <p:nvPr/>
          </p:nvSpPr>
          <p:spPr bwMode="auto">
            <a:xfrm>
              <a:off x="14626" y="15443"/>
              <a:ext cx="221" cy="78"/>
            </a:xfrm>
            <a:custGeom>
              <a:avLst/>
              <a:gdLst>
                <a:gd name="T0" fmla="+- 0 14745 14626"/>
                <a:gd name="T1" fmla="*/ T0 w 221"/>
                <a:gd name="T2" fmla="+- 0 15443 15443"/>
                <a:gd name="T3" fmla="*/ 15443 h 78"/>
                <a:gd name="T4" fmla="+- 0 14664 14626"/>
                <a:gd name="T5" fmla="*/ T4 w 221"/>
                <a:gd name="T6" fmla="+- 0 15452 15443"/>
                <a:gd name="T7" fmla="*/ 15452 h 78"/>
                <a:gd name="T8" fmla="+- 0 14626 14626"/>
                <a:gd name="T9" fmla="*/ T8 w 221"/>
                <a:gd name="T10" fmla="+- 0 15485 15443"/>
                <a:gd name="T11" fmla="*/ 15485 h 78"/>
                <a:gd name="T12" fmla="+- 0 14630 14626"/>
                <a:gd name="T13" fmla="*/ T12 w 221"/>
                <a:gd name="T14" fmla="+- 0 15493 15443"/>
                <a:gd name="T15" fmla="*/ 15493 h 78"/>
                <a:gd name="T16" fmla="+- 0 14699 14626"/>
                <a:gd name="T17" fmla="*/ T16 w 221"/>
                <a:gd name="T18" fmla="+- 0 15520 15443"/>
                <a:gd name="T19" fmla="*/ 15520 h 78"/>
                <a:gd name="T20" fmla="+- 0 14729 14626"/>
                <a:gd name="T21" fmla="*/ T20 w 221"/>
                <a:gd name="T22" fmla="+- 0 15521 15443"/>
                <a:gd name="T23" fmla="*/ 15521 h 78"/>
                <a:gd name="T24" fmla="+- 0 14742 14626"/>
                <a:gd name="T25" fmla="*/ T24 w 221"/>
                <a:gd name="T26" fmla="+- 0 15521 15443"/>
                <a:gd name="T27" fmla="*/ 15521 h 78"/>
                <a:gd name="T28" fmla="+- 0 14810 14626"/>
                <a:gd name="T29" fmla="*/ T28 w 221"/>
                <a:gd name="T30" fmla="+- 0 15512 15443"/>
                <a:gd name="T31" fmla="*/ 15512 h 78"/>
                <a:gd name="T32" fmla="+- 0 14847 14626"/>
                <a:gd name="T33" fmla="*/ T32 w 221"/>
                <a:gd name="T34" fmla="+- 0 15480 15443"/>
                <a:gd name="T35" fmla="*/ 15480 h 78"/>
                <a:gd name="T36" fmla="+- 0 14843 14626"/>
                <a:gd name="T37" fmla="*/ T36 w 221"/>
                <a:gd name="T38" fmla="+- 0 15471 15443"/>
                <a:gd name="T39" fmla="*/ 15471 h 78"/>
                <a:gd name="T40" fmla="+- 0 14774 14626"/>
                <a:gd name="T41" fmla="*/ T40 w 221"/>
                <a:gd name="T42" fmla="+- 0 15444 15443"/>
                <a:gd name="T43" fmla="*/ 15444 h 78"/>
                <a:gd name="T44" fmla="+- 0 14745 14626"/>
                <a:gd name="T45" fmla="*/ T44 w 221"/>
                <a:gd name="T46" fmla="+- 0 15443 15443"/>
                <a:gd name="T47" fmla="*/ 15443 h 78"/>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 ang="0">
                  <a:pos x="T41" y="T43"/>
                </a:cxn>
                <a:cxn ang="0">
                  <a:pos x="T45" y="T47"/>
                </a:cxn>
              </a:cxnLst>
              <a:rect l="0" t="0" r="r" b="b"/>
              <a:pathLst>
                <a:path w="221" h="78">
                  <a:moveTo>
                    <a:pt x="119" y="0"/>
                  </a:moveTo>
                  <a:lnTo>
                    <a:pt x="38" y="9"/>
                  </a:lnTo>
                  <a:lnTo>
                    <a:pt x="0" y="42"/>
                  </a:lnTo>
                  <a:lnTo>
                    <a:pt x="4" y="50"/>
                  </a:lnTo>
                  <a:lnTo>
                    <a:pt x="73" y="77"/>
                  </a:lnTo>
                  <a:lnTo>
                    <a:pt x="103" y="78"/>
                  </a:lnTo>
                  <a:lnTo>
                    <a:pt x="116" y="78"/>
                  </a:lnTo>
                  <a:lnTo>
                    <a:pt x="184" y="69"/>
                  </a:lnTo>
                  <a:lnTo>
                    <a:pt x="221" y="37"/>
                  </a:lnTo>
                  <a:lnTo>
                    <a:pt x="217" y="28"/>
                  </a:lnTo>
                  <a:lnTo>
                    <a:pt x="148" y="1"/>
                  </a:lnTo>
                  <a:lnTo>
                    <a:pt x="119" y="0"/>
                  </a:lnTo>
                </a:path>
              </a:pathLst>
            </a:custGeom>
            <a:grp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ts val="1400"/>
                </a:lnSpc>
                <a:spcBef>
                  <a:spcPts val="0"/>
                </a:spcBef>
                <a:spcAft>
                  <a:spcPct val="0"/>
                </a:spcAft>
                <a:buClrTx/>
                <a:buSzTx/>
                <a:buFontTx/>
                <a:buNone/>
                <a:tabLst/>
                <a:defRPr/>
              </a:pPr>
              <a:endParaRPr kumimoji="0" lang="en-US" sz="1200" b="0" i="0" u="none" strike="noStrike" kern="0" cap="none" spc="0" normalizeH="0" baseline="0" noProof="0" dirty="0">
                <a:ln>
                  <a:noFill/>
                </a:ln>
                <a:solidFill>
                  <a:srgbClr val="010024"/>
                </a:solidFill>
                <a:effectLst/>
                <a:uLnTx/>
                <a:uFillTx/>
                <a:latin typeface="EYInterstate Regular" pitchFamily="1" charset="0"/>
                <a:ea typeface="+mn-ea"/>
                <a:cs typeface="+mn-cs"/>
              </a:endParaRPr>
            </a:p>
          </p:txBody>
        </p:sp>
      </p:grpSp>
      <p:sp>
        <p:nvSpPr>
          <p:cNvPr id="48" name="Content Placeholder 5">
            <a:extLst>
              <a:ext uri="{FF2B5EF4-FFF2-40B4-BE49-F238E27FC236}">
                <a16:creationId xmlns:a16="http://schemas.microsoft.com/office/drawing/2014/main" id="{9D0838B8-AA0C-4715-8DDF-7A9B323189F0}"/>
              </a:ext>
            </a:extLst>
          </p:cNvPr>
          <p:cNvSpPr txBox="1">
            <a:spLocks/>
          </p:cNvSpPr>
          <p:nvPr/>
        </p:nvSpPr>
        <p:spPr>
          <a:xfrm>
            <a:off x="1331995" y="1030628"/>
            <a:ext cx="3293107" cy="3294919"/>
          </a:xfrm>
          <a:prstGeom prst="rect">
            <a:avLst/>
          </a:prstGeom>
          <a:solidFill>
            <a:schemeClr val="tx1"/>
          </a:solidFill>
        </p:spPr>
        <p:txBody>
          <a:bodyPr>
            <a:noAutofit/>
          </a:bodyPr>
          <a:lstStyle>
            <a:lvl1pPr marL="176396" marR="0" indent="-176396" algn="l" defTabSz="342875" rtl="0" eaLnBrk="1" fontAlgn="auto" latinLnBrk="0" hangingPunct="1">
              <a:lnSpc>
                <a:spcPct val="100000"/>
              </a:lnSpc>
              <a:spcBef>
                <a:spcPct val="20000"/>
              </a:spcBef>
              <a:spcAft>
                <a:spcPts val="0"/>
              </a:spcAft>
              <a:buClr>
                <a:srgbClr val="E1061C"/>
              </a:buClr>
              <a:buSzTx/>
              <a:buFont typeface="Arial"/>
              <a:buChar char="•"/>
              <a:tabLst/>
              <a:defRPr sz="1600" kern="1200" baseline="0">
                <a:solidFill>
                  <a:schemeClr val="tx1"/>
                </a:solidFill>
                <a:latin typeface="+mn-lt"/>
                <a:ea typeface="+mn-ea"/>
                <a:cs typeface="Arial" panose="020B0604020202020204" pitchFamily="34" charset="0"/>
              </a:defRPr>
            </a:lvl1pPr>
            <a:lvl2pPr marL="626384" marR="0" indent="-169196" algn="l" defTabSz="342875" rtl="0" eaLnBrk="1" fontAlgn="auto" latinLnBrk="0" hangingPunct="1">
              <a:lnSpc>
                <a:spcPct val="100000"/>
              </a:lnSpc>
              <a:spcBef>
                <a:spcPct val="20000"/>
              </a:spcBef>
              <a:spcAft>
                <a:spcPts val="0"/>
              </a:spcAft>
              <a:buClr>
                <a:srgbClr val="E1061C"/>
              </a:buClr>
              <a:buSzTx/>
              <a:buFont typeface="Arial"/>
              <a:buChar char="•"/>
              <a:tabLst/>
              <a:defRPr sz="1600" kern="1200" baseline="0">
                <a:solidFill>
                  <a:schemeClr val="tx1"/>
                </a:solidFill>
                <a:latin typeface="+mn-lt"/>
                <a:ea typeface="+mn-ea"/>
                <a:cs typeface="Arial" panose="020B0604020202020204" pitchFamily="34" charset="0"/>
              </a:defRPr>
            </a:lvl2pPr>
            <a:lvl3pPr marL="1079973" marR="0" indent="-165596" algn="l" defTabSz="342875" rtl="0" eaLnBrk="1" fontAlgn="auto" latinLnBrk="0" hangingPunct="1">
              <a:lnSpc>
                <a:spcPct val="100000"/>
              </a:lnSpc>
              <a:spcBef>
                <a:spcPct val="20000"/>
              </a:spcBef>
              <a:spcAft>
                <a:spcPts val="0"/>
              </a:spcAft>
              <a:buClr>
                <a:srgbClr val="E1061C"/>
              </a:buClr>
              <a:buSzTx/>
              <a:buFont typeface="Arial"/>
              <a:buChar char="•"/>
              <a:tabLst/>
              <a:defRPr sz="1600" kern="1200" baseline="0">
                <a:solidFill>
                  <a:schemeClr val="tx1"/>
                </a:solidFill>
                <a:latin typeface="+mn-lt"/>
                <a:ea typeface="+mn-ea"/>
                <a:cs typeface="Arial" panose="020B0604020202020204" pitchFamily="34" charset="0"/>
              </a:defRPr>
            </a:lvl3pPr>
            <a:lvl4pPr marL="1522762" marR="0" indent="-151196" algn="l" defTabSz="342875" rtl="0" eaLnBrk="1" fontAlgn="auto" latinLnBrk="0" hangingPunct="1">
              <a:lnSpc>
                <a:spcPct val="100000"/>
              </a:lnSpc>
              <a:spcBef>
                <a:spcPct val="20000"/>
              </a:spcBef>
              <a:spcAft>
                <a:spcPts val="0"/>
              </a:spcAft>
              <a:buClr>
                <a:srgbClr val="E1061C"/>
              </a:buClr>
              <a:buSzTx/>
              <a:buFont typeface="Arial"/>
              <a:buChar char="•"/>
              <a:tabLst/>
              <a:defRPr sz="1600" kern="1200" baseline="0">
                <a:solidFill>
                  <a:schemeClr val="tx1"/>
                </a:solidFill>
                <a:latin typeface="+mn-lt"/>
                <a:ea typeface="+mn-ea"/>
                <a:cs typeface="Arial" panose="020B0604020202020204" pitchFamily="34" charset="0"/>
              </a:defRPr>
            </a:lvl4pPr>
            <a:lvl5pPr marL="1972751" marR="0" indent="-143996" algn="l" defTabSz="342875" rtl="0" eaLnBrk="1" fontAlgn="auto" latinLnBrk="0" hangingPunct="1">
              <a:lnSpc>
                <a:spcPct val="100000"/>
              </a:lnSpc>
              <a:spcBef>
                <a:spcPct val="20000"/>
              </a:spcBef>
              <a:spcAft>
                <a:spcPts val="0"/>
              </a:spcAft>
              <a:buClr>
                <a:srgbClr val="E1061C"/>
              </a:buClr>
              <a:buSzTx/>
              <a:buFont typeface="Arial"/>
              <a:buChar char="•"/>
              <a:tabLst/>
              <a:defRPr sz="1600" kern="1200" baseline="0">
                <a:solidFill>
                  <a:schemeClr val="tx1"/>
                </a:solidFill>
                <a:latin typeface="+mn-lt"/>
                <a:ea typeface="+mn-ea"/>
                <a:cs typeface="Arial" panose="020B0604020202020204" pitchFamily="34" charset="0"/>
              </a:defRPr>
            </a:lvl5pPr>
            <a:lvl6pPr marL="1885809" indent="-171438" algn="l" defTabSz="685749"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684" indent="-171438" algn="l" defTabSz="685749"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558" indent="-171438" algn="l" defTabSz="685749"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433" indent="-171438" algn="l" defTabSz="685749"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buFont typeface="Arial"/>
              <a:buNone/>
            </a:pPr>
            <a:r>
              <a:rPr lang="en-GB" sz="1000" b="1" dirty="0">
                <a:solidFill>
                  <a:schemeClr val="bg1"/>
                </a:solidFill>
              </a:rPr>
              <a:t>//Recorded mappings and matchers</a:t>
            </a:r>
          </a:p>
          <a:p>
            <a:pPr marL="0" indent="0">
              <a:buFont typeface="Arial"/>
              <a:buNone/>
            </a:pPr>
            <a:r>
              <a:rPr lang="en-GB" sz="800" b="1" dirty="0">
                <a:solidFill>
                  <a:schemeClr val="bg1"/>
                </a:solidFill>
              </a:rPr>
              <a:t>//mappings/mapping-</a:t>
            </a:r>
            <a:r>
              <a:rPr lang="en-GB" sz="800" b="1" dirty="0">
                <a:solidFill>
                  <a:srgbClr val="FFC000"/>
                </a:solidFill>
              </a:rPr>
              <a:t>XA-PRE-WS-services-</a:t>
            </a:r>
            <a:r>
              <a:rPr lang="en-GB" sz="800" b="1" dirty="0" err="1">
                <a:solidFill>
                  <a:srgbClr val="FFC000"/>
                </a:solidFill>
              </a:rPr>
              <a:t>PreTelAndMail</a:t>
            </a:r>
            <a:r>
              <a:rPr lang="en-GB" sz="800" b="1" dirty="0">
                <a:solidFill>
                  <a:srgbClr val="FFC000"/>
                </a:solidFill>
              </a:rPr>
              <a:t>-</a:t>
            </a:r>
            <a:r>
              <a:rPr lang="en-GB" sz="800" b="1" dirty="0" err="1">
                <a:solidFill>
                  <a:srgbClr val="FFC000"/>
                </a:solidFill>
              </a:rPr>
              <a:t>AujaZ</a:t>
            </a:r>
            <a:r>
              <a:rPr lang="en-GB" sz="800" b="1" dirty="0" err="1">
                <a:solidFill>
                  <a:schemeClr val="bg1"/>
                </a:solidFill>
              </a:rPr>
              <a:t>.json</a:t>
            </a:r>
            <a:r>
              <a:rPr lang="en-GB" sz="800" b="1" dirty="0">
                <a:solidFill>
                  <a:schemeClr val="bg1"/>
                </a:solidFill>
              </a:rPr>
              <a:t> </a:t>
            </a:r>
          </a:p>
          <a:p>
            <a:pPr marL="0" indent="0">
              <a:buFont typeface="Arial"/>
              <a:buNone/>
            </a:pPr>
            <a:endParaRPr lang="en-GB" sz="800" b="1" dirty="0">
              <a:solidFill>
                <a:schemeClr val="bg1"/>
              </a:solidFill>
            </a:endParaRPr>
          </a:p>
          <a:p>
            <a:pPr marL="0" indent="0">
              <a:buFont typeface="Arial"/>
              <a:buNone/>
            </a:pPr>
            <a:r>
              <a:rPr lang="en-GB" sz="800" dirty="0">
                <a:solidFill>
                  <a:schemeClr val="bg1"/>
                </a:solidFill>
              </a:rPr>
              <a:t>{ "id" : “",</a:t>
            </a:r>
          </a:p>
          <a:p>
            <a:pPr marL="0" indent="0">
              <a:buFont typeface="Arial"/>
              <a:buNone/>
            </a:pPr>
            <a:r>
              <a:rPr lang="en-GB" sz="800" dirty="0">
                <a:solidFill>
                  <a:schemeClr val="bg1"/>
                </a:solidFill>
              </a:rPr>
              <a:t>"</a:t>
            </a:r>
            <a:r>
              <a:rPr lang="en-GB" sz="800" b="1" dirty="0">
                <a:solidFill>
                  <a:srgbClr val="00B050"/>
                </a:solidFill>
              </a:rPr>
              <a:t>request</a:t>
            </a:r>
            <a:r>
              <a:rPr lang="en-GB" sz="800" dirty="0">
                <a:solidFill>
                  <a:schemeClr val="bg1"/>
                </a:solidFill>
              </a:rPr>
              <a:t>" : { 	</a:t>
            </a:r>
          </a:p>
          <a:p>
            <a:pPr marL="0" indent="0">
              <a:buFont typeface="Arial"/>
              <a:buNone/>
            </a:pPr>
            <a:r>
              <a:rPr lang="en-GB" sz="800" dirty="0">
                <a:solidFill>
                  <a:schemeClr val="bg1"/>
                </a:solidFill>
              </a:rPr>
              <a:t>	"</a:t>
            </a:r>
            <a:r>
              <a:rPr lang="en-GB" sz="800" b="1" dirty="0" err="1">
                <a:solidFill>
                  <a:srgbClr val="00B050"/>
                </a:solidFill>
              </a:rPr>
              <a:t>url</a:t>
            </a:r>
            <a:r>
              <a:rPr lang="en-GB" sz="800" dirty="0">
                <a:solidFill>
                  <a:schemeClr val="bg1"/>
                </a:solidFill>
              </a:rPr>
              <a:t>" : "/XA-PRE-WS/services/</a:t>
            </a:r>
            <a:r>
              <a:rPr lang="en-GB" sz="800" dirty="0" err="1">
                <a:solidFill>
                  <a:schemeClr val="bg1"/>
                </a:solidFill>
              </a:rPr>
              <a:t>PreTelAndMail</a:t>
            </a:r>
            <a:r>
              <a:rPr lang="en-GB" sz="800" dirty="0">
                <a:solidFill>
                  <a:schemeClr val="bg1"/>
                </a:solidFill>
              </a:rPr>
              <a:t>",   </a:t>
            </a:r>
          </a:p>
          <a:p>
            <a:pPr marL="0" indent="0">
              <a:buFont typeface="Arial"/>
              <a:buNone/>
            </a:pPr>
            <a:r>
              <a:rPr lang="en-GB" sz="800" dirty="0">
                <a:solidFill>
                  <a:schemeClr val="bg1"/>
                </a:solidFill>
              </a:rPr>
              <a:t>  	 "</a:t>
            </a:r>
            <a:r>
              <a:rPr lang="en-GB" sz="800" b="1" dirty="0">
                <a:solidFill>
                  <a:srgbClr val="00B050"/>
                </a:solidFill>
              </a:rPr>
              <a:t>method</a:t>
            </a:r>
            <a:r>
              <a:rPr lang="en-GB" sz="800" dirty="0">
                <a:solidFill>
                  <a:schemeClr val="bg1"/>
                </a:solidFill>
              </a:rPr>
              <a:t>" : "</a:t>
            </a:r>
            <a:r>
              <a:rPr lang="en-GB" sz="800" b="1" dirty="0">
                <a:solidFill>
                  <a:schemeClr val="bg1"/>
                </a:solidFill>
              </a:rPr>
              <a:t>POST</a:t>
            </a:r>
            <a:r>
              <a:rPr lang="en-GB" sz="800" dirty="0">
                <a:solidFill>
                  <a:schemeClr val="bg1"/>
                </a:solidFill>
              </a:rPr>
              <a:t>“,</a:t>
            </a:r>
          </a:p>
          <a:p>
            <a:pPr marL="0" indent="0">
              <a:buFont typeface="Arial"/>
              <a:buNone/>
            </a:pPr>
            <a:r>
              <a:rPr lang="en-GB" sz="800" dirty="0">
                <a:solidFill>
                  <a:schemeClr val="bg1"/>
                </a:solidFill>
              </a:rPr>
              <a:t>  	"</a:t>
            </a:r>
            <a:r>
              <a:rPr lang="en-GB" sz="800" b="1" dirty="0" err="1">
                <a:solidFill>
                  <a:srgbClr val="00B050"/>
                </a:solidFill>
              </a:rPr>
              <a:t>bodyPatterns</a:t>
            </a:r>
            <a:r>
              <a:rPr lang="en-GB" sz="800" dirty="0">
                <a:solidFill>
                  <a:schemeClr val="bg1"/>
                </a:solidFill>
              </a:rPr>
              <a:t>" : </a:t>
            </a:r>
          </a:p>
          <a:p>
            <a:pPr marL="0" indent="0">
              <a:buFont typeface="Arial"/>
              <a:buNone/>
            </a:pPr>
            <a:r>
              <a:rPr lang="en-GB" sz="800" dirty="0">
                <a:solidFill>
                  <a:schemeClr val="bg1"/>
                </a:solidFill>
              </a:rPr>
              <a:t>	[ { </a:t>
            </a:r>
          </a:p>
          <a:p>
            <a:pPr marL="0" indent="0">
              <a:buFont typeface="Arial"/>
              <a:buNone/>
            </a:pPr>
            <a:r>
              <a:rPr lang="en-GB" sz="800" dirty="0">
                <a:solidFill>
                  <a:schemeClr val="bg1"/>
                </a:solidFill>
              </a:rPr>
              <a:t>		"</a:t>
            </a:r>
            <a:r>
              <a:rPr lang="en-GB" sz="800" b="1" dirty="0" err="1">
                <a:solidFill>
                  <a:srgbClr val="00B050"/>
                </a:solidFill>
              </a:rPr>
              <a:t>equalToXml</a:t>
            </a:r>
            <a:r>
              <a:rPr lang="en-GB" sz="800" dirty="0">
                <a:solidFill>
                  <a:schemeClr val="bg1"/>
                </a:solidFill>
              </a:rPr>
              <a:t>" : "&lt;</a:t>
            </a:r>
            <a:r>
              <a:rPr lang="en-GB" sz="800" dirty="0" err="1">
                <a:solidFill>
                  <a:schemeClr val="bg1"/>
                </a:solidFill>
              </a:rPr>
              <a:t>soapenv:Envelope</a:t>
            </a:r>
            <a:r>
              <a:rPr lang="en-GB" sz="800" dirty="0">
                <a:solidFill>
                  <a:schemeClr val="bg1"/>
                </a:solidFill>
              </a:rPr>
              <a:t> </a:t>
            </a:r>
            <a:r>
              <a:rPr lang="en-GB" sz="800" dirty="0" err="1">
                <a:solidFill>
                  <a:schemeClr val="bg1"/>
                </a:solidFill>
              </a:rPr>
              <a:t>xmlns:soapenv</a:t>
            </a:r>
            <a:r>
              <a:rPr lang="en-GB" sz="800" dirty="0">
                <a:solidFill>
                  <a:schemeClr val="bg1"/>
                </a:solidFill>
              </a:rPr>
              <a:t>=\“..” 					</a:t>
            </a:r>
            <a:r>
              <a:rPr lang="en-GB" sz="800" dirty="0" err="1">
                <a:solidFill>
                  <a:schemeClr val="bg1"/>
                </a:solidFill>
              </a:rPr>
              <a:t>xmlns:bean</a:t>
            </a:r>
            <a:r>
              <a:rPr lang="en-GB" sz="800" dirty="0">
                <a:solidFill>
                  <a:schemeClr val="bg1"/>
                </a:solidFill>
              </a:rPr>
              <a:t>=\“... &lt;/</a:t>
            </a:r>
            <a:r>
              <a:rPr lang="en-GB" sz="800" dirty="0" err="1">
                <a:solidFill>
                  <a:schemeClr val="bg1"/>
                </a:solidFill>
              </a:rPr>
              <a:t>soapenv:Envelope</a:t>
            </a:r>
            <a:r>
              <a:rPr lang="en-GB" sz="800" dirty="0">
                <a:solidFill>
                  <a:schemeClr val="bg1"/>
                </a:solidFill>
              </a:rPr>
              <a:t>&gt;" </a:t>
            </a:r>
          </a:p>
          <a:p>
            <a:pPr marL="0" indent="0">
              <a:buFont typeface="Arial"/>
              <a:buNone/>
            </a:pPr>
            <a:r>
              <a:rPr lang="en-GB" sz="800" dirty="0">
                <a:solidFill>
                  <a:schemeClr val="bg1"/>
                </a:solidFill>
              </a:rPr>
              <a:t>	}] }, ]</a:t>
            </a:r>
          </a:p>
          <a:p>
            <a:pPr marL="0" indent="0">
              <a:buFont typeface="Arial"/>
              <a:buNone/>
            </a:pPr>
            <a:r>
              <a:rPr lang="en-GB" sz="800" dirty="0"/>
              <a:t> },</a:t>
            </a:r>
          </a:p>
          <a:p>
            <a:pPr marL="0" indent="0">
              <a:buFont typeface="Arial"/>
              <a:buNone/>
            </a:pPr>
            <a:r>
              <a:rPr lang="en-GB" sz="800" dirty="0">
                <a:solidFill>
                  <a:schemeClr val="bg1"/>
                </a:solidFill>
              </a:rPr>
              <a:t> ”</a:t>
            </a:r>
            <a:r>
              <a:rPr lang="en-GB" sz="800" b="1" dirty="0">
                <a:solidFill>
                  <a:schemeClr val="bg1"/>
                </a:solidFill>
              </a:rPr>
              <a:t>response</a:t>
            </a:r>
            <a:r>
              <a:rPr lang="en-GB" sz="800" dirty="0">
                <a:solidFill>
                  <a:schemeClr val="bg1"/>
                </a:solidFill>
              </a:rPr>
              <a:t>" : {</a:t>
            </a:r>
          </a:p>
          <a:p>
            <a:pPr marL="0" indent="0">
              <a:buFont typeface="Arial"/>
              <a:buNone/>
            </a:pPr>
            <a:r>
              <a:rPr lang="en-GB" sz="800" dirty="0">
                <a:solidFill>
                  <a:schemeClr val="bg1"/>
                </a:solidFill>
              </a:rPr>
              <a:t>	"</a:t>
            </a:r>
            <a:r>
              <a:rPr lang="en-GB" sz="800" dirty="0">
                <a:solidFill>
                  <a:srgbClr val="00B050"/>
                </a:solidFill>
              </a:rPr>
              <a:t>status</a:t>
            </a:r>
            <a:r>
              <a:rPr lang="en-GB" sz="800" dirty="0">
                <a:solidFill>
                  <a:schemeClr val="bg1"/>
                </a:solidFill>
              </a:rPr>
              <a:t>" : 200, </a:t>
            </a:r>
          </a:p>
          <a:p>
            <a:pPr marL="0" indent="0">
              <a:buFont typeface="Arial"/>
              <a:buNone/>
            </a:pPr>
            <a:r>
              <a:rPr lang="en-GB" sz="800" dirty="0">
                <a:solidFill>
                  <a:schemeClr val="bg1"/>
                </a:solidFill>
              </a:rPr>
              <a:t>	"</a:t>
            </a:r>
            <a:r>
              <a:rPr lang="en-GB" sz="800" b="1" dirty="0" err="1">
                <a:solidFill>
                  <a:srgbClr val="00B050"/>
                </a:solidFill>
              </a:rPr>
              <a:t>bodyFileName</a:t>
            </a:r>
            <a:r>
              <a:rPr lang="en-GB" sz="800" dirty="0">
                <a:solidFill>
                  <a:schemeClr val="bg1"/>
                </a:solidFill>
              </a:rPr>
              <a:t>" : </a:t>
            </a:r>
          </a:p>
          <a:p>
            <a:pPr marL="0" indent="0">
              <a:buFont typeface="Arial"/>
              <a:buNone/>
            </a:pPr>
            <a:r>
              <a:rPr lang="en-GB" sz="800" dirty="0">
                <a:solidFill>
                  <a:schemeClr val="bg1"/>
                </a:solidFill>
              </a:rPr>
              <a:t>	"body-</a:t>
            </a:r>
            <a:r>
              <a:rPr lang="en-GB" sz="800" b="1" dirty="0">
                <a:solidFill>
                  <a:srgbClr val="FFC000"/>
                </a:solidFill>
              </a:rPr>
              <a:t>XA-PRE-WS-services-PreTelAndMail-AujaZ</a:t>
            </a:r>
            <a:r>
              <a:rPr lang="en-GB" sz="800" dirty="0">
                <a:solidFill>
                  <a:schemeClr val="bg1"/>
                </a:solidFill>
              </a:rPr>
              <a:t>.xml",</a:t>
            </a:r>
          </a:p>
          <a:p>
            <a:pPr marL="0" indent="0">
              <a:buFont typeface="Arial"/>
              <a:buNone/>
            </a:pPr>
            <a:r>
              <a:rPr lang="en-GB" sz="800" dirty="0">
                <a:solidFill>
                  <a:schemeClr val="bg1"/>
                </a:solidFill>
              </a:rPr>
              <a:t>	"</a:t>
            </a:r>
            <a:r>
              <a:rPr lang="en-GB" sz="800" b="1" dirty="0">
                <a:solidFill>
                  <a:schemeClr val="bg1"/>
                </a:solidFill>
              </a:rPr>
              <a:t>headers</a:t>
            </a:r>
            <a:r>
              <a:rPr lang="en-GB" sz="800" dirty="0">
                <a:solidFill>
                  <a:schemeClr val="bg1"/>
                </a:solidFill>
              </a:rPr>
              <a:t>" : {“”}	},</a:t>
            </a:r>
          </a:p>
          <a:p>
            <a:pPr marL="0" indent="0">
              <a:buFont typeface="Arial"/>
              <a:buNone/>
            </a:pPr>
            <a:r>
              <a:rPr lang="en-GB" sz="800" dirty="0">
                <a:solidFill>
                  <a:schemeClr val="bg1"/>
                </a:solidFill>
              </a:rPr>
              <a:t>  “</a:t>
            </a:r>
            <a:r>
              <a:rPr lang="en-GB" sz="800" dirty="0" err="1">
                <a:solidFill>
                  <a:schemeClr val="bg1"/>
                </a:solidFill>
              </a:rPr>
              <a:t>uuid</a:t>
            </a:r>
            <a:r>
              <a:rPr lang="en-GB" sz="800" dirty="0">
                <a:solidFill>
                  <a:schemeClr val="bg1"/>
                </a:solidFill>
              </a:rPr>
              <a:t>”: “…” }</a:t>
            </a:r>
          </a:p>
        </p:txBody>
      </p:sp>
      <p:sp>
        <p:nvSpPr>
          <p:cNvPr id="49" name="Content Placeholder 4">
            <a:extLst>
              <a:ext uri="{FF2B5EF4-FFF2-40B4-BE49-F238E27FC236}">
                <a16:creationId xmlns:a16="http://schemas.microsoft.com/office/drawing/2014/main" id="{1E9D1FD7-AC49-4914-B277-F078D5C49819}"/>
              </a:ext>
            </a:extLst>
          </p:cNvPr>
          <p:cNvSpPr txBox="1">
            <a:spLocks/>
          </p:cNvSpPr>
          <p:nvPr/>
        </p:nvSpPr>
        <p:spPr>
          <a:xfrm>
            <a:off x="4627417" y="1030628"/>
            <a:ext cx="3080692" cy="3294919"/>
          </a:xfrm>
          <a:prstGeom prst="rect">
            <a:avLst/>
          </a:prstGeom>
          <a:solidFill>
            <a:schemeClr val="tx1"/>
          </a:solidFill>
        </p:spPr>
        <p:txBody>
          <a:bodyPr>
            <a:noAutofit/>
          </a:bodyPr>
          <a:lstStyle>
            <a:lvl1pPr marL="176396" marR="0" indent="-176396" algn="l" defTabSz="342875" rtl="0" eaLnBrk="1" fontAlgn="auto" latinLnBrk="0" hangingPunct="1">
              <a:lnSpc>
                <a:spcPct val="100000"/>
              </a:lnSpc>
              <a:spcBef>
                <a:spcPct val="20000"/>
              </a:spcBef>
              <a:spcAft>
                <a:spcPts val="0"/>
              </a:spcAft>
              <a:buClr>
                <a:srgbClr val="E1061C"/>
              </a:buClr>
              <a:buSzTx/>
              <a:buFont typeface="Arial"/>
              <a:buChar char="•"/>
              <a:tabLst/>
              <a:defRPr sz="1600" kern="1200" baseline="0">
                <a:solidFill>
                  <a:schemeClr val="tx1"/>
                </a:solidFill>
                <a:latin typeface="+mn-lt"/>
                <a:ea typeface="+mn-ea"/>
                <a:cs typeface="Arial" panose="020B0604020202020204" pitchFamily="34" charset="0"/>
              </a:defRPr>
            </a:lvl1pPr>
            <a:lvl2pPr marL="626384" marR="0" indent="-169196" algn="l" defTabSz="342875" rtl="0" eaLnBrk="1" fontAlgn="auto" latinLnBrk="0" hangingPunct="1">
              <a:lnSpc>
                <a:spcPct val="100000"/>
              </a:lnSpc>
              <a:spcBef>
                <a:spcPct val="20000"/>
              </a:spcBef>
              <a:spcAft>
                <a:spcPts val="0"/>
              </a:spcAft>
              <a:buClr>
                <a:srgbClr val="E1061C"/>
              </a:buClr>
              <a:buSzTx/>
              <a:buFont typeface="Arial"/>
              <a:buChar char="•"/>
              <a:tabLst/>
              <a:defRPr sz="1600" kern="1200" baseline="0">
                <a:solidFill>
                  <a:schemeClr val="tx1"/>
                </a:solidFill>
                <a:latin typeface="+mn-lt"/>
                <a:ea typeface="+mn-ea"/>
                <a:cs typeface="Arial" panose="020B0604020202020204" pitchFamily="34" charset="0"/>
              </a:defRPr>
            </a:lvl2pPr>
            <a:lvl3pPr marL="1079973" marR="0" indent="-165596" algn="l" defTabSz="342875" rtl="0" eaLnBrk="1" fontAlgn="auto" latinLnBrk="0" hangingPunct="1">
              <a:lnSpc>
                <a:spcPct val="100000"/>
              </a:lnSpc>
              <a:spcBef>
                <a:spcPct val="20000"/>
              </a:spcBef>
              <a:spcAft>
                <a:spcPts val="0"/>
              </a:spcAft>
              <a:buClr>
                <a:srgbClr val="E1061C"/>
              </a:buClr>
              <a:buSzTx/>
              <a:buFont typeface="Arial"/>
              <a:buChar char="•"/>
              <a:tabLst/>
              <a:defRPr sz="1600" kern="1200" baseline="0">
                <a:solidFill>
                  <a:schemeClr val="tx1"/>
                </a:solidFill>
                <a:latin typeface="+mn-lt"/>
                <a:ea typeface="+mn-ea"/>
                <a:cs typeface="Arial" panose="020B0604020202020204" pitchFamily="34" charset="0"/>
              </a:defRPr>
            </a:lvl3pPr>
            <a:lvl4pPr marL="1522762" marR="0" indent="-151196" algn="l" defTabSz="342875" rtl="0" eaLnBrk="1" fontAlgn="auto" latinLnBrk="0" hangingPunct="1">
              <a:lnSpc>
                <a:spcPct val="100000"/>
              </a:lnSpc>
              <a:spcBef>
                <a:spcPct val="20000"/>
              </a:spcBef>
              <a:spcAft>
                <a:spcPts val="0"/>
              </a:spcAft>
              <a:buClr>
                <a:srgbClr val="E1061C"/>
              </a:buClr>
              <a:buSzTx/>
              <a:buFont typeface="Arial"/>
              <a:buChar char="•"/>
              <a:tabLst/>
              <a:defRPr sz="1600" kern="1200" baseline="0">
                <a:solidFill>
                  <a:schemeClr val="tx1"/>
                </a:solidFill>
                <a:latin typeface="+mn-lt"/>
                <a:ea typeface="+mn-ea"/>
                <a:cs typeface="Arial" panose="020B0604020202020204" pitchFamily="34" charset="0"/>
              </a:defRPr>
            </a:lvl4pPr>
            <a:lvl5pPr marL="1972751" marR="0" indent="-143996" algn="l" defTabSz="342875" rtl="0" eaLnBrk="1" fontAlgn="auto" latinLnBrk="0" hangingPunct="1">
              <a:lnSpc>
                <a:spcPct val="100000"/>
              </a:lnSpc>
              <a:spcBef>
                <a:spcPct val="20000"/>
              </a:spcBef>
              <a:spcAft>
                <a:spcPts val="0"/>
              </a:spcAft>
              <a:buClr>
                <a:srgbClr val="E1061C"/>
              </a:buClr>
              <a:buSzTx/>
              <a:buFont typeface="Arial"/>
              <a:buChar char="•"/>
              <a:tabLst/>
              <a:defRPr sz="1600" kern="1200" baseline="0">
                <a:solidFill>
                  <a:schemeClr val="tx1"/>
                </a:solidFill>
                <a:latin typeface="+mn-lt"/>
                <a:ea typeface="+mn-ea"/>
                <a:cs typeface="Arial" panose="020B0604020202020204" pitchFamily="34" charset="0"/>
              </a:defRPr>
            </a:lvl5pPr>
            <a:lvl6pPr marL="1885809" indent="-171438" algn="l" defTabSz="685749"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684" indent="-171438" algn="l" defTabSz="685749"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558" indent="-171438" algn="l" defTabSz="685749"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433" indent="-171438" algn="l" defTabSz="685749"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buFont typeface="Arial"/>
              <a:buNone/>
            </a:pPr>
            <a:r>
              <a:rPr lang="en-GB" sz="1100" b="1" dirty="0">
                <a:solidFill>
                  <a:schemeClr val="bg1"/>
                </a:solidFill>
              </a:rPr>
              <a:t>//Configure stub on remote server:</a:t>
            </a:r>
          </a:p>
          <a:p>
            <a:pPr marL="0" indent="0">
              <a:buFont typeface="Arial"/>
              <a:buNone/>
            </a:pPr>
            <a:endParaRPr lang="en-GB" sz="1100" b="1" dirty="0">
              <a:solidFill>
                <a:schemeClr val="bg1"/>
              </a:solidFill>
            </a:endParaRPr>
          </a:p>
          <a:p>
            <a:pPr marL="0" indent="0">
              <a:buFont typeface="Arial"/>
              <a:buNone/>
            </a:pPr>
            <a:r>
              <a:rPr lang="en-US" sz="800" b="1" dirty="0" err="1">
                <a:solidFill>
                  <a:srgbClr val="00B050"/>
                </a:solidFill>
              </a:rPr>
              <a:t>WireMock</a:t>
            </a:r>
            <a:r>
              <a:rPr lang="en-US" sz="800" b="1" dirty="0">
                <a:solidFill>
                  <a:srgbClr val="00B050"/>
                </a:solidFill>
              </a:rPr>
              <a:t> </a:t>
            </a:r>
            <a:r>
              <a:rPr lang="en-US" sz="800" b="1" dirty="0" err="1">
                <a:solidFill>
                  <a:srgbClr val="00B050"/>
                </a:solidFill>
              </a:rPr>
              <a:t>wm</a:t>
            </a:r>
            <a:r>
              <a:rPr lang="en-US" sz="800" b="1" dirty="0">
                <a:solidFill>
                  <a:srgbClr val="00B050"/>
                </a:solidFill>
              </a:rPr>
              <a:t> = </a:t>
            </a:r>
          </a:p>
          <a:p>
            <a:pPr marL="0" indent="0">
              <a:buFont typeface="Arial"/>
              <a:buNone/>
            </a:pPr>
            <a:r>
              <a:rPr lang="en-US" sz="800" b="1" dirty="0">
                <a:solidFill>
                  <a:srgbClr val="00B050"/>
                </a:solidFill>
              </a:rPr>
              <a:t>	new </a:t>
            </a:r>
            <a:r>
              <a:rPr lang="en-US" sz="800" b="1" dirty="0" err="1">
                <a:solidFill>
                  <a:srgbClr val="00B050"/>
                </a:solidFill>
              </a:rPr>
              <a:t>WireMock</a:t>
            </a:r>
            <a:r>
              <a:rPr lang="en-US" sz="800" b="1" dirty="0">
                <a:solidFill>
                  <a:srgbClr val="00B050"/>
                </a:solidFill>
              </a:rPr>
              <a:t>("https", “wiremock.intranet.it", 8001);</a:t>
            </a:r>
          </a:p>
          <a:p>
            <a:pPr marL="0" indent="0">
              <a:buFont typeface="Arial"/>
              <a:buNone/>
            </a:pPr>
            <a:r>
              <a:rPr lang="en-US" sz="1050" b="1" dirty="0">
                <a:solidFill>
                  <a:schemeClr val="bg1"/>
                </a:solidFill>
              </a:rPr>
              <a:t>//Configure Matchers programmatically:</a:t>
            </a:r>
            <a:endParaRPr lang="en-GB" sz="1050" b="1" dirty="0">
              <a:solidFill>
                <a:schemeClr val="bg1"/>
              </a:solidFill>
            </a:endParaRPr>
          </a:p>
          <a:p>
            <a:pPr marL="0" indent="0">
              <a:buFont typeface="Arial"/>
              <a:buNone/>
            </a:pPr>
            <a:r>
              <a:rPr lang="en-US" sz="800" b="1" dirty="0" err="1">
                <a:solidFill>
                  <a:srgbClr val="00B050"/>
                </a:solidFill>
                <a:cs typeface="Courier New" panose="02070309020205020404" pitchFamily="49" charset="0"/>
              </a:rPr>
              <a:t>stubFor</a:t>
            </a:r>
            <a:r>
              <a:rPr lang="en-US" sz="800" dirty="0">
                <a:solidFill>
                  <a:schemeClr val="bg1"/>
                </a:solidFill>
                <a:cs typeface="Courier New" panose="02070309020205020404" pitchFamily="49" charset="0"/>
              </a:rPr>
              <a:t>(</a:t>
            </a:r>
          </a:p>
          <a:p>
            <a:pPr marL="0" indent="0">
              <a:buFont typeface="Arial"/>
              <a:buNone/>
            </a:pPr>
            <a:endParaRPr lang="en-US" sz="800" dirty="0">
              <a:solidFill>
                <a:schemeClr val="bg1"/>
              </a:solidFill>
              <a:cs typeface="Courier New" panose="02070309020205020404" pitchFamily="49" charset="0"/>
            </a:endParaRPr>
          </a:p>
          <a:p>
            <a:pPr marL="0" indent="0">
              <a:buFont typeface="Arial"/>
              <a:buNone/>
            </a:pPr>
            <a:r>
              <a:rPr lang="en-US" sz="800" dirty="0">
                <a:solidFill>
                  <a:schemeClr val="bg1"/>
                </a:solidFill>
                <a:cs typeface="Courier New" panose="02070309020205020404" pitchFamily="49" charset="0"/>
              </a:rPr>
              <a:t>// request matcher</a:t>
            </a:r>
          </a:p>
          <a:p>
            <a:pPr marL="0" indent="0">
              <a:buFont typeface="Arial"/>
              <a:buNone/>
            </a:pPr>
            <a:r>
              <a:rPr lang="en-US" sz="800" b="1" dirty="0">
                <a:solidFill>
                  <a:srgbClr val="00B050"/>
                </a:solidFill>
                <a:cs typeface="Courier New" panose="02070309020205020404" pitchFamily="49" charset="0"/>
              </a:rPr>
              <a:t>post</a:t>
            </a:r>
            <a:r>
              <a:rPr lang="en-US" sz="800" dirty="0">
                <a:solidFill>
                  <a:schemeClr val="bg1"/>
                </a:solidFill>
                <a:cs typeface="Courier New" panose="02070309020205020404" pitchFamily="49" charset="0"/>
              </a:rPr>
              <a:t>(</a:t>
            </a:r>
            <a:r>
              <a:rPr lang="en-US" sz="800" dirty="0" err="1">
                <a:solidFill>
                  <a:schemeClr val="bg1"/>
                </a:solidFill>
                <a:cs typeface="Courier New" panose="02070309020205020404" pitchFamily="49" charset="0"/>
              </a:rPr>
              <a:t>urlEqualTo</a:t>
            </a:r>
            <a:r>
              <a:rPr lang="en-US" sz="800" dirty="0">
                <a:solidFill>
                  <a:schemeClr val="bg1"/>
                </a:solidFill>
                <a:cs typeface="Courier New" panose="02070309020205020404" pitchFamily="49" charset="0"/>
              </a:rPr>
              <a:t>(“countries”))       </a:t>
            </a:r>
          </a:p>
          <a:p>
            <a:pPr marL="0" indent="0">
              <a:buFont typeface="Arial"/>
              <a:buNone/>
            </a:pPr>
            <a:r>
              <a:rPr lang="en-US" sz="800" dirty="0">
                <a:solidFill>
                  <a:schemeClr val="bg1"/>
                </a:solidFill>
                <a:cs typeface="Courier New" panose="02070309020205020404" pitchFamily="49" charset="0"/>
              </a:rPr>
              <a:t>.</a:t>
            </a:r>
            <a:r>
              <a:rPr lang="en-US" sz="800" b="1" dirty="0" err="1">
                <a:solidFill>
                  <a:schemeClr val="bg1"/>
                </a:solidFill>
                <a:cs typeface="Courier New" panose="02070309020205020404" pitchFamily="49" charset="0"/>
              </a:rPr>
              <a:t>withRequestBody</a:t>
            </a:r>
            <a:r>
              <a:rPr lang="en-US" sz="800" dirty="0">
                <a:solidFill>
                  <a:schemeClr val="bg1"/>
                </a:solidFill>
                <a:cs typeface="Courier New" panose="02070309020205020404" pitchFamily="49" charset="0"/>
              </a:rPr>
              <a:t>(</a:t>
            </a:r>
          </a:p>
          <a:p>
            <a:pPr marL="0" indent="0">
              <a:buFont typeface="Arial"/>
              <a:buNone/>
            </a:pPr>
            <a:r>
              <a:rPr lang="en-US" sz="800" b="1" dirty="0">
                <a:solidFill>
                  <a:schemeClr val="bg1"/>
                </a:solidFill>
                <a:cs typeface="Courier New" panose="02070309020205020404" pitchFamily="49" charset="0"/>
              </a:rPr>
              <a:t>	</a:t>
            </a:r>
            <a:r>
              <a:rPr lang="en-US" sz="800" b="1" dirty="0" err="1">
                <a:solidFill>
                  <a:srgbClr val="00B050"/>
                </a:solidFill>
                <a:cs typeface="Courier New" panose="02070309020205020404" pitchFamily="49" charset="0"/>
              </a:rPr>
              <a:t>matchingXPath</a:t>
            </a:r>
            <a:r>
              <a:rPr lang="en-US" sz="800" dirty="0">
                <a:solidFill>
                  <a:schemeClr val="bg1"/>
                </a:solidFill>
                <a:cs typeface="Courier New" panose="02070309020205020404" pitchFamily="49" charset="0"/>
              </a:rPr>
              <a:t>("//request/country/text()", containing(“Italy”)))                .</a:t>
            </a:r>
            <a:r>
              <a:rPr lang="en-US" sz="800" b="1" dirty="0" err="1">
                <a:solidFill>
                  <a:schemeClr val="bg1"/>
                </a:solidFill>
                <a:cs typeface="Courier New" panose="02070309020205020404" pitchFamily="49" charset="0"/>
              </a:rPr>
              <a:t>withRequestBody</a:t>
            </a:r>
            <a:r>
              <a:rPr lang="en-US" sz="800" dirty="0">
                <a:solidFill>
                  <a:schemeClr val="bg1"/>
                </a:solidFill>
                <a:cs typeface="Courier New" panose="02070309020205020404" pitchFamily="49" charset="0"/>
              </a:rPr>
              <a:t>(</a:t>
            </a:r>
          </a:p>
          <a:p>
            <a:pPr marL="0" indent="0">
              <a:buFont typeface="Arial"/>
              <a:buNone/>
            </a:pPr>
            <a:r>
              <a:rPr lang="en-US" sz="800" b="1" dirty="0">
                <a:solidFill>
                  <a:schemeClr val="bg1"/>
                </a:solidFill>
                <a:cs typeface="Courier New" panose="02070309020205020404" pitchFamily="49" charset="0"/>
              </a:rPr>
              <a:t>	</a:t>
            </a:r>
            <a:r>
              <a:rPr lang="en-US" sz="800" b="1" dirty="0" err="1">
                <a:solidFill>
                  <a:srgbClr val="00B050"/>
                </a:solidFill>
                <a:cs typeface="Courier New" panose="02070309020205020404" pitchFamily="49" charset="0"/>
              </a:rPr>
              <a:t>matchingXPath</a:t>
            </a:r>
            <a:r>
              <a:rPr lang="en-US" sz="800" dirty="0">
                <a:solidFill>
                  <a:schemeClr val="bg1"/>
                </a:solidFill>
                <a:cs typeface="Courier New" panose="02070309020205020404" pitchFamily="49" charset="0"/>
              </a:rPr>
              <a:t>("//request/country/text()", containing(“Spain”)))</a:t>
            </a:r>
          </a:p>
          <a:p>
            <a:pPr marL="0" indent="0">
              <a:buFont typeface="Arial"/>
              <a:buNone/>
            </a:pPr>
            <a:endParaRPr lang="en-US" sz="800" dirty="0">
              <a:solidFill>
                <a:schemeClr val="bg1"/>
              </a:solidFill>
              <a:cs typeface="Courier New" panose="02070309020205020404" pitchFamily="49" charset="0"/>
            </a:endParaRPr>
          </a:p>
          <a:p>
            <a:pPr marL="0" indent="0">
              <a:buFont typeface="Arial"/>
              <a:buNone/>
            </a:pPr>
            <a:r>
              <a:rPr lang="en-US" sz="800" dirty="0">
                <a:solidFill>
                  <a:schemeClr val="bg1"/>
                </a:solidFill>
                <a:cs typeface="Courier New" panose="02070309020205020404" pitchFamily="49" charset="0"/>
              </a:rPr>
              <a:t> //response       </a:t>
            </a:r>
          </a:p>
          <a:p>
            <a:pPr marL="0" indent="0">
              <a:buFont typeface="Arial"/>
              <a:buNone/>
            </a:pPr>
            <a:r>
              <a:rPr lang="en-US" sz="800" dirty="0">
                <a:solidFill>
                  <a:schemeClr val="bg1"/>
                </a:solidFill>
                <a:cs typeface="Courier New" panose="02070309020205020404" pitchFamily="49" charset="0"/>
              </a:rPr>
              <a:t>.</a:t>
            </a:r>
            <a:r>
              <a:rPr lang="en-US" sz="800" b="1" dirty="0" err="1">
                <a:solidFill>
                  <a:schemeClr val="bg1"/>
                </a:solidFill>
                <a:cs typeface="Courier New" panose="02070309020205020404" pitchFamily="49" charset="0"/>
              </a:rPr>
              <a:t>willReturn</a:t>
            </a:r>
            <a:r>
              <a:rPr lang="en-US" sz="800" dirty="0">
                <a:solidFill>
                  <a:schemeClr val="bg1"/>
                </a:solidFill>
                <a:cs typeface="Courier New" panose="02070309020205020404" pitchFamily="49" charset="0"/>
              </a:rPr>
              <a:t>(  </a:t>
            </a:r>
            <a:r>
              <a:rPr lang="en-US" sz="800" dirty="0" err="1">
                <a:solidFill>
                  <a:schemeClr val="bg1"/>
                </a:solidFill>
                <a:cs typeface="Courier New" panose="02070309020205020404" pitchFamily="49" charset="0"/>
              </a:rPr>
              <a:t>aResponse</a:t>
            </a:r>
            <a:r>
              <a:rPr lang="en-US" sz="800" dirty="0">
                <a:solidFill>
                  <a:schemeClr val="bg1"/>
                </a:solidFill>
                <a:cs typeface="Courier New" panose="02070309020205020404" pitchFamily="49" charset="0"/>
              </a:rPr>
              <a:t>()</a:t>
            </a:r>
          </a:p>
          <a:p>
            <a:pPr marL="0" indent="0">
              <a:buFont typeface="Arial"/>
              <a:buNone/>
            </a:pPr>
            <a:r>
              <a:rPr lang="en-US" sz="800" dirty="0">
                <a:solidFill>
                  <a:schemeClr val="bg1"/>
                </a:solidFill>
                <a:cs typeface="Courier New" panose="02070309020205020404" pitchFamily="49" charset="0"/>
              </a:rPr>
              <a:t>	.</a:t>
            </a:r>
            <a:r>
              <a:rPr lang="en-US" sz="800" dirty="0" err="1">
                <a:solidFill>
                  <a:schemeClr val="bg1"/>
                </a:solidFill>
                <a:cs typeface="Courier New" panose="02070309020205020404" pitchFamily="49" charset="0"/>
              </a:rPr>
              <a:t>withStatus</a:t>
            </a:r>
            <a:r>
              <a:rPr lang="en-US" sz="800" dirty="0">
                <a:solidFill>
                  <a:schemeClr val="bg1"/>
                </a:solidFill>
                <a:cs typeface="Courier New" panose="02070309020205020404" pitchFamily="49" charset="0"/>
              </a:rPr>
              <a:t>(200)</a:t>
            </a:r>
          </a:p>
          <a:p>
            <a:pPr marL="0" indent="0">
              <a:buFont typeface="Arial"/>
              <a:buNone/>
            </a:pPr>
            <a:r>
              <a:rPr lang="en-US" sz="800" dirty="0">
                <a:solidFill>
                  <a:schemeClr val="bg1"/>
                </a:solidFill>
                <a:cs typeface="Courier New" panose="02070309020205020404" pitchFamily="49" charset="0"/>
              </a:rPr>
              <a:t>	.</a:t>
            </a:r>
            <a:r>
              <a:rPr lang="en-US" sz="800" dirty="0" err="1">
                <a:solidFill>
                  <a:schemeClr val="bg1"/>
                </a:solidFill>
                <a:cs typeface="Courier New" panose="02070309020205020404" pitchFamily="49" charset="0"/>
              </a:rPr>
              <a:t>withHeader</a:t>
            </a:r>
            <a:r>
              <a:rPr lang="en-US" sz="800" dirty="0">
                <a:solidFill>
                  <a:schemeClr val="bg1"/>
                </a:solidFill>
                <a:cs typeface="Courier New" panose="02070309020205020404" pitchFamily="49" charset="0"/>
              </a:rPr>
              <a:t>("content-</a:t>
            </a:r>
            <a:r>
              <a:rPr lang="en-US" sz="800" dirty="0" err="1">
                <a:solidFill>
                  <a:schemeClr val="bg1"/>
                </a:solidFill>
                <a:cs typeface="Courier New" panose="02070309020205020404" pitchFamily="49" charset="0"/>
              </a:rPr>
              <a:t>type","text</a:t>
            </a:r>
            <a:r>
              <a:rPr lang="en-US" sz="800" dirty="0">
                <a:solidFill>
                  <a:schemeClr val="bg1"/>
                </a:solidFill>
                <a:cs typeface="Courier New" panose="02070309020205020404" pitchFamily="49" charset="0"/>
              </a:rPr>
              <a:t>/xml")                                </a:t>
            </a:r>
            <a:r>
              <a:rPr lang="en-US" sz="800" dirty="0">
                <a:solidFill>
                  <a:srgbClr val="00B050"/>
                </a:solidFill>
                <a:cs typeface="Courier New" panose="02070309020205020404" pitchFamily="49" charset="0"/>
              </a:rPr>
              <a:t>.	.</a:t>
            </a:r>
            <a:r>
              <a:rPr lang="en-US" sz="800" b="1" dirty="0" err="1">
                <a:solidFill>
                  <a:srgbClr val="00B050"/>
                </a:solidFill>
                <a:cs typeface="Courier New" panose="02070309020205020404" pitchFamily="49" charset="0"/>
              </a:rPr>
              <a:t>withBodyFile</a:t>
            </a:r>
            <a:r>
              <a:rPr lang="en-US" sz="800" dirty="0">
                <a:solidFill>
                  <a:srgbClr val="00B050"/>
                </a:solidFill>
                <a:cs typeface="Courier New" panose="02070309020205020404" pitchFamily="49" charset="0"/>
              </a:rPr>
              <a:t>("</a:t>
            </a:r>
            <a:r>
              <a:rPr lang="en-US" sz="800" b="1" dirty="0">
                <a:solidFill>
                  <a:srgbClr val="00B050"/>
                </a:solidFill>
                <a:cs typeface="Courier New" panose="02070309020205020404" pitchFamily="49" charset="0"/>
              </a:rPr>
              <a:t>CountrySuccessResponse</a:t>
            </a:r>
            <a:r>
              <a:rPr lang="en-US" sz="800" dirty="0">
                <a:solidFill>
                  <a:srgbClr val="00B050"/>
                </a:solidFill>
                <a:cs typeface="Courier New" panose="02070309020205020404" pitchFamily="49" charset="0"/>
              </a:rPr>
              <a:t>.xml")</a:t>
            </a:r>
          </a:p>
          <a:p>
            <a:pPr marL="0" indent="0">
              <a:buFont typeface="Arial"/>
              <a:buNone/>
            </a:pPr>
            <a:r>
              <a:rPr lang="en-US" sz="900" dirty="0">
                <a:solidFill>
                  <a:schemeClr val="bg1"/>
                </a:solidFill>
                <a:cs typeface="Courier New" panose="02070309020205020404" pitchFamily="49" charset="0"/>
              </a:rPr>
              <a:t>));</a:t>
            </a:r>
            <a:endParaRPr lang="en-GB" sz="900" dirty="0">
              <a:solidFill>
                <a:schemeClr val="bg1"/>
              </a:solidFill>
              <a:cs typeface="Courier New" panose="02070309020205020404" pitchFamily="49" charset="0"/>
            </a:endParaRPr>
          </a:p>
        </p:txBody>
      </p:sp>
      <p:sp>
        <p:nvSpPr>
          <p:cNvPr id="51" name="Title 5">
            <a:extLst>
              <a:ext uri="{FF2B5EF4-FFF2-40B4-BE49-F238E27FC236}">
                <a16:creationId xmlns:a16="http://schemas.microsoft.com/office/drawing/2014/main" id="{67C77221-BC24-4388-87BF-99DC41E5ED1A}"/>
              </a:ext>
            </a:extLst>
          </p:cNvPr>
          <p:cNvSpPr>
            <a:spLocks noGrp="1"/>
          </p:cNvSpPr>
          <p:nvPr>
            <p:ph type="title"/>
          </p:nvPr>
        </p:nvSpPr>
        <p:spPr>
          <a:xfrm>
            <a:off x="270000" y="0"/>
            <a:ext cx="6517800" cy="756000"/>
          </a:xfrm>
        </p:spPr>
        <p:txBody>
          <a:bodyPr/>
          <a:lstStyle/>
          <a:p>
            <a:r>
              <a:rPr lang="en-GB" dirty="0"/>
              <a:t>Service Virtualization – for Developers</a:t>
            </a:r>
          </a:p>
        </p:txBody>
      </p:sp>
    </p:spTree>
    <p:extLst>
      <p:ext uri="{BB962C8B-B14F-4D97-AF65-F5344CB8AC3E}">
        <p14:creationId xmlns:p14="http://schemas.microsoft.com/office/powerpoint/2010/main" val="83728899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41F543F-A6B2-4CF9-B713-2D97465BFE5A}"/>
              </a:ext>
            </a:extLst>
          </p:cNvPr>
          <p:cNvSpPr>
            <a:spLocks noGrp="1"/>
          </p:cNvSpPr>
          <p:nvPr>
            <p:ph type="body" sz="quarter" idx="12"/>
          </p:nvPr>
        </p:nvSpPr>
        <p:spPr/>
        <p:txBody>
          <a:bodyPr/>
          <a:lstStyle/>
          <a:p>
            <a:endParaRPr lang="en-GB"/>
          </a:p>
        </p:txBody>
      </p:sp>
      <p:sp>
        <p:nvSpPr>
          <p:cNvPr id="3" name="Text Placeholder 2">
            <a:extLst>
              <a:ext uri="{FF2B5EF4-FFF2-40B4-BE49-F238E27FC236}">
                <a16:creationId xmlns:a16="http://schemas.microsoft.com/office/drawing/2014/main" id="{55A70323-5320-4E96-B786-95358812BC82}"/>
              </a:ext>
            </a:extLst>
          </p:cNvPr>
          <p:cNvSpPr>
            <a:spLocks noGrp="1"/>
          </p:cNvSpPr>
          <p:nvPr>
            <p:ph type="body" sz="quarter" idx="16"/>
          </p:nvPr>
        </p:nvSpPr>
        <p:spPr/>
        <p:txBody>
          <a:bodyPr/>
          <a:lstStyle/>
          <a:p>
            <a:endParaRPr lang="en-GB"/>
          </a:p>
        </p:txBody>
      </p:sp>
      <p:sp>
        <p:nvSpPr>
          <p:cNvPr id="4" name="Slide Number Placeholder 3">
            <a:extLst>
              <a:ext uri="{FF2B5EF4-FFF2-40B4-BE49-F238E27FC236}">
                <a16:creationId xmlns:a16="http://schemas.microsoft.com/office/drawing/2014/main" id="{AEAA7B0A-F25B-4889-8408-25405C46086D}"/>
              </a:ext>
            </a:extLst>
          </p:cNvPr>
          <p:cNvSpPr>
            <a:spLocks noGrp="1"/>
          </p:cNvSpPr>
          <p:nvPr>
            <p:ph type="sldNum" sz="quarter" idx="11"/>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fld id="{1D1043DC-2681-49D5-9D69-158B3FA3398E}" type="slidenum">
              <a:rPr kumimoji="0" lang="en-GB" sz="900" b="0" i="0" u="none" strike="noStrike" kern="1200" cap="none" spc="0" normalizeH="0" baseline="0" noProof="1" smtClean="0">
                <a:ln>
                  <a:noFill/>
                </a:ln>
                <a:solidFill>
                  <a:srgbClr val="00AFD0"/>
                </a:solidFill>
                <a:effectLst/>
                <a:uLnTx/>
                <a:uFillTx/>
                <a:latin typeface="UniCredit"/>
                <a:ea typeface="+mn-ea"/>
                <a:cs typeface="Arial" panose="020B0604020202020204" pitchFamily="34" charset="0"/>
              </a:rPr>
              <a:pPr marL="0" marR="0" lvl="0" indent="0" algn="l" defTabSz="685800" rtl="0" eaLnBrk="1" fontAlgn="auto" latinLnBrk="0" hangingPunct="1">
                <a:lnSpc>
                  <a:spcPct val="100000"/>
                </a:lnSpc>
                <a:spcBef>
                  <a:spcPts val="0"/>
                </a:spcBef>
                <a:spcAft>
                  <a:spcPts val="0"/>
                </a:spcAft>
                <a:buClrTx/>
                <a:buSzTx/>
                <a:buFontTx/>
                <a:buNone/>
                <a:tabLst/>
                <a:defRPr/>
              </a:pPr>
              <a:t>34</a:t>
            </a:fld>
            <a:endParaRPr kumimoji="0" lang="en-GB" sz="900" b="0" i="0" u="none" strike="noStrike" kern="1200" cap="none" spc="0" normalizeH="0" baseline="0" noProof="1">
              <a:ln>
                <a:noFill/>
              </a:ln>
              <a:solidFill>
                <a:srgbClr val="00AFD0"/>
              </a:solidFill>
              <a:effectLst/>
              <a:uLnTx/>
              <a:uFillTx/>
              <a:latin typeface="UniCredit"/>
              <a:ea typeface="+mn-ea"/>
              <a:cs typeface="Arial" panose="020B0604020202020204" pitchFamily="34" charset="0"/>
            </a:endParaRPr>
          </a:p>
        </p:txBody>
      </p:sp>
      <p:sp>
        <p:nvSpPr>
          <p:cNvPr id="5" name="Content Placeholder 4">
            <a:extLst>
              <a:ext uri="{FF2B5EF4-FFF2-40B4-BE49-F238E27FC236}">
                <a16:creationId xmlns:a16="http://schemas.microsoft.com/office/drawing/2014/main" id="{62EE9D71-D56C-4EC2-8A6B-830544E53B73}"/>
              </a:ext>
            </a:extLst>
          </p:cNvPr>
          <p:cNvSpPr>
            <a:spLocks noGrp="1"/>
          </p:cNvSpPr>
          <p:nvPr>
            <p:ph sz="quarter" idx="18"/>
          </p:nvPr>
        </p:nvSpPr>
        <p:spPr>
          <a:xfrm>
            <a:off x="1812897" y="964762"/>
            <a:ext cx="6611102" cy="3518058"/>
          </a:xfrm>
        </p:spPr>
        <p:txBody>
          <a:bodyPr>
            <a:noAutofit/>
          </a:bodyPr>
          <a:lstStyle/>
          <a:p>
            <a:pPr marL="0" indent="0">
              <a:buNone/>
            </a:pPr>
            <a:r>
              <a:rPr lang="en-GB" sz="1400" dirty="0"/>
              <a:t>We are designing an Environment agnostic test suite</a:t>
            </a:r>
          </a:p>
          <a:p>
            <a:pPr marL="0" indent="0">
              <a:buNone/>
            </a:pPr>
            <a:r>
              <a:rPr lang="en-GB" sz="1400" dirty="0"/>
              <a:t>Tests must run on UJ, Q0 and in DWP.</a:t>
            </a:r>
          </a:p>
          <a:p>
            <a:endParaRPr lang="en-GB" sz="1400" dirty="0"/>
          </a:p>
          <a:p>
            <a:pPr marL="0" indent="0">
              <a:buNone/>
            </a:pPr>
            <a:r>
              <a:rPr lang="en-GB" sz="1400" dirty="0"/>
              <a:t>For all endpoints. Single script  for each environments</a:t>
            </a:r>
          </a:p>
          <a:p>
            <a:pPr marL="0" indent="0">
              <a:buNone/>
            </a:pPr>
            <a:r>
              <a:rPr lang="en-GB" sz="1400" dirty="0"/>
              <a:t>Easy to redirect to the Virtualization Service.</a:t>
            </a:r>
          </a:p>
          <a:p>
            <a:pPr marL="0" indent="0">
              <a:buNone/>
            </a:pPr>
            <a:endParaRPr lang="en-GB" sz="1400" dirty="0"/>
          </a:p>
          <a:p>
            <a:pPr marL="0" indent="0">
              <a:buNone/>
            </a:pPr>
            <a:r>
              <a:rPr lang="en-GB" sz="1400" dirty="0"/>
              <a:t>With Recorded Stubs for existing application with large number of integrations. WM Server address must be fixed: is not possible with programmatic WM Server started in pipeline.</a:t>
            </a:r>
          </a:p>
          <a:p>
            <a:endParaRPr lang="en-GB" sz="1400" b="1" dirty="0"/>
          </a:p>
          <a:p>
            <a:pPr marL="0" indent="0">
              <a:buNone/>
            </a:pPr>
            <a:r>
              <a:rPr lang="en-GB" sz="1400" dirty="0"/>
              <a:t>Mappings are published for on playback server just before tests execution. The same approach for database state Scripts.</a:t>
            </a:r>
          </a:p>
          <a:p>
            <a:endParaRPr lang="en-GB" sz="1400" dirty="0"/>
          </a:p>
          <a:p>
            <a:pPr marL="0" indent="0">
              <a:buNone/>
            </a:pPr>
            <a:r>
              <a:rPr lang="en-GB" sz="1400" dirty="0"/>
              <a:t>Simulated with HTTP Clients, triggered from the test pipeline on the right moment in the flow. </a:t>
            </a:r>
            <a:r>
              <a:rPr lang="en-GB" sz="1400" dirty="0" err="1"/>
              <a:t>Eg</a:t>
            </a:r>
            <a:r>
              <a:rPr lang="en-GB" sz="1400" dirty="0"/>
              <a:t>: BPM orchestration calls to application services.</a:t>
            </a:r>
          </a:p>
          <a:p>
            <a:endParaRPr lang="en-GB" sz="1400" dirty="0"/>
          </a:p>
          <a:p>
            <a:endParaRPr lang="en-GB" sz="1400" dirty="0"/>
          </a:p>
          <a:p>
            <a:endParaRPr lang="en-GB" sz="1400" dirty="0"/>
          </a:p>
          <a:p>
            <a:endParaRPr lang="en-GB" sz="1400" dirty="0"/>
          </a:p>
          <a:p>
            <a:endParaRPr lang="en-GB" sz="1400" b="1" dirty="0"/>
          </a:p>
        </p:txBody>
      </p:sp>
      <p:sp>
        <p:nvSpPr>
          <p:cNvPr id="7" name="Title 6">
            <a:extLst>
              <a:ext uri="{FF2B5EF4-FFF2-40B4-BE49-F238E27FC236}">
                <a16:creationId xmlns:a16="http://schemas.microsoft.com/office/drawing/2014/main" id="{A2E6E954-C98B-449B-93DA-EE2E9853D34E}"/>
              </a:ext>
            </a:extLst>
          </p:cNvPr>
          <p:cNvSpPr>
            <a:spLocks noGrp="1"/>
          </p:cNvSpPr>
          <p:nvPr>
            <p:ph type="title"/>
          </p:nvPr>
        </p:nvSpPr>
        <p:spPr>
          <a:xfrm>
            <a:off x="232200" y="246441"/>
            <a:ext cx="8679600" cy="640208"/>
          </a:xfrm>
        </p:spPr>
        <p:txBody>
          <a:bodyPr/>
          <a:lstStyle/>
          <a:p>
            <a:r>
              <a:rPr lang="en-GB" dirty="0"/>
              <a:t>Service Virtualization  - Our Approach</a:t>
            </a:r>
            <a:br>
              <a:rPr lang="en-GB" dirty="0"/>
            </a:br>
            <a:endParaRPr lang="en-GB" dirty="0"/>
          </a:p>
        </p:txBody>
      </p:sp>
      <p:pic>
        <p:nvPicPr>
          <p:cNvPr id="9" name="Picture 2">
            <a:extLst>
              <a:ext uri="{FF2B5EF4-FFF2-40B4-BE49-F238E27FC236}">
                <a16:creationId xmlns:a16="http://schemas.microsoft.com/office/drawing/2014/main" id="{F6505442-11D4-4BD9-AAB5-6D9B05793CF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902036" y="154300"/>
            <a:ext cx="1043927" cy="476481"/>
          </a:xfrm>
          <a:prstGeom prst="rect">
            <a:avLst/>
          </a:prstGeom>
          <a:noFill/>
          <a:extLst>
            <a:ext uri="{909E8E84-426E-40DD-AFC4-6F175D3DCCD1}">
              <a14:hiddenFill xmlns:a14="http://schemas.microsoft.com/office/drawing/2010/main">
                <a:solidFill>
                  <a:srgbClr val="FFFFFF"/>
                </a:solidFill>
              </a14:hiddenFill>
            </a:ext>
          </a:extLst>
        </p:spPr>
      </p:pic>
      <p:sp>
        <p:nvSpPr>
          <p:cNvPr id="8" name="Round Diagonal Corner Rectangle 16">
            <a:extLst>
              <a:ext uri="{FF2B5EF4-FFF2-40B4-BE49-F238E27FC236}">
                <a16:creationId xmlns:a16="http://schemas.microsoft.com/office/drawing/2014/main" id="{AA002DE6-AEC1-40CB-A214-B9461A664B47}"/>
              </a:ext>
            </a:extLst>
          </p:cNvPr>
          <p:cNvSpPr/>
          <p:nvPr/>
        </p:nvSpPr>
        <p:spPr>
          <a:xfrm>
            <a:off x="103300" y="944415"/>
            <a:ext cx="1566473" cy="576391"/>
          </a:xfrm>
          <a:prstGeom prst="homePlate">
            <a:avLst>
              <a:gd name="adj" fmla="val 14071"/>
            </a:avLst>
          </a:prstGeom>
          <a:solidFill>
            <a:srgbClr val="00AFD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80000" tIns="0" rIns="72000" bIns="0" rtlCol="0" anchor="ctr"/>
          <a:lstStyle/>
          <a:p>
            <a:pPr lvl="0">
              <a:spcAft>
                <a:spcPts val="5400"/>
              </a:spcAft>
            </a:pPr>
            <a:r>
              <a:rPr lang="en-GB" sz="1200" b="1" dirty="0"/>
              <a:t>Isolation and Portability</a:t>
            </a:r>
            <a:endParaRPr kumimoji="0" lang="en-US" sz="1200" b="1" i="0" u="none" strike="noStrike" kern="1200" cap="none" spc="0" normalizeH="0" baseline="0" noProof="0" dirty="0">
              <a:ln>
                <a:noFill/>
              </a:ln>
              <a:solidFill>
                <a:prstClr val="white"/>
              </a:solidFill>
              <a:effectLst/>
              <a:uLnTx/>
              <a:uFillTx/>
              <a:latin typeface="UniCredit"/>
              <a:ea typeface="+mn-ea"/>
              <a:cs typeface="+mn-cs"/>
            </a:endParaRPr>
          </a:p>
        </p:txBody>
      </p:sp>
      <p:sp>
        <p:nvSpPr>
          <p:cNvPr id="10" name="Round Diagonal Corner Rectangle 16">
            <a:extLst>
              <a:ext uri="{FF2B5EF4-FFF2-40B4-BE49-F238E27FC236}">
                <a16:creationId xmlns:a16="http://schemas.microsoft.com/office/drawing/2014/main" id="{1AC25FD1-35AB-46B9-A137-6DF24D53F6C6}"/>
              </a:ext>
            </a:extLst>
          </p:cNvPr>
          <p:cNvSpPr/>
          <p:nvPr/>
        </p:nvSpPr>
        <p:spPr>
          <a:xfrm>
            <a:off x="103299" y="1659708"/>
            <a:ext cx="1566473" cy="576391"/>
          </a:xfrm>
          <a:prstGeom prst="homePlate">
            <a:avLst>
              <a:gd name="adj" fmla="val 14071"/>
            </a:avLst>
          </a:prstGeom>
          <a:solidFill>
            <a:srgbClr val="00AFD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80000" tIns="0" rIns="72000" bIns="0" rtlCol="0" anchor="ctr"/>
          <a:lstStyle/>
          <a:p>
            <a:pPr lvl="0">
              <a:spcAft>
                <a:spcPts val="5400"/>
              </a:spcAft>
            </a:pPr>
            <a:r>
              <a:rPr lang="en-GB" sz="1200" b="1" dirty="0"/>
              <a:t>Centralized parameters</a:t>
            </a:r>
            <a:endParaRPr kumimoji="0" lang="en-US" sz="1200" b="1" i="0" u="none" strike="noStrike" kern="1200" cap="none" spc="0" normalizeH="0" baseline="0" noProof="0" dirty="0">
              <a:ln>
                <a:noFill/>
              </a:ln>
              <a:solidFill>
                <a:prstClr val="white"/>
              </a:solidFill>
              <a:effectLst/>
              <a:uLnTx/>
              <a:uFillTx/>
              <a:latin typeface="UniCredit"/>
              <a:ea typeface="+mn-ea"/>
              <a:cs typeface="+mn-cs"/>
            </a:endParaRPr>
          </a:p>
        </p:txBody>
      </p:sp>
      <p:sp>
        <p:nvSpPr>
          <p:cNvPr id="11" name="Round Diagonal Corner Rectangle 16">
            <a:extLst>
              <a:ext uri="{FF2B5EF4-FFF2-40B4-BE49-F238E27FC236}">
                <a16:creationId xmlns:a16="http://schemas.microsoft.com/office/drawing/2014/main" id="{BDDB73F7-044E-4EA7-9EB2-99A99D9A6338}"/>
              </a:ext>
            </a:extLst>
          </p:cNvPr>
          <p:cNvSpPr/>
          <p:nvPr/>
        </p:nvSpPr>
        <p:spPr>
          <a:xfrm>
            <a:off x="103298" y="2375001"/>
            <a:ext cx="1566473" cy="576391"/>
          </a:xfrm>
          <a:prstGeom prst="homePlate">
            <a:avLst>
              <a:gd name="adj" fmla="val 14071"/>
            </a:avLst>
          </a:prstGeom>
          <a:solidFill>
            <a:srgbClr val="00AFD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80000" tIns="0" rIns="72000" bIns="0" rtlCol="0" anchor="ctr"/>
          <a:lstStyle/>
          <a:p>
            <a:pPr lvl="0">
              <a:spcAft>
                <a:spcPts val="5400"/>
              </a:spcAft>
            </a:pPr>
            <a:r>
              <a:rPr lang="en-GB" sz="1200" b="1" dirty="0"/>
              <a:t>Standalone WM Server</a:t>
            </a:r>
            <a:endParaRPr kumimoji="0" lang="en-US" sz="1200" b="1" i="0" u="none" strike="noStrike" kern="1200" cap="none" spc="0" normalizeH="0" baseline="0" noProof="0" dirty="0">
              <a:ln>
                <a:noFill/>
              </a:ln>
              <a:solidFill>
                <a:prstClr val="white"/>
              </a:solidFill>
              <a:effectLst/>
              <a:uLnTx/>
              <a:uFillTx/>
              <a:latin typeface="UniCredit"/>
              <a:ea typeface="+mn-ea"/>
              <a:cs typeface="+mn-cs"/>
            </a:endParaRPr>
          </a:p>
        </p:txBody>
      </p:sp>
      <p:sp>
        <p:nvSpPr>
          <p:cNvPr id="12" name="Round Diagonal Corner Rectangle 16">
            <a:extLst>
              <a:ext uri="{FF2B5EF4-FFF2-40B4-BE49-F238E27FC236}">
                <a16:creationId xmlns:a16="http://schemas.microsoft.com/office/drawing/2014/main" id="{D59B1644-162E-4B3D-93C3-F588BE840F4D}"/>
              </a:ext>
            </a:extLst>
          </p:cNvPr>
          <p:cNvSpPr/>
          <p:nvPr/>
        </p:nvSpPr>
        <p:spPr>
          <a:xfrm>
            <a:off x="103297" y="3090294"/>
            <a:ext cx="1566473" cy="576391"/>
          </a:xfrm>
          <a:prstGeom prst="homePlate">
            <a:avLst>
              <a:gd name="adj" fmla="val 14071"/>
            </a:avLst>
          </a:prstGeom>
          <a:solidFill>
            <a:srgbClr val="00AFD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80000" tIns="0" rIns="72000" bIns="0" rtlCol="0" anchor="ctr"/>
          <a:lstStyle/>
          <a:p>
            <a:pPr lvl="0">
              <a:spcAft>
                <a:spcPts val="5400"/>
              </a:spcAft>
            </a:pPr>
            <a:r>
              <a:rPr lang="en-GB" sz="1200" b="1" dirty="0"/>
              <a:t>State management for test env</a:t>
            </a:r>
            <a:endParaRPr kumimoji="0" lang="en-US" sz="1200" b="1" i="0" u="none" strike="noStrike" kern="1200" cap="none" spc="0" normalizeH="0" baseline="0" noProof="0" dirty="0">
              <a:ln>
                <a:noFill/>
              </a:ln>
              <a:solidFill>
                <a:prstClr val="white"/>
              </a:solidFill>
              <a:effectLst/>
              <a:uLnTx/>
              <a:uFillTx/>
              <a:latin typeface="UniCredit"/>
              <a:ea typeface="+mn-ea"/>
              <a:cs typeface="+mn-cs"/>
            </a:endParaRPr>
          </a:p>
        </p:txBody>
      </p:sp>
      <p:sp>
        <p:nvSpPr>
          <p:cNvPr id="13" name="Round Diagonal Corner Rectangle 16">
            <a:extLst>
              <a:ext uri="{FF2B5EF4-FFF2-40B4-BE49-F238E27FC236}">
                <a16:creationId xmlns:a16="http://schemas.microsoft.com/office/drawing/2014/main" id="{BB0AF0C6-CE45-4CCF-B553-8B9314580EDC}"/>
              </a:ext>
            </a:extLst>
          </p:cNvPr>
          <p:cNvSpPr/>
          <p:nvPr/>
        </p:nvSpPr>
        <p:spPr>
          <a:xfrm>
            <a:off x="103297" y="3805585"/>
            <a:ext cx="1566473" cy="576391"/>
          </a:xfrm>
          <a:prstGeom prst="homePlate">
            <a:avLst>
              <a:gd name="adj" fmla="val 14071"/>
            </a:avLst>
          </a:prstGeom>
          <a:solidFill>
            <a:srgbClr val="00AFD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80000" tIns="0" rIns="72000" bIns="0" rtlCol="0" anchor="ctr"/>
          <a:lstStyle/>
          <a:p>
            <a:pPr lvl="0">
              <a:spcAft>
                <a:spcPts val="5400"/>
              </a:spcAft>
            </a:pPr>
            <a:r>
              <a:rPr lang="en-GB" sz="1200" b="1" dirty="0"/>
              <a:t>External service calls</a:t>
            </a:r>
            <a:endParaRPr kumimoji="0" lang="en-US" sz="1200" b="1" i="0" u="none" strike="noStrike" kern="1200" cap="none" spc="0" normalizeH="0" baseline="0" noProof="0" dirty="0">
              <a:ln>
                <a:noFill/>
              </a:ln>
              <a:solidFill>
                <a:prstClr val="white"/>
              </a:solidFill>
              <a:effectLst/>
              <a:uLnTx/>
              <a:uFillTx/>
              <a:latin typeface="UniCredit"/>
              <a:ea typeface="+mn-ea"/>
              <a:cs typeface="+mn-cs"/>
            </a:endParaRPr>
          </a:p>
        </p:txBody>
      </p:sp>
      <p:cxnSp>
        <p:nvCxnSpPr>
          <p:cNvPr id="14" name="Straight Connector 13">
            <a:extLst>
              <a:ext uri="{FF2B5EF4-FFF2-40B4-BE49-F238E27FC236}">
                <a16:creationId xmlns:a16="http://schemas.microsoft.com/office/drawing/2014/main" id="{CC795081-74AB-4CFF-85E5-A0CA39741E49}"/>
              </a:ext>
            </a:extLst>
          </p:cNvPr>
          <p:cNvCxnSpPr/>
          <p:nvPr/>
        </p:nvCxnSpPr>
        <p:spPr>
          <a:xfrm>
            <a:off x="103297" y="1598212"/>
            <a:ext cx="8603381"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F1402F13-9E0F-4B24-B2CB-B5717DFC0994}"/>
              </a:ext>
            </a:extLst>
          </p:cNvPr>
          <p:cNvCxnSpPr/>
          <p:nvPr/>
        </p:nvCxnSpPr>
        <p:spPr>
          <a:xfrm>
            <a:off x="103297" y="2313829"/>
            <a:ext cx="8603381"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6FB3762-A704-40C7-9A10-C422691BC067}"/>
              </a:ext>
            </a:extLst>
          </p:cNvPr>
          <p:cNvCxnSpPr/>
          <p:nvPr/>
        </p:nvCxnSpPr>
        <p:spPr>
          <a:xfrm>
            <a:off x="103297" y="3029446"/>
            <a:ext cx="8603381"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AC3762B8-84CF-45CC-8D37-60B616D785B2}"/>
              </a:ext>
            </a:extLst>
          </p:cNvPr>
          <p:cNvCxnSpPr/>
          <p:nvPr/>
        </p:nvCxnSpPr>
        <p:spPr>
          <a:xfrm>
            <a:off x="103297" y="3737112"/>
            <a:ext cx="8603381"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5204804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Object 34" hidden="1">
            <a:extLst>
              <a:ext uri="{FF2B5EF4-FFF2-40B4-BE49-F238E27FC236}">
                <a16:creationId xmlns:a16="http://schemas.microsoft.com/office/drawing/2014/main" id="{4C781002-2313-4803-A01A-071A6AB2FB9B}"/>
              </a:ext>
            </a:extLst>
          </p:cNvPr>
          <p:cNvGraphicFramePr>
            <a:graphicFrameLocks noChangeAspect="1"/>
          </p:cNvGraphicFramePr>
          <p:nvPr>
            <p:custDataLst>
              <p:tags r:id="rId2"/>
            </p:custDataLst>
            <p:extLst>
              <p:ext uri="{D42A27DB-BD31-4B8C-83A1-F6EECF244321}">
                <p14:modId xmlns:p14="http://schemas.microsoft.com/office/powerpoint/2010/main" val="13351390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012" name="think-cell Slide" r:id="rId5" imgW="360" imgH="360" progId="TCLayout.ActiveDocument.1">
                  <p:embed/>
                </p:oleObj>
              </mc:Choice>
              <mc:Fallback>
                <p:oleObj name="think-cell Slide" r:id="rId5" imgW="360" imgH="360" progId="TCLayout.ActiveDocument.1">
                  <p:embed/>
                  <p:pic>
                    <p:nvPicPr>
                      <p:cNvPr id="35" name="Object 34" hidden="1">
                        <a:extLst>
                          <a:ext uri="{FF2B5EF4-FFF2-40B4-BE49-F238E27FC236}">
                            <a16:creationId xmlns:a16="http://schemas.microsoft.com/office/drawing/2014/main" id="{4C781002-2313-4803-A01A-071A6AB2FB9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6" name="Rectangle 35" hidden="1">
            <a:extLst>
              <a:ext uri="{FF2B5EF4-FFF2-40B4-BE49-F238E27FC236}">
                <a16:creationId xmlns:a16="http://schemas.microsoft.com/office/drawing/2014/main" id="{1F08D6A1-39DF-43FB-878F-188581D16D3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UniCredit" panose="02000506040000020004" pitchFamily="2" charset="0"/>
              <a:ea typeface="+mj-ea"/>
              <a:cs typeface="Arial" panose="020B0604020202020204" pitchFamily="34" charset="0"/>
              <a:sym typeface="UniCredit" panose="02000506040000020004" pitchFamily="2" charset="0"/>
            </a:endParaRPr>
          </a:p>
        </p:txBody>
      </p:sp>
      <p:sp>
        <p:nvSpPr>
          <p:cNvPr id="2" name="Text Placeholder 1">
            <a:extLst>
              <a:ext uri="{FF2B5EF4-FFF2-40B4-BE49-F238E27FC236}">
                <a16:creationId xmlns:a16="http://schemas.microsoft.com/office/drawing/2014/main" id="{37C31D72-88E7-4CA4-97CC-DF95C6596AE8}"/>
              </a:ext>
            </a:extLst>
          </p:cNvPr>
          <p:cNvSpPr>
            <a:spLocks noGrp="1"/>
          </p:cNvSpPr>
          <p:nvPr>
            <p:ph type="body" sz="quarter" idx="12"/>
          </p:nvPr>
        </p:nvSpPr>
        <p:spPr/>
        <p:txBody>
          <a:bodyPr/>
          <a:lstStyle/>
          <a:p>
            <a:endParaRPr lang="en-US"/>
          </a:p>
        </p:txBody>
      </p:sp>
      <p:sp>
        <p:nvSpPr>
          <p:cNvPr id="3" name="Text Placeholder 2">
            <a:extLst>
              <a:ext uri="{FF2B5EF4-FFF2-40B4-BE49-F238E27FC236}">
                <a16:creationId xmlns:a16="http://schemas.microsoft.com/office/drawing/2014/main" id="{EBBD6DAB-6B2B-42CC-9A99-3EDE6EF054BF}"/>
              </a:ext>
            </a:extLst>
          </p:cNvPr>
          <p:cNvSpPr>
            <a:spLocks noGrp="1"/>
          </p:cNvSpPr>
          <p:nvPr>
            <p:ph type="body" sz="quarter" idx="16"/>
          </p:nvPr>
        </p:nvSpPr>
        <p:spPr/>
        <p:txBody>
          <a:bodyPr/>
          <a:lstStyle/>
          <a:p>
            <a:endParaRPr lang="en-US"/>
          </a:p>
        </p:txBody>
      </p:sp>
      <p:sp>
        <p:nvSpPr>
          <p:cNvPr id="4" name="Slide Number Placeholder 3">
            <a:extLst>
              <a:ext uri="{FF2B5EF4-FFF2-40B4-BE49-F238E27FC236}">
                <a16:creationId xmlns:a16="http://schemas.microsoft.com/office/drawing/2014/main" id="{82835AA4-731A-42C0-9605-CE5C097D862B}"/>
              </a:ext>
            </a:extLst>
          </p:cNvPr>
          <p:cNvSpPr>
            <a:spLocks noGrp="1"/>
          </p:cNvSpPr>
          <p:nvPr>
            <p:ph type="sldNum" sz="quarter" idx="11"/>
          </p:nvPr>
        </p:nvSpPr>
        <p:spPr/>
        <p:txBody>
          <a:bodyPr/>
          <a:lstStyle/>
          <a:p>
            <a:fld id="{9E8169F0-646E-455B-AF5A-6D6C02EAEAF6}" type="slidenum">
              <a:rPr lang="en-GB" noProof="1" smtClean="0"/>
              <a:t>35</a:t>
            </a:fld>
            <a:endParaRPr lang="en-GB" noProof="1"/>
          </a:p>
        </p:txBody>
      </p:sp>
      <p:graphicFrame>
        <p:nvGraphicFramePr>
          <p:cNvPr id="7" name="Content Placeholder 6">
            <a:extLst>
              <a:ext uri="{FF2B5EF4-FFF2-40B4-BE49-F238E27FC236}">
                <a16:creationId xmlns:a16="http://schemas.microsoft.com/office/drawing/2014/main" id="{B213A504-AF0B-4DEB-B8A6-057B0B9F9935}"/>
              </a:ext>
            </a:extLst>
          </p:cNvPr>
          <p:cNvGraphicFramePr>
            <a:graphicFrameLocks noGrp="1"/>
          </p:cNvGraphicFramePr>
          <p:nvPr>
            <p:ph sz="quarter" idx="15"/>
            <p:extLst>
              <p:ext uri="{D42A27DB-BD31-4B8C-83A1-F6EECF244321}">
                <p14:modId xmlns:p14="http://schemas.microsoft.com/office/powerpoint/2010/main" val="3883070705"/>
              </p:ext>
            </p:extLst>
          </p:nvPr>
        </p:nvGraphicFramePr>
        <p:xfrm>
          <a:off x="232568" y="1662658"/>
          <a:ext cx="8678863" cy="793939"/>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6" name="Title 5">
            <a:extLst>
              <a:ext uri="{FF2B5EF4-FFF2-40B4-BE49-F238E27FC236}">
                <a16:creationId xmlns:a16="http://schemas.microsoft.com/office/drawing/2014/main" id="{4CEBBF5F-7584-4FE7-8A89-E5F2743DBDC0}"/>
              </a:ext>
            </a:extLst>
          </p:cNvPr>
          <p:cNvSpPr>
            <a:spLocks noGrp="1"/>
          </p:cNvSpPr>
          <p:nvPr>
            <p:ph type="title"/>
          </p:nvPr>
        </p:nvSpPr>
        <p:spPr/>
        <p:txBody>
          <a:bodyPr/>
          <a:lstStyle/>
          <a:p>
            <a:r>
              <a:rPr lang="en-US" dirty="0"/>
              <a:t>Automated tests: Integration and End-2-End</a:t>
            </a:r>
          </a:p>
        </p:txBody>
      </p:sp>
      <p:graphicFrame>
        <p:nvGraphicFramePr>
          <p:cNvPr id="8" name="Content Placeholder 6">
            <a:extLst>
              <a:ext uri="{FF2B5EF4-FFF2-40B4-BE49-F238E27FC236}">
                <a16:creationId xmlns:a16="http://schemas.microsoft.com/office/drawing/2014/main" id="{4012480D-4ACF-46ED-A5BC-A161DB9452BD}"/>
              </a:ext>
            </a:extLst>
          </p:cNvPr>
          <p:cNvGraphicFramePr>
            <a:graphicFrameLocks/>
          </p:cNvGraphicFramePr>
          <p:nvPr>
            <p:extLst>
              <p:ext uri="{D42A27DB-BD31-4B8C-83A1-F6EECF244321}">
                <p14:modId xmlns:p14="http://schemas.microsoft.com/office/powerpoint/2010/main" val="1745731602"/>
              </p:ext>
            </p:extLst>
          </p:nvPr>
        </p:nvGraphicFramePr>
        <p:xfrm>
          <a:off x="1958454" y="1330658"/>
          <a:ext cx="6121021" cy="416256"/>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grpSp>
        <p:nvGrpSpPr>
          <p:cNvPr id="12" name="Gruppo 57">
            <a:extLst>
              <a:ext uri="{FF2B5EF4-FFF2-40B4-BE49-F238E27FC236}">
                <a16:creationId xmlns:a16="http://schemas.microsoft.com/office/drawing/2014/main" id="{96E0BE94-53DC-4071-8828-0459313D9456}"/>
              </a:ext>
            </a:extLst>
          </p:cNvPr>
          <p:cNvGrpSpPr/>
          <p:nvPr/>
        </p:nvGrpSpPr>
        <p:grpSpPr>
          <a:xfrm>
            <a:off x="5508245" y="2405035"/>
            <a:ext cx="529106" cy="366887"/>
            <a:chOff x="6946025" y="2094577"/>
            <a:chExt cx="723806" cy="478077"/>
          </a:xfrm>
        </p:grpSpPr>
        <p:pic>
          <p:nvPicPr>
            <p:cNvPr id="25" name="Grafik 143">
              <a:extLst>
                <a:ext uri="{FF2B5EF4-FFF2-40B4-BE49-F238E27FC236}">
                  <a16:creationId xmlns:a16="http://schemas.microsoft.com/office/drawing/2014/main" id="{DEFF508D-9999-4AA0-A2B0-59E721894D31}"/>
                </a:ext>
              </a:extLst>
            </p:cNvPr>
            <p:cNvPicPr>
              <a:picLocks noChangeAspect="1"/>
            </p:cNvPicPr>
            <p:nvPr/>
          </p:nvPicPr>
          <p:blipFill>
            <a:blip r:embed="rId17"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6946025" y="2122512"/>
              <a:ext cx="723806" cy="450142"/>
            </a:xfrm>
            <a:prstGeom prst="rect">
              <a:avLst/>
            </a:prstGeom>
          </p:spPr>
        </p:pic>
        <p:sp>
          <p:nvSpPr>
            <p:cNvPr id="26" name="CasellaDiTesto 59">
              <a:extLst>
                <a:ext uri="{FF2B5EF4-FFF2-40B4-BE49-F238E27FC236}">
                  <a16:creationId xmlns:a16="http://schemas.microsoft.com/office/drawing/2014/main" id="{EF7AC9F6-CBEE-498A-B32B-FECA87197DA1}"/>
                </a:ext>
              </a:extLst>
            </p:cNvPr>
            <p:cNvSpPr txBox="1"/>
            <p:nvPr/>
          </p:nvSpPr>
          <p:spPr>
            <a:xfrm>
              <a:off x="7225224" y="2094577"/>
              <a:ext cx="434106" cy="158833"/>
            </a:xfrm>
            <a:prstGeom prst="rect">
              <a:avLst/>
            </a:prstGeom>
            <a:solidFill>
              <a:sysClr val="window" lastClr="FFFFFF"/>
            </a:solid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1" i="1" u="none" strike="noStrike" kern="0" cap="none" spc="0" normalizeH="0" baseline="0" noProof="0" dirty="0">
                  <a:ln>
                    <a:noFill/>
                  </a:ln>
                  <a:solidFill>
                    <a:srgbClr val="999999"/>
                  </a:solidFill>
                  <a:effectLst/>
                  <a:uLnTx/>
                  <a:uFillTx/>
                  <a:latin typeface="UniCredit"/>
                  <a:cs typeface="Arial" charset="0"/>
                </a:rPr>
                <a:t>DEPLOY</a:t>
              </a:r>
              <a:endParaRPr kumimoji="0" lang="en-US" sz="1400" b="1" i="1" u="none" strike="noStrike" kern="0" cap="none" spc="0" normalizeH="0" baseline="0" noProof="0" dirty="0">
                <a:ln>
                  <a:noFill/>
                </a:ln>
                <a:solidFill>
                  <a:srgbClr val="999999"/>
                </a:solidFill>
                <a:effectLst/>
                <a:uLnTx/>
                <a:uFillTx/>
                <a:latin typeface="UniCredit"/>
                <a:cs typeface="Arial" charset="0"/>
              </a:endParaRPr>
            </a:p>
          </p:txBody>
        </p:sp>
      </p:grpSp>
      <p:pic>
        <p:nvPicPr>
          <p:cNvPr id="13" name="Immagine 68">
            <a:extLst>
              <a:ext uri="{FF2B5EF4-FFF2-40B4-BE49-F238E27FC236}">
                <a16:creationId xmlns:a16="http://schemas.microsoft.com/office/drawing/2014/main" id="{0141B9BC-946F-47F8-B222-7B5FB3E42FAB}"/>
              </a:ext>
            </a:extLst>
          </p:cNvPr>
          <p:cNvPicPr>
            <a:picLocks noChangeAspect="1"/>
          </p:cNvPicPr>
          <p:nvPr/>
        </p:nvPicPr>
        <p:blipFill>
          <a:blip r:embed="rId18"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4988808" y="937660"/>
            <a:ext cx="527698" cy="316419"/>
          </a:xfrm>
          <a:prstGeom prst="rect">
            <a:avLst/>
          </a:prstGeom>
        </p:spPr>
      </p:pic>
      <p:pic>
        <p:nvPicPr>
          <p:cNvPr id="14" name="Immagine 90">
            <a:extLst>
              <a:ext uri="{FF2B5EF4-FFF2-40B4-BE49-F238E27FC236}">
                <a16:creationId xmlns:a16="http://schemas.microsoft.com/office/drawing/2014/main" id="{1F6956C0-6AD7-42B3-8A6D-229457FA84E4}"/>
              </a:ext>
            </a:extLst>
          </p:cNvPr>
          <p:cNvPicPr>
            <a:picLocks noChangeAspect="1"/>
          </p:cNvPicPr>
          <p:nvPr/>
        </p:nvPicPr>
        <p:blipFill>
          <a:blip r:embed="rId19" cstate="email">
            <a:extLst>
              <a:ext uri="{28A0092B-C50C-407E-A947-70E740481C1C}">
                <a14:useLocalDpi xmlns:a14="http://schemas.microsoft.com/office/drawing/2010/main"/>
              </a:ext>
            </a:extLst>
          </a:blip>
          <a:stretch>
            <a:fillRect/>
          </a:stretch>
        </p:blipFill>
        <p:spPr>
          <a:xfrm>
            <a:off x="6322667" y="2477700"/>
            <a:ext cx="622008" cy="197186"/>
          </a:xfrm>
          <a:prstGeom prst="rect">
            <a:avLst/>
          </a:prstGeom>
        </p:spPr>
      </p:pic>
      <p:pic>
        <p:nvPicPr>
          <p:cNvPr id="15" name="Immagine 92">
            <a:extLst>
              <a:ext uri="{FF2B5EF4-FFF2-40B4-BE49-F238E27FC236}">
                <a16:creationId xmlns:a16="http://schemas.microsoft.com/office/drawing/2014/main" id="{5A757FDC-EB77-47F4-9B34-CA7FB43E3E65}"/>
              </a:ext>
            </a:extLst>
          </p:cNvPr>
          <p:cNvPicPr>
            <a:picLocks noChangeAspect="1"/>
          </p:cNvPicPr>
          <p:nvPr/>
        </p:nvPicPr>
        <p:blipFill>
          <a:blip r:embed="rId20" cstate="email">
            <a:extLst>
              <a:ext uri="{28A0092B-C50C-407E-A947-70E740481C1C}">
                <a14:useLocalDpi xmlns:a14="http://schemas.microsoft.com/office/drawing/2010/main"/>
              </a:ext>
            </a:extLst>
          </a:blip>
          <a:stretch>
            <a:fillRect/>
          </a:stretch>
        </p:blipFill>
        <p:spPr>
          <a:xfrm>
            <a:off x="7222315" y="2370242"/>
            <a:ext cx="576113" cy="376123"/>
          </a:xfrm>
          <a:prstGeom prst="rect">
            <a:avLst/>
          </a:prstGeom>
        </p:spPr>
      </p:pic>
      <p:pic>
        <p:nvPicPr>
          <p:cNvPr id="17" name="Immagine 124">
            <a:extLst>
              <a:ext uri="{FF2B5EF4-FFF2-40B4-BE49-F238E27FC236}">
                <a16:creationId xmlns:a16="http://schemas.microsoft.com/office/drawing/2014/main" id="{0D3D192C-F36A-401A-BDC0-CD9B1DF67085}"/>
              </a:ext>
            </a:extLst>
          </p:cNvPr>
          <p:cNvPicPr>
            <a:picLocks noChangeAspect="1"/>
          </p:cNvPicPr>
          <p:nvPr/>
        </p:nvPicPr>
        <p:blipFill>
          <a:blip r:embed="rId21"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3576062" y="2400916"/>
            <a:ext cx="1045724" cy="402234"/>
          </a:xfrm>
          <a:prstGeom prst="rect">
            <a:avLst/>
          </a:prstGeom>
        </p:spPr>
      </p:pic>
      <p:pic>
        <p:nvPicPr>
          <p:cNvPr id="18" name="Picture 4" descr="JUnit – About">
            <a:extLst>
              <a:ext uri="{FF2B5EF4-FFF2-40B4-BE49-F238E27FC236}">
                <a16:creationId xmlns:a16="http://schemas.microsoft.com/office/drawing/2014/main" id="{43D69F85-738D-4488-A255-E84FECD44BE3}"/>
              </a:ext>
            </a:extLst>
          </p:cNvPr>
          <p:cNvPicPr>
            <a:picLocks noChangeAspect="1" noChangeArrowheads="1"/>
          </p:cNvPicPr>
          <p:nvPr/>
        </p:nvPicPr>
        <p:blipFill>
          <a:blip r:embed="rId22" cstate="email">
            <a:duotone>
              <a:schemeClr val="bg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3006688" y="2496035"/>
            <a:ext cx="493019" cy="155210"/>
          </a:xfrm>
          <a:prstGeom prst="rect">
            <a:avLst/>
          </a:prstGeom>
          <a:noFill/>
          <a:extLst>
            <a:ext uri="{909E8E84-426E-40DD-AFC4-6F175D3DCCD1}">
              <a14:hiddenFill xmlns:a14="http://schemas.microsoft.com/office/drawing/2010/main">
                <a:solidFill>
                  <a:srgbClr val="FFFFFF"/>
                </a:solidFill>
              </a14:hiddenFill>
            </a:ext>
          </a:extLst>
        </p:spPr>
      </p:pic>
      <p:grpSp>
        <p:nvGrpSpPr>
          <p:cNvPr id="19" name="Gruppo 12">
            <a:extLst>
              <a:ext uri="{FF2B5EF4-FFF2-40B4-BE49-F238E27FC236}">
                <a16:creationId xmlns:a16="http://schemas.microsoft.com/office/drawing/2014/main" id="{F3DC3895-2715-40DE-8A2B-A4D3871C6BC2}"/>
              </a:ext>
            </a:extLst>
          </p:cNvPr>
          <p:cNvGrpSpPr/>
          <p:nvPr/>
        </p:nvGrpSpPr>
        <p:grpSpPr>
          <a:xfrm>
            <a:off x="4708823" y="2238895"/>
            <a:ext cx="547002" cy="457094"/>
            <a:chOff x="8284888" y="2480464"/>
            <a:chExt cx="569212" cy="461665"/>
          </a:xfrm>
        </p:grpSpPr>
        <p:pic>
          <p:nvPicPr>
            <p:cNvPr id="23" name="Immagine 40">
              <a:extLst>
                <a:ext uri="{FF2B5EF4-FFF2-40B4-BE49-F238E27FC236}">
                  <a16:creationId xmlns:a16="http://schemas.microsoft.com/office/drawing/2014/main" id="{8C31A6CE-D9F6-4E08-9C3F-2EAD7378E351}"/>
                </a:ext>
              </a:extLst>
            </p:cNvPr>
            <p:cNvPicPr>
              <a:picLocks noChangeAspect="1"/>
            </p:cNvPicPr>
            <p:nvPr/>
          </p:nvPicPr>
          <p:blipFill>
            <a:blip r:embed="rId23"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8284888" y="2711297"/>
              <a:ext cx="490862" cy="197995"/>
            </a:xfrm>
            <a:prstGeom prst="rect">
              <a:avLst/>
            </a:prstGeom>
            <a:solidFill>
              <a:sysClr val="window" lastClr="FFFFFF"/>
            </a:solidFill>
          </p:spPr>
        </p:pic>
        <p:sp>
          <p:nvSpPr>
            <p:cNvPr id="24" name="CasellaDiTesto 81">
              <a:extLst>
                <a:ext uri="{FF2B5EF4-FFF2-40B4-BE49-F238E27FC236}">
                  <a16:creationId xmlns:a16="http://schemas.microsoft.com/office/drawing/2014/main" id="{6B613A88-89B7-47B0-8A52-A599BD41CADB}"/>
                </a:ext>
              </a:extLst>
            </p:cNvPr>
            <p:cNvSpPr txBox="1"/>
            <p:nvPr/>
          </p:nvSpPr>
          <p:spPr>
            <a:xfrm>
              <a:off x="8669369" y="2480464"/>
              <a:ext cx="184731" cy="461665"/>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dirty="0">
                <a:ln>
                  <a:noFill/>
                </a:ln>
                <a:solidFill>
                  <a:srgbClr val="999999"/>
                </a:solidFill>
                <a:effectLst/>
                <a:uLnTx/>
                <a:uFillTx/>
                <a:latin typeface="UniCredit"/>
                <a:cs typeface="Arial" charset="0"/>
              </a:endParaRPr>
            </a:p>
          </p:txBody>
        </p:sp>
      </p:grpSp>
      <p:pic>
        <p:nvPicPr>
          <p:cNvPr id="20" name="Graphic 19">
            <a:extLst>
              <a:ext uri="{FF2B5EF4-FFF2-40B4-BE49-F238E27FC236}">
                <a16:creationId xmlns:a16="http://schemas.microsoft.com/office/drawing/2014/main" id="{F78FA946-A515-477A-9B6D-1F2533606B92}"/>
              </a:ext>
            </a:extLst>
          </p:cNvPr>
          <p:cNvPicPr>
            <a:picLocks noChangeAspect="1"/>
          </p:cNvPicPr>
          <p:nvPr/>
        </p:nvPicPr>
        <p:blipFill>
          <a:blip r:embed="rId24" cstate="email">
            <a:duotone>
              <a:schemeClr val="bg2">
                <a:shade val="45000"/>
                <a:satMod val="135000"/>
              </a:schemeClr>
              <a:prstClr val="white"/>
            </a:duotone>
            <a:extLst>
              <a:ext uri="{28A0092B-C50C-407E-A947-70E740481C1C}">
                <a14:useLocalDpi xmlns:a14="http://schemas.microsoft.com/office/drawing/2010/main"/>
              </a:ext>
              <a:ext uri="{96DAC541-7B7A-43D3-8B79-37D633B846F1}">
                <asvg:svgBlip xmlns:asvg="http://schemas.microsoft.com/office/drawing/2016/SVG/main" r:embed="rId25"/>
              </a:ext>
            </a:extLst>
          </a:blip>
          <a:stretch>
            <a:fillRect/>
          </a:stretch>
        </p:blipFill>
        <p:spPr>
          <a:xfrm>
            <a:off x="502979" y="2794878"/>
            <a:ext cx="527698" cy="281008"/>
          </a:xfrm>
          <a:prstGeom prst="rect">
            <a:avLst/>
          </a:prstGeom>
        </p:spPr>
      </p:pic>
      <p:pic>
        <p:nvPicPr>
          <p:cNvPr id="21" name="Picture 6" descr="Jira - Logo">
            <a:extLst>
              <a:ext uri="{FF2B5EF4-FFF2-40B4-BE49-F238E27FC236}">
                <a16:creationId xmlns:a16="http://schemas.microsoft.com/office/drawing/2014/main" id="{46421F2C-80A9-4993-A330-F72A33680620}"/>
              </a:ext>
            </a:extLst>
          </p:cNvPr>
          <p:cNvPicPr>
            <a:picLocks noChangeAspect="1" noChangeArrowheads="1"/>
          </p:cNvPicPr>
          <p:nvPr/>
        </p:nvPicPr>
        <p:blipFill>
          <a:blip r:embed="rId26" cstate="email">
            <a:duotone>
              <a:schemeClr val="bg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473623" y="2466704"/>
            <a:ext cx="475044" cy="212178"/>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6">
            <a:extLst>
              <a:ext uri="{FF2B5EF4-FFF2-40B4-BE49-F238E27FC236}">
                <a16:creationId xmlns:a16="http://schemas.microsoft.com/office/drawing/2014/main" id="{8E43D0E3-532C-4C39-99C9-20721793742D}"/>
              </a:ext>
            </a:extLst>
          </p:cNvPr>
          <p:cNvPicPr>
            <a:picLocks noChangeAspect="1"/>
          </p:cNvPicPr>
          <p:nvPr/>
        </p:nvPicPr>
        <p:blipFill>
          <a:blip r:embed="rId27"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3117583" y="3230769"/>
            <a:ext cx="271228" cy="291643"/>
          </a:xfrm>
          <a:prstGeom prst="rect">
            <a:avLst/>
          </a:prstGeom>
        </p:spPr>
      </p:pic>
      <p:grpSp>
        <p:nvGrpSpPr>
          <p:cNvPr id="30" name="Gruppo 57">
            <a:extLst>
              <a:ext uri="{FF2B5EF4-FFF2-40B4-BE49-F238E27FC236}">
                <a16:creationId xmlns:a16="http://schemas.microsoft.com/office/drawing/2014/main" id="{DE5DFB16-D2CA-496C-BD55-F2D48342B748}"/>
              </a:ext>
            </a:extLst>
          </p:cNvPr>
          <p:cNvGrpSpPr/>
          <p:nvPr/>
        </p:nvGrpSpPr>
        <p:grpSpPr>
          <a:xfrm>
            <a:off x="8076068" y="2412332"/>
            <a:ext cx="529106" cy="366887"/>
            <a:chOff x="6946025" y="2094577"/>
            <a:chExt cx="723806" cy="478077"/>
          </a:xfrm>
        </p:grpSpPr>
        <p:pic>
          <p:nvPicPr>
            <p:cNvPr id="31" name="Grafik 143">
              <a:extLst>
                <a:ext uri="{FF2B5EF4-FFF2-40B4-BE49-F238E27FC236}">
                  <a16:creationId xmlns:a16="http://schemas.microsoft.com/office/drawing/2014/main" id="{C74DA0A2-E42C-419D-A1E6-613AA6E5A8E6}"/>
                </a:ext>
              </a:extLst>
            </p:cNvPr>
            <p:cNvPicPr>
              <a:picLocks noChangeAspect="1"/>
            </p:cNvPicPr>
            <p:nvPr/>
          </p:nvPicPr>
          <p:blipFill>
            <a:blip r:embed="rId17"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6946025" y="2122512"/>
              <a:ext cx="723806" cy="450142"/>
            </a:xfrm>
            <a:prstGeom prst="rect">
              <a:avLst/>
            </a:prstGeom>
          </p:spPr>
        </p:pic>
        <p:sp>
          <p:nvSpPr>
            <p:cNvPr id="32" name="CasellaDiTesto 59">
              <a:extLst>
                <a:ext uri="{FF2B5EF4-FFF2-40B4-BE49-F238E27FC236}">
                  <a16:creationId xmlns:a16="http://schemas.microsoft.com/office/drawing/2014/main" id="{C6BE75B0-EEDD-42DA-8834-701850B9CB36}"/>
                </a:ext>
              </a:extLst>
            </p:cNvPr>
            <p:cNvSpPr txBox="1"/>
            <p:nvPr/>
          </p:nvSpPr>
          <p:spPr>
            <a:xfrm>
              <a:off x="7225224" y="2094577"/>
              <a:ext cx="434106" cy="158833"/>
            </a:xfrm>
            <a:prstGeom prst="rect">
              <a:avLst/>
            </a:prstGeom>
            <a:solidFill>
              <a:sysClr val="window" lastClr="FFFFFF"/>
            </a:solid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1" i="1" u="none" strike="noStrike" kern="0" cap="none" spc="0" normalizeH="0" baseline="0" noProof="0" dirty="0">
                  <a:ln>
                    <a:noFill/>
                  </a:ln>
                  <a:solidFill>
                    <a:srgbClr val="999999"/>
                  </a:solidFill>
                  <a:effectLst/>
                  <a:uLnTx/>
                  <a:uFillTx/>
                  <a:latin typeface="UniCredit"/>
                  <a:cs typeface="Arial" charset="0"/>
                </a:rPr>
                <a:t>DEPLOY</a:t>
              </a:r>
              <a:endParaRPr kumimoji="0" lang="en-US" sz="1400" b="1" i="1" u="none" strike="noStrike" kern="0" cap="none" spc="0" normalizeH="0" baseline="0" noProof="0" dirty="0">
                <a:ln>
                  <a:noFill/>
                </a:ln>
                <a:solidFill>
                  <a:srgbClr val="999999"/>
                </a:solidFill>
                <a:effectLst/>
                <a:uLnTx/>
                <a:uFillTx/>
                <a:latin typeface="UniCredit"/>
                <a:cs typeface="Arial" charset="0"/>
              </a:endParaRPr>
            </a:p>
          </p:txBody>
        </p:sp>
      </p:grpSp>
      <p:pic>
        <p:nvPicPr>
          <p:cNvPr id="33" name="Picture 28" descr="WireMock for Java Developers | Udemy">
            <a:extLst>
              <a:ext uri="{FF2B5EF4-FFF2-40B4-BE49-F238E27FC236}">
                <a16:creationId xmlns:a16="http://schemas.microsoft.com/office/drawing/2014/main" id="{24A9A257-90C9-4533-934C-7A70205C7E26}"/>
              </a:ext>
            </a:extLst>
          </p:cNvPr>
          <p:cNvPicPr>
            <a:picLocks noChangeAspect="1" noChangeArrowheads="1"/>
          </p:cNvPicPr>
          <p:nvPr/>
        </p:nvPicPr>
        <p:blipFill>
          <a:blip r:embed="rId28" cstate="print">
            <a:duotone>
              <a:schemeClr val="bg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6806341" y="2862878"/>
            <a:ext cx="518476" cy="291643"/>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20" descr="Liquibase | Database CI/CD &amp; Automation | Database DevOps">
            <a:extLst>
              <a:ext uri="{FF2B5EF4-FFF2-40B4-BE49-F238E27FC236}">
                <a16:creationId xmlns:a16="http://schemas.microsoft.com/office/drawing/2014/main" id="{98ABEE39-4DFB-4526-B645-77E5F85F754A}"/>
              </a:ext>
            </a:extLst>
          </p:cNvPr>
          <p:cNvPicPr>
            <a:picLocks noChangeAspect="1" noChangeArrowheads="1"/>
          </p:cNvPicPr>
          <p:nvPr/>
        </p:nvPicPr>
        <p:blipFill>
          <a:blip r:embed="rId29"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871008" y="2901167"/>
            <a:ext cx="545935" cy="360000"/>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10" descr="Flyway (software) - Wikipedia">
            <a:extLst>
              <a:ext uri="{FF2B5EF4-FFF2-40B4-BE49-F238E27FC236}">
                <a16:creationId xmlns:a16="http://schemas.microsoft.com/office/drawing/2014/main" id="{C8C05ECE-D2ED-4084-89F3-5DB603C030C3}"/>
              </a:ext>
            </a:extLst>
          </p:cNvPr>
          <p:cNvPicPr>
            <a:picLocks noChangeAspect="1" noChangeArrowheads="1"/>
          </p:cNvPicPr>
          <p:nvPr/>
        </p:nvPicPr>
        <p:blipFill>
          <a:blip r:embed="rId30"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359763" y="2871407"/>
            <a:ext cx="511245" cy="406440"/>
          </a:xfrm>
          <a:prstGeom prst="rect">
            <a:avLst/>
          </a:prstGeom>
          <a:noFill/>
          <a:extLst>
            <a:ext uri="{909E8E84-426E-40DD-AFC4-6F175D3DCCD1}">
              <a14:hiddenFill xmlns:a14="http://schemas.microsoft.com/office/drawing/2010/main">
                <a:solidFill>
                  <a:srgbClr val="FFFFFF"/>
                </a:solidFill>
              </a14:hiddenFill>
            </a:ext>
          </a:extLst>
        </p:spPr>
      </p:pic>
      <p:pic>
        <p:nvPicPr>
          <p:cNvPr id="37894" name="Picture 6" descr="Branding Guidelines (Draft WIP) | OWASP">
            <a:extLst>
              <a:ext uri="{FF2B5EF4-FFF2-40B4-BE49-F238E27FC236}">
                <a16:creationId xmlns:a16="http://schemas.microsoft.com/office/drawing/2014/main" id="{ECA8E031-C4DE-49C3-98F8-336E375E2F06}"/>
              </a:ext>
            </a:extLst>
          </p:cNvPr>
          <p:cNvPicPr>
            <a:picLocks noChangeAspect="1" noChangeArrowheads="1"/>
          </p:cNvPicPr>
          <p:nvPr/>
        </p:nvPicPr>
        <p:blipFill>
          <a:blip r:embed="rId31"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710231" y="2855669"/>
            <a:ext cx="725763" cy="252505"/>
          </a:xfrm>
          <a:prstGeom prst="rect">
            <a:avLst/>
          </a:prstGeom>
          <a:noFill/>
          <a:extLst>
            <a:ext uri="{909E8E84-426E-40DD-AFC4-6F175D3DCCD1}">
              <a14:hiddenFill xmlns:a14="http://schemas.microsoft.com/office/drawing/2010/main">
                <a:solidFill>
                  <a:srgbClr val="FFFFFF"/>
                </a:solidFill>
              </a14:hiddenFill>
            </a:ext>
          </a:extLst>
        </p:spPr>
      </p:pic>
      <p:pic>
        <p:nvPicPr>
          <p:cNvPr id="37896" name="Picture 8">
            <a:extLst>
              <a:ext uri="{FF2B5EF4-FFF2-40B4-BE49-F238E27FC236}">
                <a16:creationId xmlns:a16="http://schemas.microsoft.com/office/drawing/2014/main" id="{B7DD6AF4-1615-4535-807F-237487883906}"/>
              </a:ext>
            </a:extLst>
          </p:cNvPr>
          <p:cNvPicPr>
            <a:picLocks noChangeAspect="1" noChangeArrowheads="1"/>
          </p:cNvPicPr>
          <p:nvPr/>
        </p:nvPicPr>
        <p:blipFill>
          <a:blip r:embed="rId32"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133631" y="2494295"/>
            <a:ext cx="661499" cy="167442"/>
          </a:xfrm>
          <a:prstGeom prst="rect">
            <a:avLst/>
          </a:prstGeom>
          <a:noFill/>
          <a:extLst>
            <a:ext uri="{909E8E84-426E-40DD-AFC4-6F175D3DCCD1}">
              <a14:hiddenFill xmlns:a14="http://schemas.microsoft.com/office/drawing/2010/main">
                <a:solidFill>
                  <a:srgbClr val="FFFFFF"/>
                </a:solidFill>
              </a14:hiddenFill>
            </a:ext>
          </a:extLst>
        </p:spPr>
      </p:pic>
      <p:pic>
        <p:nvPicPr>
          <p:cNvPr id="37898" name="Picture 10" descr="Press Kit | Atlassian">
            <a:extLst>
              <a:ext uri="{FF2B5EF4-FFF2-40B4-BE49-F238E27FC236}">
                <a16:creationId xmlns:a16="http://schemas.microsoft.com/office/drawing/2014/main" id="{9ECAA01F-D03E-4060-B5BB-87503731390E}"/>
              </a:ext>
            </a:extLst>
          </p:cNvPr>
          <p:cNvPicPr>
            <a:picLocks noChangeAspect="1" noChangeArrowheads="1"/>
          </p:cNvPicPr>
          <p:nvPr/>
        </p:nvPicPr>
        <p:blipFill>
          <a:blip r:embed="rId33"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148118" y="2517890"/>
            <a:ext cx="810336" cy="116805"/>
          </a:xfrm>
          <a:prstGeom prst="rect">
            <a:avLst/>
          </a:prstGeom>
          <a:noFill/>
          <a:extLst>
            <a:ext uri="{909E8E84-426E-40DD-AFC4-6F175D3DCCD1}">
              <a14:hiddenFill xmlns:a14="http://schemas.microsoft.com/office/drawing/2010/main">
                <a:solidFill>
                  <a:srgbClr val="FFFFFF"/>
                </a:solidFill>
              </a14:hiddenFill>
            </a:ext>
          </a:extLst>
        </p:spPr>
      </p:pic>
      <p:pic>
        <p:nvPicPr>
          <p:cNvPr id="37903" name="Picture 15" descr="How to install Node.js 7 and NPM 4 on CentOS 6/7, Debian 8 and Ubuntu 16">
            <a:extLst>
              <a:ext uri="{FF2B5EF4-FFF2-40B4-BE49-F238E27FC236}">
                <a16:creationId xmlns:a16="http://schemas.microsoft.com/office/drawing/2014/main" id="{7873FB91-1337-4A7F-8995-6F82AEF761CD}"/>
              </a:ext>
            </a:extLst>
          </p:cNvPr>
          <p:cNvPicPr>
            <a:picLocks noChangeAspect="1" noChangeArrowheads="1"/>
          </p:cNvPicPr>
          <p:nvPr/>
        </p:nvPicPr>
        <p:blipFill>
          <a:blip r:embed="rId34"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992296" y="2803150"/>
            <a:ext cx="926045" cy="360000"/>
          </a:xfrm>
          <a:prstGeom prst="rect">
            <a:avLst/>
          </a:prstGeom>
          <a:noFill/>
          <a:extLst>
            <a:ext uri="{909E8E84-426E-40DD-AFC4-6F175D3DCCD1}">
              <a14:hiddenFill xmlns:a14="http://schemas.microsoft.com/office/drawing/2010/main">
                <a:solidFill>
                  <a:srgbClr val="FFFFFF"/>
                </a:solidFill>
              </a14:hiddenFill>
            </a:ext>
          </a:extLst>
        </p:spPr>
      </p:pic>
      <p:pic>
        <p:nvPicPr>
          <p:cNvPr id="37905" name="Picture 17" descr="PowerMock (Android). Often, in order to write unit tests… | by Gioacchino  Lonardo | Medium">
            <a:extLst>
              <a:ext uri="{FF2B5EF4-FFF2-40B4-BE49-F238E27FC236}">
                <a16:creationId xmlns:a16="http://schemas.microsoft.com/office/drawing/2014/main" id="{D068A2D2-A3E1-43A2-9A0A-99C002C43726}"/>
              </a:ext>
            </a:extLst>
          </p:cNvPr>
          <p:cNvPicPr>
            <a:picLocks noChangeAspect="1" noChangeArrowheads="1"/>
          </p:cNvPicPr>
          <p:nvPr/>
        </p:nvPicPr>
        <p:blipFill>
          <a:blip r:embed="rId35"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024516" y="2835505"/>
            <a:ext cx="493019" cy="2473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9222140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A704CAF1-2511-48C2-896E-DD2C1C2CE2E5}"/>
              </a:ext>
            </a:extLst>
          </p:cNvPr>
          <p:cNvGraphicFramePr>
            <a:graphicFrameLocks noChangeAspect="1"/>
          </p:cNvGraphicFramePr>
          <p:nvPr>
            <p:custDataLst>
              <p:tags r:id="rId2"/>
            </p:custDataLst>
            <p:extLst>
              <p:ext uri="{D42A27DB-BD31-4B8C-83A1-F6EECF244321}">
                <p14:modId xmlns:p14="http://schemas.microsoft.com/office/powerpoint/2010/main" val="21464738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81"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593D30D6-76EF-4E31-A85E-E4FAA69B2A1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2400" b="1" dirty="0">
              <a:latin typeface="UniCredit" panose="02000506040000020004" pitchFamily="2" charset="0"/>
              <a:ea typeface="+mj-ea"/>
              <a:cs typeface="Arial" panose="020B0604020202020204" pitchFamily="34" charset="0"/>
              <a:sym typeface="UniCredit" panose="02000506040000020004" pitchFamily="2" charset="0"/>
            </a:endParaRPr>
          </a:p>
        </p:txBody>
      </p:sp>
      <p:sp>
        <p:nvSpPr>
          <p:cNvPr id="20" name="Rectangle 19">
            <a:extLst>
              <a:ext uri="{FF2B5EF4-FFF2-40B4-BE49-F238E27FC236}">
                <a16:creationId xmlns:a16="http://schemas.microsoft.com/office/drawing/2014/main" id="{7D69CD42-0527-4659-A0E0-42E33D23E78F}"/>
              </a:ext>
            </a:extLst>
          </p:cNvPr>
          <p:cNvSpPr/>
          <p:nvPr/>
        </p:nvSpPr>
        <p:spPr>
          <a:xfrm>
            <a:off x="3898817" y="782641"/>
            <a:ext cx="5245183" cy="3600522"/>
          </a:xfrm>
          <a:prstGeom prst="rect">
            <a:avLst/>
          </a:prstGeom>
          <a:solidFill>
            <a:schemeClr val="bg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UniCredit"/>
              <a:ea typeface="+mn-ea"/>
              <a:cs typeface="+mn-cs"/>
            </a:endParaRPr>
          </a:p>
        </p:txBody>
      </p:sp>
      <p:sp>
        <p:nvSpPr>
          <p:cNvPr id="18" name="Pentagon 40">
            <a:extLst>
              <a:ext uri="{FF2B5EF4-FFF2-40B4-BE49-F238E27FC236}">
                <a16:creationId xmlns:a16="http://schemas.microsoft.com/office/drawing/2014/main" id="{CD267C89-41E9-4C75-93A4-978BDAC37351}"/>
              </a:ext>
            </a:extLst>
          </p:cNvPr>
          <p:cNvSpPr/>
          <p:nvPr/>
        </p:nvSpPr>
        <p:spPr bwMode="auto">
          <a:xfrm rot="10800000" flipH="1">
            <a:off x="-11156" y="840096"/>
            <a:ext cx="4106757" cy="3520764"/>
          </a:xfrm>
          <a:prstGeom prst="homePlate">
            <a:avLst>
              <a:gd name="adj" fmla="val 4975"/>
            </a:avLst>
          </a:prstGeom>
          <a:solidFill>
            <a:schemeClr val="bg1">
              <a:lumMod val="95000"/>
            </a:schemeClr>
          </a:solidFill>
          <a:ln w="3175">
            <a:solidFill>
              <a:schemeClr val="accent1"/>
            </a:solidFill>
            <a:prstDash val="solid"/>
            <a:round/>
            <a:headEnd/>
            <a:tailEnd/>
          </a:ln>
          <a:effectLst/>
        </p:spPr>
        <p:txBody>
          <a:bodyPr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UniCredit"/>
              <a:ea typeface="+mn-ea"/>
              <a:cs typeface="+mn-cs"/>
            </a:endParaRPr>
          </a:p>
        </p:txBody>
      </p:sp>
      <p:sp>
        <p:nvSpPr>
          <p:cNvPr id="19" name="Rectangle: Rounded Corners 18">
            <a:extLst>
              <a:ext uri="{FF2B5EF4-FFF2-40B4-BE49-F238E27FC236}">
                <a16:creationId xmlns:a16="http://schemas.microsoft.com/office/drawing/2014/main" id="{A89E5261-C565-4227-B0D4-31ADEF1012D2}"/>
              </a:ext>
            </a:extLst>
          </p:cNvPr>
          <p:cNvSpPr/>
          <p:nvPr/>
        </p:nvSpPr>
        <p:spPr>
          <a:xfrm>
            <a:off x="4842367" y="1031934"/>
            <a:ext cx="1197166" cy="504000"/>
          </a:xfrm>
          <a:prstGeom prst="roundRect">
            <a:avLst/>
          </a:prstGeom>
          <a:solidFill>
            <a:schemeClr val="bg1">
              <a:lumMod val="95000"/>
            </a:schemeClr>
          </a:solidFill>
          <a:ln>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 name="Text Placeholder 1">
            <a:extLst>
              <a:ext uri="{FF2B5EF4-FFF2-40B4-BE49-F238E27FC236}">
                <a16:creationId xmlns:a16="http://schemas.microsoft.com/office/drawing/2014/main" id="{F5FC6E40-DE4D-4449-80DF-C15D4A0CDEB8}"/>
              </a:ext>
            </a:extLst>
          </p:cNvPr>
          <p:cNvSpPr>
            <a:spLocks noGrp="1"/>
          </p:cNvSpPr>
          <p:nvPr>
            <p:ph type="body" sz="quarter" idx="12"/>
          </p:nvPr>
        </p:nvSpPr>
        <p:spPr/>
        <p:txBody>
          <a:bodyPr/>
          <a:lstStyle/>
          <a:p>
            <a:endParaRPr lang="en-GB"/>
          </a:p>
        </p:txBody>
      </p:sp>
      <p:sp>
        <p:nvSpPr>
          <p:cNvPr id="3" name="Text Placeholder 2">
            <a:extLst>
              <a:ext uri="{FF2B5EF4-FFF2-40B4-BE49-F238E27FC236}">
                <a16:creationId xmlns:a16="http://schemas.microsoft.com/office/drawing/2014/main" id="{2C6BBCE5-BA02-4C88-AEEA-2871A5A8E99B}"/>
              </a:ext>
            </a:extLst>
          </p:cNvPr>
          <p:cNvSpPr>
            <a:spLocks noGrp="1"/>
          </p:cNvSpPr>
          <p:nvPr>
            <p:ph type="body" sz="quarter" idx="16"/>
          </p:nvPr>
        </p:nvSpPr>
        <p:spPr/>
        <p:txBody>
          <a:bodyPr/>
          <a:lstStyle/>
          <a:p>
            <a:r>
              <a:rPr lang="en-US" dirty="0">
                <a:hlinkClick r:id="rId7"/>
              </a:rPr>
              <a:t>https://onboarding.devops.internal.unicreditgroup.eu/soapui-framework/</a:t>
            </a:r>
            <a:endParaRPr lang="en-GB" dirty="0"/>
          </a:p>
        </p:txBody>
      </p:sp>
      <p:sp>
        <p:nvSpPr>
          <p:cNvPr id="4" name="Slide Number Placeholder 3">
            <a:extLst>
              <a:ext uri="{FF2B5EF4-FFF2-40B4-BE49-F238E27FC236}">
                <a16:creationId xmlns:a16="http://schemas.microsoft.com/office/drawing/2014/main" id="{FC9BDD56-D726-4AA3-8CD8-5617EE2744C3}"/>
              </a:ext>
            </a:extLst>
          </p:cNvPr>
          <p:cNvSpPr>
            <a:spLocks noGrp="1"/>
          </p:cNvSpPr>
          <p:nvPr>
            <p:ph type="sldNum" sz="quarter" idx="11"/>
          </p:nvPr>
        </p:nvSpPr>
        <p:spPr/>
        <p:txBody>
          <a:bodyPr/>
          <a:lstStyle/>
          <a:p>
            <a:pPr>
              <a:defRPr/>
            </a:pPr>
            <a:fld id="{1D1043DC-2681-49D5-9D69-158B3FA3398E}" type="slidenum">
              <a:rPr lang="en-GB" noProof="1" smtClean="0"/>
              <a:pPr>
                <a:defRPr/>
              </a:pPr>
              <a:t>36</a:t>
            </a:fld>
            <a:endParaRPr lang="en-GB" noProof="1"/>
          </a:p>
        </p:txBody>
      </p:sp>
      <p:sp>
        <p:nvSpPr>
          <p:cNvPr id="5" name="Content Placeholder 4">
            <a:extLst>
              <a:ext uri="{FF2B5EF4-FFF2-40B4-BE49-F238E27FC236}">
                <a16:creationId xmlns:a16="http://schemas.microsoft.com/office/drawing/2014/main" id="{F35BCEEB-89D7-4AAD-9BF4-AE7DA4B02276}"/>
              </a:ext>
            </a:extLst>
          </p:cNvPr>
          <p:cNvSpPr>
            <a:spLocks noGrp="1"/>
          </p:cNvSpPr>
          <p:nvPr>
            <p:ph sz="quarter" idx="15"/>
          </p:nvPr>
        </p:nvSpPr>
        <p:spPr>
          <a:xfrm>
            <a:off x="269875" y="946800"/>
            <a:ext cx="3628942" cy="3312000"/>
          </a:xfrm>
        </p:spPr>
        <p:txBody>
          <a:bodyPr>
            <a:normAutofit/>
          </a:bodyPr>
          <a:lstStyle/>
          <a:p>
            <a:pPr marL="0" indent="0">
              <a:buNone/>
            </a:pPr>
            <a:endParaRPr lang="en-GB" sz="1400" b="1" dirty="0"/>
          </a:p>
          <a:p>
            <a:pPr marL="0" indent="0">
              <a:buNone/>
            </a:pPr>
            <a:endParaRPr lang="en-GB" sz="1400" dirty="0"/>
          </a:p>
          <a:p>
            <a:pPr marL="0" indent="0">
              <a:buNone/>
            </a:pPr>
            <a:r>
              <a:rPr lang="en-GB" sz="1400" dirty="0"/>
              <a:t>Test the </a:t>
            </a:r>
            <a:r>
              <a:rPr lang="en-GB" sz="1400" b="1" dirty="0"/>
              <a:t>backend-to-backend SOAP Services exposed</a:t>
            </a:r>
            <a:r>
              <a:rPr lang="en-GB" sz="1400" dirty="0"/>
              <a:t> by our application</a:t>
            </a:r>
          </a:p>
          <a:p>
            <a:pPr marL="0" indent="0">
              <a:buNone/>
            </a:pPr>
            <a:endParaRPr lang="en-GB" sz="1400" dirty="0"/>
          </a:p>
          <a:p>
            <a:pPr marL="0" indent="0">
              <a:buNone/>
            </a:pPr>
            <a:endParaRPr lang="en-GB" sz="1400" b="1" dirty="0"/>
          </a:p>
          <a:p>
            <a:pPr marL="0" indent="0">
              <a:buNone/>
            </a:pPr>
            <a:endParaRPr lang="en-GB" sz="1400" b="1" dirty="0"/>
          </a:p>
          <a:p>
            <a:r>
              <a:rPr lang="en-GB" sz="1400" dirty="0"/>
              <a:t>Services with </a:t>
            </a:r>
            <a:r>
              <a:rPr lang="en-GB" sz="1400" b="1" dirty="0"/>
              <a:t>state-changing actions</a:t>
            </a:r>
            <a:r>
              <a:rPr lang="en-GB" sz="1400" dirty="0"/>
              <a:t>, as opposed to inquiry services, to be repeatable requires </a:t>
            </a:r>
            <a:r>
              <a:rPr lang="en-GB" sz="1400" b="1" dirty="0"/>
              <a:t>data preparation </a:t>
            </a:r>
            <a:r>
              <a:rPr lang="en-GB" sz="1400" dirty="0"/>
              <a:t>(e.g. SQL script to run from the pipeline, or usage in combination with </a:t>
            </a:r>
            <a:r>
              <a:rPr lang="en-GB" sz="1400" i="1" dirty="0"/>
              <a:t>Withdraw</a:t>
            </a:r>
            <a:r>
              <a:rPr lang="en-GB" sz="1400" dirty="0"/>
              <a:t> services that rollback the status)</a:t>
            </a:r>
          </a:p>
          <a:p>
            <a:r>
              <a:rPr lang="en-GB" sz="1400" b="1" dirty="0"/>
              <a:t>Service virtualization </a:t>
            </a:r>
            <a:r>
              <a:rPr lang="en-GB" sz="1400" dirty="0"/>
              <a:t>is also required </a:t>
            </a:r>
            <a:r>
              <a:rPr lang="en-GB" sz="1400" b="1" dirty="0"/>
              <a:t>to test services </a:t>
            </a:r>
            <a:r>
              <a:rPr lang="en-GB" sz="1400" dirty="0"/>
              <a:t>that in turn </a:t>
            </a:r>
            <a:r>
              <a:rPr lang="en-GB" sz="1400" b="1" dirty="0"/>
              <a:t>rely on other systems</a:t>
            </a:r>
          </a:p>
        </p:txBody>
      </p:sp>
      <p:sp>
        <p:nvSpPr>
          <p:cNvPr id="6" name="Title 5">
            <a:extLst>
              <a:ext uri="{FF2B5EF4-FFF2-40B4-BE49-F238E27FC236}">
                <a16:creationId xmlns:a16="http://schemas.microsoft.com/office/drawing/2014/main" id="{15B1A6FD-18A2-47D7-913F-C7DEF3863FDD}"/>
              </a:ext>
            </a:extLst>
          </p:cNvPr>
          <p:cNvSpPr>
            <a:spLocks noGrp="1"/>
          </p:cNvSpPr>
          <p:nvPr>
            <p:ph type="title"/>
          </p:nvPr>
        </p:nvSpPr>
        <p:spPr>
          <a:xfrm>
            <a:off x="269875" y="0"/>
            <a:ext cx="8679600" cy="702000"/>
          </a:xfrm>
        </p:spPr>
        <p:txBody>
          <a:bodyPr/>
          <a:lstStyle/>
          <a:p>
            <a:r>
              <a:rPr lang="en-GB" dirty="0"/>
              <a:t>Integration testing</a:t>
            </a:r>
          </a:p>
        </p:txBody>
      </p:sp>
      <p:sp>
        <p:nvSpPr>
          <p:cNvPr id="7" name="Rectangle: Rounded Corners 6">
            <a:extLst>
              <a:ext uri="{FF2B5EF4-FFF2-40B4-BE49-F238E27FC236}">
                <a16:creationId xmlns:a16="http://schemas.microsoft.com/office/drawing/2014/main" id="{C1203512-B0B1-4DC8-92C5-E737BD433386}"/>
              </a:ext>
            </a:extLst>
          </p:cNvPr>
          <p:cNvSpPr/>
          <p:nvPr/>
        </p:nvSpPr>
        <p:spPr>
          <a:xfrm>
            <a:off x="6824017" y="1031935"/>
            <a:ext cx="1801052" cy="504000"/>
          </a:xfrm>
          <a:prstGeom prst="roundRect">
            <a:avLst/>
          </a:prstGeom>
          <a:solidFill>
            <a:schemeClr val="bg1">
              <a:lumMod val="95000"/>
            </a:schemeClr>
          </a:solidFill>
          <a:ln>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      MyCredit Backend</a:t>
            </a:r>
          </a:p>
        </p:txBody>
      </p:sp>
      <p:pic>
        <p:nvPicPr>
          <p:cNvPr id="8" name="UCOne" descr="sfere 2D.png">
            <a:extLst>
              <a:ext uri="{FF2B5EF4-FFF2-40B4-BE49-F238E27FC236}">
                <a16:creationId xmlns:a16="http://schemas.microsoft.com/office/drawing/2014/main" id="{41A0F579-434D-4A8F-8CEE-06D310E503FC}"/>
              </a:ext>
            </a:extLst>
          </p:cNvPr>
          <p:cNvPicPr>
            <a:picLocks noChangeAspect="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938149" y="1161990"/>
            <a:ext cx="243890" cy="243890"/>
          </a:xfrm>
          <a:prstGeom prst="rect">
            <a:avLst/>
          </a:prstGeom>
        </p:spPr>
      </p:pic>
      <p:pic>
        <p:nvPicPr>
          <p:cNvPr id="12" name="Immagine 90">
            <a:extLst>
              <a:ext uri="{FF2B5EF4-FFF2-40B4-BE49-F238E27FC236}">
                <a16:creationId xmlns:a16="http://schemas.microsoft.com/office/drawing/2014/main" id="{0B1FB0A1-2A18-42B2-99F5-763D573EBBAD}"/>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4922881" y="1120314"/>
            <a:ext cx="1032256" cy="327241"/>
          </a:xfrm>
          <a:prstGeom prst="rect">
            <a:avLst/>
          </a:prstGeom>
        </p:spPr>
      </p:pic>
      <p:cxnSp>
        <p:nvCxnSpPr>
          <p:cNvPr id="14" name="Straight Arrow Connector 13">
            <a:extLst>
              <a:ext uri="{FF2B5EF4-FFF2-40B4-BE49-F238E27FC236}">
                <a16:creationId xmlns:a16="http://schemas.microsoft.com/office/drawing/2014/main" id="{6F277FEA-A420-4A80-AB17-A10A0D1A438D}"/>
              </a:ext>
            </a:extLst>
          </p:cNvPr>
          <p:cNvCxnSpPr>
            <a:cxnSpLocks/>
            <a:stCxn id="19" idx="3"/>
            <a:endCxn id="7" idx="1"/>
          </p:cNvCxnSpPr>
          <p:nvPr/>
        </p:nvCxnSpPr>
        <p:spPr>
          <a:xfrm>
            <a:off x="6039533" y="1283934"/>
            <a:ext cx="784484" cy="1"/>
          </a:xfrm>
          <a:prstGeom prst="straightConnector1">
            <a:avLst/>
          </a:prstGeom>
          <a:ln w="19050">
            <a:solidFill>
              <a:schemeClr val="tx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sp>
        <p:nvSpPr>
          <p:cNvPr id="22" name="Content Placeholder 4">
            <a:extLst>
              <a:ext uri="{FF2B5EF4-FFF2-40B4-BE49-F238E27FC236}">
                <a16:creationId xmlns:a16="http://schemas.microsoft.com/office/drawing/2014/main" id="{B466BE37-3634-4B4B-A6DB-C57356A2848F}"/>
              </a:ext>
            </a:extLst>
          </p:cNvPr>
          <p:cNvSpPr txBox="1">
            <a:spLocks/>
          </p:cNvSpPr>
          <p:nvPr/>
        </p:nvSpPr>
        <p:spPr>
          <a:xfrm>
            <a:off x="4922882" y="847352"/>
            <a:ext cx="755434" cy="206234"/>
          </a:xfrm>
          <a:prstGeom prst="rect">
            <a:avLst/>
          </a:prstGeom>
        </p:spPr>
        <p:txBody>
          <a:bodyPr vert="horz" lIns="0" tIns="0" rIns="0" bIns="0" rtlCol="0">
            <a:normAutofit/>
          </a:bodyPr>
          <a:lstStyle>
            <a:lvl1pPr marL="132151" marR="0" indent="-132151" algn="l" defTabSz="342875" rtl="0" eaLnBrk="1" fontAlgn="auto" latinLnBrk="0" hangingPunct="1">
              <a:lnSpc>
                <a:spcPct val="100000"/>
              </a:lnSpc>
              <a:spcBef>
                <a:spcPct val="20000"/>
              </a:spcBef>
              <a:spcAft>
                <a:spcPts val="0"/>
              </a:spcAft>
              <a:buClr>
                <a:srgbClr val="E1061C"/>
              </a:buClr>
              <a:buSzTx/>
              <a:buFont typeface="Arial"/>
              <a:buChar char="•"/>
              <a:tabLst/>
              <a:defRPr sz="1600" kern="1200" baseline="0">
                <a:solidFill>
                  <a:schemeClr val="tx1"/>
                </a:solidFill>
                <a:latin typeface="+mn-lt"/>
                <a:ea typeface="+mn-ea"/>
                <a:cs typeface="Arial" panose="020B0604020202020204" pitchFamily="34" charset="0"/>
              </a:defRPr>
            </a:lvl1pPr>
            <a:lvl2pPr marL="470261" marR="0" indent="-127388" algn="l" defTabSz="342875" rtl="0" eaLnBrk="1" fontAlgn="auto" latinLnBrk="0" hangingPunct="1">
              <a:lnSpc>
                <a:spcPct val="100000"/>
              </a:lnSpc>
              <a:spcBef>
                <a:spcPct val="20000"/>
              </a:spcBef>
              <a:spcAft>
                <a:spcPts val="0"/>
              </a:spcAft>
              <a:buClr>
                <a:srgbClr val="E1061C"/>
              </a:buClr>
              <a:buSzTx/>
              <a:buFont typeface="Arial"/>
              <a:buChar char="•"/>
              <a:tabLst/>
              <a:defRPr sz="1600" kern="1200" baseline="0">
                <a:solidFill>
                  <a:schemeClr val="tx1"/>
                </a:solidFill>
                <a:latin typeface="+mn-lt"/>
                <a:ea typeface="+mn-ea"/>
                <a:cs typeface="Arial" panose="020B0604020202020204" pitchFamily="34" charset="0"/>
              </a:defRPr>
            </a:lvl2pPr>
            <a:lvl3pPr marL="809565" marR="0" indent="-123816" algn="l" defTabSz="342875" rtl="0" eaLnBrk="1" fontAlgn="auto" latinLnBrk="0" hangingPunct="1">
              <a:lnSpc>
                <a:spcPct val="100000"/>
              </a:lnSpc>
              <a:spcBef>
                <a:spcPct val="20000"/>
              </a:spcBef>
              <a:spcAft>
                <a:spcPts val="0"/>
              </a:spcAft>
              <a:buClr>
                <a:srgbClr val="E1061C"/>
              </a:buClr>
              <a:buSzTx/>
              <a:buFont typeface="Arial"/>
              <a:buChar char="•"/>
              <a:tabLst/>
              <a:defRPr sz="1600" kern="1200" baseline="0">
                <a:solidFill>
                  <a:schemeClr val="tx1"/>
                </a:solidFill>
                <a:latin typeface="+mn-lt"/>
                <a:ea typeface="+mn-ea"/>
                <a:cs typeface="Arial" panose="020B0604020202020204" pitchFamily="34" charset="0"/>
              </a:defRPr>
            </a:lvl3pPr>
            <a:lvl4pPr marL="1141724" marR="0" indent="-113102" algn="l" defTabSz="342875" rtl="0" eaLnBrk="1" fontAlgn="auto" latinLnBrk="0" hangingPunct="1">
              <a:lnSpc>
                <a:spcPct val="100000"/>
              </a:lnSpc>
              <a:spcBef>
                <a:spcPct val="20000"/>
              </a:spcBef>
              <a:spcAft>
                <a:spcPts val="0"/>
              </a:spcAft>
              <a:buClr>
                <a:srgbClr val="E1061C"/>
              </a:buClr>
              <a:buSzTx/>
              <a:buFont typeface="Arial"/>
              <a:buChar char="•"/>
              <a:tabLst/>
              <a:defRPr sz="1600" kern="1200" baseline="0">
                <a:solidFill>
                  <a:schemeClr val="tx1"/>
                </a:solidFill>
                <a:latin typeface="+mn-lt"/>
                <a:ea typeface="+mn-ea"/>
                <a:cs typeface="Arial" panose="020B0604020202020204" pitchFamily="34" charset="0"/>
              </a:defRPr>
            </a:lvl4pPr>
            <a:lvl5pPr marL="1479836" marR="0" indent="-108338" algn="l" defTabSz="342875" rtl="0" eaLnBrk="1" fontAlgn="auto" latinLnBrk="0" hangingPunct="1">
              <a:lnSpc>
                <a:spcPct val="100000"/>
              </a:lnSpc>
              <a:spcBef>
                <a:spcPct val="20000"/>
              </a:spcBef>
              <a:spcAft>
                <a:spcPts val="0"/>
              </a:spcAft>
              <a:buClr>
                <a:srgbClr val="E1061C"/>
              </a:buClr>
              <a:buSzTx/>
              <a:buFont typeface="Arial"/>
              <a:buChar char="•"/>
              <a:tabLst/>
              <a:defRPr sz="1600" kern="1200" baseline="0">
                <a:solidFill>
                  <a:schemeClr val="tx1"/>
                </a:solidFill>
                <a:latin typeface="+mn-lt"/>
                <a:ea typeface="+mn-ea"/>
                <a:cs typeface="Arial" panose="020B0604020202020204" pitchFamily="34" charset="0"/>
              </a:defRPr>
            </a:lvl5pPr>
            <a:lvl6pPr marL="1885809" indent="-171438" algn="l" defTabSz="685749"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684" indent="-171438" algn="l" defTabSz="685749"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558" indent="-171438" algn="l" defTabSz="685749"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433" indent="-171438" algn="l" defTabSz="685749"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buFont typeface="Arial"/>
              <a:buNone/>
            </a:pPr>
            <a:r>
              <a:rPr lang="en-GB" sz="1050" b="1" dirty="0"/>
              <a:t>K8s</a:t>
            </a:r>
            <a:endParaRPr lang="en-GB" sz="1050" dirty="0"/>
          </a:p>
        </p:txBody>
      </p:sp>
      <p:sp>
        <p:nvSpPr>
          <p:cNvPr id="23" name="Content Placeholder 4">
            <a:extLst>
              <a:ext uri="{FF2B5EF4-FFF2-40B4-BE49-F238E27FC236}">
                <a16:creationId xmlns:a16="http://schemas.microsoft.com/office/drawing/2014/main" id="{7754E8B8-98B4-454D-A46A-A7B8710E3D20}"/>
              </a:ext>
            </a:extLst>
          </p:cNvPr>
          <p:cNvSpPr txBox="1">
            <a:spLocks/>
          </p:cNvSpPr>
          <p:nvPr/>
        </p:nvSpPr>
        <p:spPr>
          <a:xfrm>
            <a:off x="6908413" y="843641"/>
            <a:ext cx="1029882" cy="206234"/>
          </a:xfrm>
          <a:prstGeom prst="rect">
            <a:avLst/>
          </a:prstGeom>
        </p:spPr>
        <p:txBody>
          <a:bodyPr vert="horz" lIns="0" tIns="0" rIns="0" bIns="0" rtlCol="0">
            <a:normAutofit/>
          </a:bodyPr>
          <a:lstStyle>
            <a:lvl1pPr marL="132151" marR="0" indent="-132151" algn="l" defTabSz="342875" rtl="0" eaLnBrk="1" fontAlgn="auto" latinLnBrk="0" hangingPunct="1">
              <a:lnSpc>
                <a:spcPct val="100000"/>
              </a:lnSpc>
              <a:spcBef>
                <a:spcPct val="20000"/>
              </a:spcBef>
              <a:spcAft>
                <a:spcPts val="0"/>
              </a:spcAft>
              <a:buClr>
                <a:srgbClr val="E1061C"/>
              </a:buClr>
              <a:buSzTx/>
              <a:buFont typeface="Arial"/>
              <a:buChar char="•"/>
              <a:tabLst/>
              <a:defRPr sz="1600" kern="1200" baseline="0">
                <a:solidFill>
                  <a:schemeClr val="tx1"/>
                </a:solidFill>
                <a:latin typeface="+mn-lt"/>
                <a:ea typeface="+mn-ea"/>
                <a:cs typeface="Arial" panose="020B0604020202020204" pitchFamily="34" charset="0"/>
              </a:defRPr>
            </a:lvl1pPr>
            <a:lvl2pPr marL="470261" marR="0" indent="-127388" algn="l" defTabSz="342875" rtl="0" eaLnBrk="1" fontAlgn="auto" latinLnBrk="0" hangingPunct="1">
              <a:lnSpc>
                <a:spcPct val="100000"/>
              </a:lnSpc>
              <a:spcBef>
                <a:spcPct val="20000"/>
              </a:spcBef>
              <a:spcAft>
                <a:spcPts val="0"/>
              </a:spcAft>
              <a:buClr>
                <a:srgbClr val="E1061C"/>
              </a:buClr>
              <a:buSzTx/>
              <a:buFont typeface="Arial"/>
              <a:buChar char="•"/>
              <a:tabLst/>
              <a:defRPr sz="1600" kern="1200" baseline="0">
                <a:solidFill>
                  <a:schemeClr val="tx1"/>
                </a:solidFill>
                <a:latin typeface="+mn-lt"/>
                <a:ea typeface="+mn-ea"/>
                <a:cs typeface="Arial" panose="020B0604020202020204" pitchFamily="34" charset="0"/>
              </a:defRPr>
            </a:lvl2pPr>
            <a:lvl3pPr marL="809565" marR="0" indent="-123816" algn="l" defTabSz="342875" rtl="0" eaLnBrk="1" fontAlgn="auto" latinLnBrk="0" hangingPunct="1">
              <a:lnSpc>
                <a:spcPct val="100000"/>
              </a:lnSpc>
              <a:spcBef>
                <a:spcPct val="20000"/>
              </a:spcBef>
              <a:spcAft>
                <a:spcPts val="0"/>
              </a:spcAft>
              <a:buClr>
                <a:srgbClr val="E1061C"/>
              </a:buClr>
              <a:buSzTx/>
              <a:buFont typeface="Arial"/>
              <a:buChar char="•"/>
              <a:tabLst/>
              <a:defRPr sz="1600" kern="1200" baseline="0">
                <a:solidFill>
                  <a:schemeClr val="tx1"/>
                </a:solidFill>
                <a:latin typeface="+mn-lt"/>
                <a:ea typeface="+mn-ea"/>
                <a:cs typeface="Arial" panose="020B0604020202020204" pitchFamily="34" charset="0"/>
              </a:defRPr>
            </a:lvl3pPr>
            <a:lvl4pPr marL="1141724" marR="0" indent="-113102" algn="l" defTabSz="342875" rtl="0" eaLnBrk="1" fontAlgn="auto" latinLnBrk="0" hangingPunct="1">
              <a:lnSpc>
                <a:spcPct val="100000"/>
              </a:lnSpc>
              <a:spcBef>
                <a:spcPct val="20000"/>
              </a:spcBef>
              <a:spcAft>
                <a:spcPts val="0"/>
              </a:spcAft>
              <a:buClr>
                <a:srgbClr val="E1061C"/>
              </a:buClr>
              <a:buSzTx/>
              <a:buFont typeface="Arial"/>
              <a:buChar char="•"/>
              <a:tabLst/>
              <a:defRPr sz="1600" kern="1200" baseline="0">
                <a:solidFill>
                  <a:schemeClr val="tx1"/>
                </a:solidFill>
                <a:latin typeface="+mn-lt"/>
                <a:ea typeface="+mn-ea"/>
                <a:cs typeface="Arial" panose="020B0604020202020204" pitchFamily="34" charset="0"/>
              </a:defRPr>
            </a:lvl4pPr>
            <a:lvl5pPr marL="1479836" marR="0" indent="-108338" algn="l" defTabSz="342875" rtl="0" eaLnBrk="1" fontAlgn="auto" latinLnBrk="0" hangingPunct="1">
              <a:lnSpc>
                <a:spcPct val="100000"/>
              </a:lnSpc>
              <a:spcBef>
                <a:spcPct val="20000"/>
              </a:spcBef>
              <a:spcAft>
                <a:spcPts val="0"/>
              </a:spcAft>
              <a:buClr>
                <a:srgbClr val="E1061C"/>
              </a:buClr>
              <a:buSzTx/>
              <a:buFont typeface="Arial"/>
              <a:buChar char="•"/>
              <a:tabLst/>
              <a:defRPr sz="1600" kern="1200" baseline="0">
                <a:solidFill>
                  <a:schemeClr val="tx1"/>
                </a:solidFill>
                <a:latin typeface="+mn-lt"/>
                <a:ea typeface="+mn-ea"/>
                <a:cs typeface="Arial" panose="020B0604020202020204" pitchFamily="34" charset="0"/>
              </a:defRPr>
            </a:lvl5pPr>
            <a:lvl6pPr marL="1885809" indent="-171438" algn="l" defTabSz="685749"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684" indent="-171438" algn="l" defTabSz="685749"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558" indent="-171438" algn="l" defTabSz="685749"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433" indent="-171438" algn="l" defTabSz="685749"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buFont typeface="Arial"/>
              <a:buNone/>
            </a:pPr>
            <a:r>
              <a:rPr lang="en-GB" sz="1050" b="1" dirty="0"/>
              <a:t>WAS DevOps env.</a:t>
            </a:r>
            <a:endParaRPr lang="en-GB" sz="1050" dirty="0"/>
          </a:p>
        </p:txBody>
      </p:sp>
      <p:sp>
        <p:nvSpPr>
          <p:cNvPr id="24" name="Content Placeholder 4">
            <a:extLst>
              <a:ext uri="{FF2B5EF4-FFF2-40B4-BE49-F238E27FC236}">
                <a16:creationId xmlns:a16="http://schemas.microsoft.com/office/drawing/2014/main" id="{77E5633E-7F92-4852-B04C-9DF334E88684}"/>
              </a:ext>
            </a:extLst>
          </p:cNvPr>
          <p:cNvSpPr txBox="1">
            <a:spLocks/>
          </p:cNvSpPr>
          <p:nvPr/>
        </p:nvSpPr>
        <p:spPr>
          <a:xfrm>
            <a:off x="6256927" y="1120314"/>
            <a:ext cx="434091" cy="206234"/>
          </a:xfrm>
          <a:prstGeom prst="rect">
            <a:avLst/>
          </a:prstGeom>
        </p:spPr>
        <p:txBody>
          <a:bodyPr vert="horz" lIns="0" tIns="0" rIns="0" bIns="0" rtlCol="0">
            <a:normAutofit/>
          </a:bodyPr>
          <a:lstStyle>
            <a:lvl1pPr marL="132151" marR="0" indent="-132151" algn="l" defTabSz="342875" rtl="0" eaLnBrk="1" fontAlgn="auto" latinLnBrk="0" hangingPunct="1">
              <a:lnSpc>
                <a:spcPct val="100000"/>
              </a:lnSpc>
              <a:spcBef>
                <a:spcPct val="20000"/>
              </a:spcBef>
              <a:spcAft>
                <a:spcPts val="0"/>
              </a:spcAft>
              <a:buClr>
                <a:srgbClr val="E1061C"/>
              </a:buClr>
              <a:buSzTx/>
              <a:buFont typeface="Arial"/>
              <a:buChar char="•"/>
              <a:tabLst/>
              <a:defRPr sz="1600" kern="1200" baseline="0">
                <a:solidFill>
                  <a:schemeClr val="tx1"/>
                </a:solidFill>
                <a:latin typeface="+mn-lt"/>
                <a:ea typeface="+mn-ea"/>
                <a:cs typeface="Arial" panose="020B0604020202020204" pitchFamily="34" charset="0"/>
              </a:defRPr>
            </a:lvl1pPr>
            <a:lvl2pPr marL="470261" marR="0" indent="-127388" algn="l" defTabSz="342875" rtl="0" eaLnBrk="1" fontAlgn="auto" latinLnBrk="0" hangingPunct="1">
              <a:lnSpc>
                <a:spcPct val="100000"/>
              </a:lnSpc>
              <a:spcBef>
                <a:spcPct val="20000"/>
              </a:spcBef>
              <a:spcAft>
                <a:spcPts val="0"/>
              </a:spcAft>
              <a:buClr>
                <a:srgbClr val="E1061C"/>
              </a:buClr>
              <a:buSzTx/>
              <a:buFont typeface="Arial"/>
              <a:buChar char="•"/>
              <a:tabLst/>
              <a:defRPr sz="1600" kern="1200" baseline="0">
                <a:solidFill>
                  <a:schemeClr val="tx1"/>
                </a:solidFill>
                <a:latin typeface="+mn-lt"/>
                <a:ea typeface="+mn-ea"/>
                <a:cs typeface="Arial" panose="020B0604020202020204" pitchFamily="34" charset="0"/>
              </a:defRPr>
            </a:lvl2pPr>
            <a:lvl3pPr marL="809565" marR="0" indent="-123816" algn="l" defTabSz="342875" rtl="0" eaLnBrk="1" fontAlgn="auto" latinLnBrk="0" hangingPunct="1">
              <a:lnSpc>
                <a:spcPct val="100000"/>
              </a:lnSpc>
              <a:spcBef>
                <a:spcPct val="20000"/>
              </a:spcBef>
              <a:spcAft>
                <a:spcPts val="0"/>
              </a:spcAft>
              <a:buClr>
                <a:srgbClr val="E1061C"/>
              </a:buClr>
              <a:buSzTx/>
              <a:buFont typeface="Arial"/>
              <a:buChar char="•"/>
              <a:tabLst/>
              <a:defRPr sz="1600" kern="1200" baseline="0">
                <a:solidFill>
                  <a:schemeClr val="tx1"/>
                </a:solidFill>
                <a:latin typeface="+mn-lt"/>
                <a:ea typeface="+mn-ea"/>
                <a:cs typeface="Arial" panose="020B0604020202020204" pitchFamily="34" charset="0"/>
              </a:defRPr>
            </a:lvl3pPr>
            <a:lvl4pPr marL="1141724" marR="0" indent="-113102" algn="l" defTabSz="342875" rtl="0" eaLnBrk="1" fontAlgn="auto" latinLnBrk="0" hangingPunct="1">
              <a:lnSpc>
                <a:spcPct val="100000"/>
              </a:lnSpc>
              <a:spcBef>
                <a:spcPct val="20000"/>
              </a:spcBef>
              <a:spcAft>
                <a:spcPts val="0"/>
              </a:spcAft>
              <a:buClr>
                <a:srgbClr val="E1061C"/>
              </a:buClr>
              <a:buSzTx/>
              <a:buFont typeface="Arial"/>
              <a:buChar char="•"/>
              <a:tabLst/>
              <a:defRPr sz="1600" kern="1200" baseline="0">
                <a:solidFill>
                  <a:schemeClr val="tx1"/>
                </a:solidFill>
                <a:latin typeface="+mn-lt"/>
                <a:ea typeface="+mn-ea"/>
                <a:cs typeface="Arial" panose="020B0604020202020204" pitchFamily="34" charset="0"/>
              </a:defRPr>
            </a:lvl4pPr>
            <a:lvl5pPr marL="1479836" marR="0" indent="-108338" algn="l" defTabSz="342875" rtl="0" eaLnBrk="1" fontAlgn="auto" latinLnBrk="0" hangingPunct="1">
              <a:lnSpc>
                <a:spcPct val="100000"/>
              </a:lnSpc>
              <a:spcBef>
                <a:spcPct val="20000"/>
              </a:spcBef>
              <a:spcAft>
                <a:spcPts val="0"/>
              </a:spcAft>
              <a:buClr>
                <a:srgbClr val="E1061C"/>
              </a:buClr>
              <a:buSzTx/>
              <a:buFont typeface="Arial"/>
              <a:buChar char="•"/>
              <a:tabLst/>
              <a:defRPr sz="1600" kern="1200" baseline="0">
                <a:solidFill>
                  <a:schemeClr val="tx1"/>
                </a:solidFill>
                <a:latin typeface="+mn-lt"/>
                <a:ea typeface="+mn-ea"/>
                <a:cs typeface="Arial" panose="020B0604020202020204" pitchFamily="34" charset="0"/>
              </a:defRPr>
            </a:lvl5pPr>
            <a:lvl6pPr marL="1885809" indent="-171438" algn="l" defTabSz="685749"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684" indent="-171438" algn="l" defTabSz="685749"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558" indent="-171438" algn="l" defTabSz="685749"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433" indent="-171438" algn="l" defTabSz="685749"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buFont typeface="Arial"/>
              <a:buNone/>
            </a:pPr>
            <a:r>
              <a:rPr lang="en-GB" sz="1050" b="1" dirty="0"/>
              <a:t>SOAP</a:t>
            </a:r>
            <a:endParaRPr lang="en-GB" sz="1050" dirty="0"/>
          </a:p>
        </p:txBody>
      </p:sp>
      <p:pic>
        <p:nvPicPr>
          <p:cNvPr id="25" name="Picture 24">
            <a:extLst>
              <a:ext uri="{FF2B5EF4-FFF2-40B4-BE49-F238E27FC236}">
                <a16:creationId xmlns:a16="http://schemas.microsoft.com/office/drawing/2014/main" id="{0FA3DE9D-C48F-4993-8199-BB21D442EF49}"/>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l="1065" t="1183" r="2043" b="2892"/>
          <a:stretch/>
        </p:blipFill>
        <p:spPr>
          <a:xfrm>
            <a:off x="4147301" y="1602661"/>
            <a:ext cx="4918693" cy="2693487"/>
          </a:xfrm>
          <a:prstGeom prst="rect">
            <a:avLst/>
          </a:prstGeom>
        </p:spPr>
      </p:pic>
      <p:sp>
        <p:nvSpPr>
          <p:cNvPr id="21" name="Round Diagonal Corner Rectangle 57">
            <a:extLst>
              <a:ext uri="{FF2B5EF4-FFF2-40B4-BE49-F238E27FC236}">
                <a16:creationId xmlns:a16="http://schemas.microsoft.com/office/drawing/2014/main" id="{B11AD5D6-7AEF-4847-966D-995720C594A3}"/>
              </a:ext>
            </a:extLst>
          </p:cNvPr>
          <p:cNvSpPr/>
          <p:nvPr/>
        </p:nvSpPr>
        <p:spPr>
          <a:xfrm>
            <a:off x="-11156" y="878973"/>
            <a:ext cx="2404500" cy="356796"/>
          </a:xfrm>
          <a:prstGeom prst="rect">
            <a:avLst/>
          </a:prstGeom>
          <a:solidFill>
            <a:schemeClr val="accent1"/>
          </a:solidFill>
          <a:ln w="3175">
            <a:solidFill>
              <a:schemeClr val="accent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56000" tIns="72000" rIns="108000" bIns="72000" rtlCol="0" anchor="ctr"/>
          <a:lstStyle/>
          <a:p>
            <a:r>
              <a:rPr lang="en-US" sz="1400" b="1" dirty="0">
                <a:solidFill>
                  <a:schemeClr val="bg1"/>
                </a:solidFill>
              </a:rPr>
              <a:t>Purpose</a:t>
            </a:r>
          </a:p>
        </p:txBody>
      </p:sp>
      <p:sp>
        <p:nvSpPr>
          <p:cNvPr id="26" name="Round Diagonal Corner Rectangle 57">
            <a:extLst>
              <a:ext uri="{FF2B5EF4-FFF2-40B4-BE49-F238E27FC236}">
                <a16:creationId xmlns:a16="http://schemas.microsoft.com/office/drawing/2014/main" id="{B467CCFF-C13F-4B13-AD8D-3367CC2DDBF7}"/>
              </a:ext>
            </a:extLst>
          </p:cNvPr>
          <p:cNvSpPr/>
          <p:nvPr/>
        </p:nvSpPr>
        <p:spPr>
          <a:xfrm>
            <a:off x="-11158" y="2214954"/>
            <a:ext cx="2404500" cy="356796"/>
          </a:xfrm>
          <a:prstGeom prst="rect">
            <a:avLst/>
          </a:prstGeom>
          <a:solidFill>
            <a:schemeClr val="accent1"/>
          </a:solidFill>
          <a:ln w="3175">
            <a:solidFill>
              <a:schemeClr val="accent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56000" tIns="72000" rIns="108000" bIns="72000" rtlCol="0" anchor="ctr"/>
          <a:lstStyle/>
          <a:p>
            <a:r>
              <a:rPr lang="en-US" sz="1400" b="1" dirty="0">
                <a:solidFill>
                  <a:schemeClr val="bg1"/>
                </a:solidFill>
              </a:rPr>
              <a:t>Challenges</a:t>
            </a:r>
          </a:p>
        </p:txBody>
      </p:sp>
    </p:spTree>
    <p:extLst>
      <p:ext uri="{BB962C8B-B14F-4D97-AF65-F5344CB8AC3E}">
        <p14:creationId xmlns:p14="http://schemas.microsoft.com/office/powerpoint/2010/main" val="234350450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298E7CAA-5841-4521-B90F-035F928343BE}"/>
              </a:ext>
            </a:extLst>
          </p:cNvPr>
          <p:cNvGraphicFramePr>
            <a:graphicFrameLocks noChangeAspect="1"/>
          </p:cNvGraphicFramePr>
          <p:nvPr>
            <p:custDataLst>
              <p:tags r:id="rId2"/>
            </p:custDataLst>
            <p:extLst>
              <p:ext uri="{D42A27DB-BD31-4B8C-83A1-F6EECF244321}">
                <p14:modId xmlns:p14="http://schemas.microsoft.com/office/powerpoint/2010/main" val="40669932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488"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7C11B5B-791D-42D9-B170-AA3F0CCCD9D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2400" b="1" dirty="0">
              <a:latin typeface="UniCredit" panose="02000506040000020004" pitchFamily="2" charset="0"/>
              <a:ea typeface="+mj-ea"/>
              <a:cs typeface="Arial" panose="020B0604020202020204" pitchFamily="34" charset="0"/>
              <a:sym typeface="UniCredit" panose="02000506040000020004" pitchFamily="2" charset="0"/>
            </a:endParaRPr>
          </a:p>
        </p:txBody>
      </p:sp>
      <p:sp>
        <p:nvSpPr>
          <p:cNvPr id="21" name="Rectangle 20">
            <a:extLst>
              <a:ext uri="{FF2B5EF4-FFF2-40B4-BE49-F238E27FC236}">
                <a16:creationId xmlns:a16="http://schemas.microsoft.com/office/drawing/2014/main" id="{D100F144-2EB4-429F-918B-B1EF008FECFE}"/>
              </a:ext>
            </a:extLst>
          </p:cNvPr>
          <p:cNvSpPr/>
          <p:nvPr/>
        </p:nvSpPr>
        <p:spPr>
          <a:xfrm>
            <a:off x="4071068" y="782641"/>
            <a:ext cx="5072932" cy="3600522"/>
          </a:xfrm>
          <a:prstGeom prst="rect">
            <a:avLst/>
          </a:prstGeom>
          <a:solidFill>
            <a:schemeClr val="bg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UniCredit"/>
              <a:ea typeface="+mn-ea"/>
              <a:cs typeface="+mn-cs"/>
            </a:endParaRPr>
          </a:p>
        </p:txBody>
      </p:sp>
      <p:sp>
        <p:nvSpPr>
          <p:cNvPr id="22" name="Pentagon 40">
            <a:extLst>
              <a:ext uri="{FF2B5EF4-FFF2-40B4-BE49-F238E27FC236}">
                <a16:creationId xmlns:a16="http://schemas.microsoft.com/office/drawing/2014/main" id="{42CE24AB-14E1-4E32-B10D-4D2FC11D3852}"/>
              </a:ext>
            </a:extLst>
          </p:cNvPr>
          <p:cNvSpPr/>
          <p:nvPr/>
        </p:nvSpPr>
        <p:spPr bwMode="auto">
          <a:xfrm rot="10800000" flipH="1">
            <a:off x="-11156" y="840096"/>
            <a:ext cx="4419977" cy="3520764"/>
          </a:xfrm>
          <a:prstGeom prst="homePlate">
            <a:avLst>
              <a:gd name="adj" fmla="val 4975"/>
            </a:avLst>
          </a:prstGeom>
          <a:solidFill>
            <a:schemeClr val="bg1">
              <a:lumMod val="95000"/>
            </a:schemeClr>
          </a:solidFill>
          <a:ln w="3175">
            <a:solidFill>
              <a:schemeClr val="accent1"/>
            </a:solidFill>
            <a:prstDash val="solid"/>
            <a:round/>
            <a:headEnd/>
            <a:tailEnd/>
          </a:ln>
          <a:effectLst/>
        </p:spPr>
        <p:txBody>
          <a:bodyPr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UniCredit"/>
              <a:ea typeface="+mn-ea"/>
              <a:cs typeface="+mn-cs"/>
            </a:endParaRPr>
          </a:p>
        </p:txBody>
      </p:sp>
      <p:sp>
        <p:nvSpPr>
          <p:cNvPr id="2" name="Text Placeholder 1">
            <a:extLst>
              <a:ext uri="{FF2B5EF4-FFF2-40B4-BE49-F238E27FC236}">
                <a16:creationId xmlns:a16="http://schemas.microsoft.com/office/drawing/2014/main" id="{675ABE9D-BCC3-41D1-80BE-3241B5A42F9E}"/>
              </a:ext>
            </a:extLst>
          </p:cNvPr>
          <p:cNvSpPr>
            <a:spLocks noGrp="1"/>
          </p:cNvSpPr>
          <p:nvPr>
            <p:ph type="body" sz="quarter" idx="12"/>
          </p:nvPr>
        </p:nvSpPr>
        <p:spPr/>
        <p:txBody>
          <a:bodyPr/>
          <a:lstStyle/>
          <a:p>
            <a:endParaRPr lang="en-GB"/>
          </a:p>
        </p:txBody>
      </p:sp>
      <p:sp>
        <p:nvSpPr>
          <p:cNvPr id="3" name="Text Placeholder 2">
            <a:extLst>
              <a:ext uri="{FF2B5EF4-FFF2-40B4-BE49-F238E27FC236}">
                <a16:creationId xmlns:a16="http://schemas.microsoft.com/office/drawing/2014/main" id="{632D7199-6EDC-4CAD-A3A7-B5CEAE9056C8}"/>
              </a:ext>
            </a:extLst>
          </p:cNvPr>
          <p:cNvSpPr>
            <a:spLocks noGrp="1"/>
          </p:cNvSpPr>
          <p:nvPr>
            <p:ph type="body" sz="quarter" idx="16"/>
          </p:nvPr>
        </p:nvSpPr>
        <p:spPr/>
        <p:txBody>
          <a:bodyPr/>
          <a:lstStyle/>
          <a:p>
            <a:r>
              <a:rPr lang="en-US" dirty="0">
                <a:hlinkClick r:id="rId7"/>
              </a:rPr>
              <a:t>https://onboarding.devops.internal.unicreditgroup.eu/selenium/e2e-test-selenium/</a:t>
            </a:r>
            <a:endParaRPr lang="en-GB" dirty="0"/>
          </a:p>
        </p:txBody>
      </p:sp>
      <p:sp>
        <p:nvSpPr>
          <p:cNvPr id="4" name="Slide Number Placeholder 3">
            <a:extLst>
              <a:ext uri="{FF2B5EF4-FFF2-40B4-BE49-F238E27FC236}">
                <a16:creationId xmlns:a16="http://schemas.microsoft.com/office/drawing/2014/main" id="{B89CD208-D60D-4103-9CFC-DBE5E30C938B}"/>
              </a:ext>
            </a:extLst>
          </p:cNvPr>
          <p:cNvSpPr>
            <a:spLocks noGrp="1"/>
          </p:cNvSpPr>
          <p:nvPr>
            <p:ph type="sldNum" sz="quarter" idx="11"/>
          </p:nvPr>
        </p:nvSpPr>
        <p:spPr/>
        <p:txBody>
          <a:bodyPr/>
          <a:lstStyle/>
          <a:p>
            <a:pPr>
              <a:defRPr/>
            </a:pPr>
            <a:fld id="{1D1043DC-2681-49D5-9D69-158B3FA3398E}" type="slidenum">
              <a:rPr lang="en-GB" noProof="1" smtClean="0"/>
              <a:pPr>
                <a:defRPr/>
              </a:pPr>
              <a:t>37</a:t>
            </a:fld>
            <a:endParaRPr lang="en-GB" noProof="1"/>
          </a:p>
        </p:txBody>
      </p:sp>
      <p:sp>
        <p:nvSpPr>
          <p:cNvPr id="6" name="Title 5">
            <a:extLst>
              <a:ext uri="{FF2B5EF4-FFF2-40B4-BE49-F238E27FC236}">
                <a16:creationId xmlns:a16="http://schemas.microsoft.com/office/drawing/2014/main" id="{3C7E2061-A768-4A7A-BA99-6DFE26279A85}"/>
              </a:ext>
            </a:extLst>
          </p:cNvPr>
          <p:cNvSpPr>
            <a:spLocks noGrp="1"/>
          </p:cNvSpPr>
          <p:nvPr>
            <p:ph type="title"/>
          </p:nvPr>
        </p:nvSpPr>
        <p:spPr/>
        <p:txBody>
          <a:bodyPr/>
          <a:lstStyle/>
          <a:p>
            <a:r>
              <a:rPr lang="en-GB" dirty="0"/>
              <a:t>E2E Selenium Tests</a:t>
            </a:r>
          </a:p>
        </p:txBody>
      </p:sp>
      <p:pic>
        <p:nvPicPr>
          <p:cNvPr id="7" name="Picture 6">
            <a:extLst>
              <a:ext uri="{FF2B5EF4-FFF2-40B4-BE49-F238E27FC236}">
                <a16:creationId xmlns:a16="http://schemas.microsoft.com/office/drawing/2014/main" id="{66B813E3-18DC-4327-9A4F-A21103C66038}"/>
              </a:ext>
            </a:extLst>
          </p:cNvPr>
          <p:cNvPicPr>
            <a:picLocks noChangeAspect="1"/>
          </p:cNvPicPr>
          <p:nvPr/>
        </p:nvPicPr>
        <p:blipFill>
          <a:blip r:embed="rId8"/>
          <a:stretch>
            <a:fillRect/>
          </a:stretch>
        </p:blipFill>
        <p:spPr>
          <a:xfrm>
            <a:off x="4572000" y="1913741"/>
            <a:ext cx="4185424" cy="2282959"/>
          </a:xfrm>
          <a:prstGeom prst="rect">
            <a:avLst/>
          </a:prstGeom>
        </p:spPr>
      </p:pic>
      <p:sp>
        <p:nvSpPr>
          <p:cNvPr id="8" name="Rectangle: Rounded Corners 7">
            <a:extLst>
              <a:ext uri="{FF2B5EF4-FFF2-40B4-BE49-F238E27FC236}">
                <a16:creationId xmlns:a16="http://schemas.microsoft.com/office/drawing/2014/main" id="{618EB3B9-E9DF-4B66-9EC2-F9E8B34F76FF}"/>
              </a:ext>
            </a:extLst>
          </p:cNvPr>
          <p:cNvSpPr/>
          <p:nvPr/>
        </p:nvSpPr>
        <p:spPr>
          <a:xfrm>
            <a:off x="4641298" y="1046948"/>
            <a:ext cx="1801052" cy="718361"/>
          </a:xfrm>
          <a:prstGeom prst="roundRect">
            <a:avLst/>
          </a:prstGeom>
          <a:solidFill>
            <a:schemeClr val="bg1">
              <a:lumMod val="95000"/>
            </a:schemeClr>
          </a:solidFill>
          <a:ln>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cxnSp>
        <p:nvCxnSpPr>
          <p:cNvPr id="12" name="Straight Arrow Connector 11">
            <a:extLst>
              <a:ext uri="{FF2B5EF4-FFF2-40B4-BE49-F238E27FC236}">
                <a16:creationId xmlns:a16="http://schemas.microsoft.com/office/drawing/2014/main" id="{A5F7F962-07A9-47B9-A602-9713F953089D}"/>
              </a:ext>
            </a:extLst>
          </p:cNvPr>
          <p:cNvCxnSpPr>
            <a:cxnSpLocks/>
            <a:stCxn id="8" idx="3"/>
          </p:cNvCxnSpPr>
          <p:nvPr/>
        </p:nvCxnSpPr>
        <p:spPr>
          <a:xfrm>
            <a:off x="6442350" y="1406129"/>
            <a:ext cx="784483" cy="0"/>
          </a:xfrm>
          <a:prstGeom prst="straightConnector1">
            <a:avLst/>
          </a:prstGeom>
          <a:ln w="19050">
            <a:solidFill>
              <a:schemeClr val="tx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sp>
        <p:nvSpPr>
          <p:cNvPr id="13" name="Content Placeholder 4">
            <a:extLst>
              <a:ext uri="{FF2B5EF4-FFF2-40B4-BE49-F238E27FC236}">
                <a16:creationId xmlns:a16="http://schemas.microsoft.com/office/drawing/2014/main" id="{11324B17-3651-4C91-839D-D3FECB5238C5}"/>
              </a:ext>
            </a:extLst>
          </p:cNvPr>
          <p:cNvSpPr txBox="1">
            <a:spLocks/>
          </p:cNvSpPr>
          <p:nvPr/>
        </p:nvSpPr>
        <p:spPr>
          <a:xfrm>
            <a:off x="4759644" y="862367"/>
            <a:ext cx="755434" cy="206234"/>
          </a:xfrm>
          <a:prstGeom prst="rect">
            <a:avLst/>
          </a:prstGeom>
        </p:spPr>
        <p:txBody>
          <a:bodyPr vert="horz" lIns="0" tIns="0" rIns="0" bIns="0" rtlCol="0">
            <a:normAutofit/>
          </a:bodyPr>
          <a:lstStyle>
            <a:lvl1pPr marL="132151" marR="0" indent="-132151" algn="l" defTabSz="342875" rtl="0" eaLnBrk="1" fontAlgn="auto" latinLnBrk="0" hangingPunct="1">
              <a:lnSpc>
                <a:spcPct val="100000"/>
              </a:lnSpc>
              <a:spcBef>
                <a:spcPct val="20000"/>
              </a:spcBef>
              <a:spcAft>
                <a:spcPts val="0"/>
              </a:spcAft>
              <a:buClr>
                <a:srgbClr val="E1061C"/>
              </a:buClr>
              <a:buSzTx/>
              <a:buFont typeface="Arial"/>
              <a:buChar char="•"/>
              <a:tabLst/>
              <a:defRPr sz="1600" kern="1200" baseline="0">
                <a:solidFill>
                  <a:schemeClr val="tx1"/>
                </a:solidFill>
                <a:latin typeface="+mn-lt"/>
                <a:ea typeface="+mn-ea"/>
                <a:cs typeface="Arial" panose="020B0604020202020204" pitchFamily="34" charset="0"/>
              </a:defRPr>
            </a:lvl1pPr>
            <a:lvl2pPr marL="470261" marR="0" indent="-127388" algn="l" defTabSz="342875" rtl="0" eaLnBrk="1" fontAlgn="auto" latinLnBrk="0" hangingPunct="1">
              <a:lnSpc>
                <a:spcPct val="100000"/>
              </a:lnSpc>
              <a:spcBef>
                <a:spcPct val="20000"/>
              </a:spcBef>
              <a:spcAft>
                <a:spcPts val="0"/>
              </a:spcAft>
              <a:buClr>
                <a:srgbClr val="E1061C"/>
              </a:buClr>
              <a:buSzTx/>
              <a:buFont typeface="Arial"/>
              <a:buChar char="•"/>
              <a:tabLst/>
              <a:defRPr sz="1600" kern="1200" baseline="0">
                <a:solidFill>
                  <a:schemeClr val="tx1"/>
                </a:solidFill>
                <a:latin typeface="+mn-lt"/>
                <a:ea typeface="+mn-ea"/>
                <a:cs typeface="Arial" panose="020B0604020202020204" pitchFamily="34" charset="0"/>
              </a:defRPr>
            </a:lvl2pPr>
            <a:lvl3pPr marL="809565" marR="0" indent="-123816" algn="l" defTabSz="342875" rtl="0" eaLnBrk="1" fontAlgn="auto" latinLnBrk="0" hangingPunct="1">
              <a:lnSpc>
                <a:spcPct val="100000"/>
              </a:lnSpc>
              <a:spcBef>
                <a:spcPct val="20000"/>
              </a:spcBef>
              <a:spcAft>
                <a:spcPts val="0"/>
              </a:spcAft>
              <a:buClr>
                <a:srgbClr val="E1061C"/>
              </a:buClr>
              <a:buSzTx/>
              <a:buFont typeface="Arial"/>
              <a:buChar char="•"/>
              <a:tabLst/>
              <a:defRPr sz="1600" kern="1200" baseline="0">
                <a:solidFill>
                  <a:schemeClr val="tx1"/>
                </a:solidFill>
                <a:latin typeface="+mn-lt"/>
                <a:ea typeface="+mn-ea"/>
                <a:cs typeface="Arial" panose="020B0604020202020204" pitchFamily="34" charset="0"/>
              </a:defRPr>
            </a:lvl3pPr>
            <a:lvl4pPr marL="1141724" marR="0" indent="-113102" algn="l" defTabSz="342875" rtl="0" eaLnBrk="1" fontAlgn="auto" latinLnBrk="0" hangingPunct="1">
              <a:lnSpc>
                <a:spcPct val="100000"/>
              </a:lnSpc>
              <a:spcBef>
                <a:spcPct val="20000"/>
              </a:spcBef>
              <a:spcAft>
                <a:spcPts val="0"/>
              </a:spcAft>
              <a:buClr>
                <a:srgbClr val="E1061C"/>
              </a:buClr>
              <a:buSzTx/>
              <a:buFont typeface="Arial"/>
              <a:buChar char="•"/>
              <a:tabLst/>
              <a:defRPr sz="1600" kern="1200" baseline="0">
                <a:solidFill>
                  <a:schemeClr val="tx1"/>
                </a:solidFill>
                <a:latin typeface="+mn-lt"/>
                <a:ea typeface="+mn-ea"/>
                <a:cs typeface="Arial" panose="020B0604020202020204" pitchFamily="34" charset="0"/>
              </a:defRPr>
            </a:lvl4pPr>
            <a:lvl5pPr marL="1479836" marR="0" indent="-108338" algn="l" defTabSz="342875" rtl="0" eaLnBrk="1" fontAlgn="auto" latinLnBrk="0" hangingPunct="1">
              <a:lnSpc>
                <a:spcPct val="100000"/>
              </a:lnSpc>
              <a:spcBef>
                <a:spcPct val="20000"/>
              </a:spcBef>
              <a:spcAft>
                <a:spcPts val="0"/>
              </a:spcAft>
              <a:buClr>
                <a:srgbClr val="E1061C"/>
              </a:buClr>
              <a:buSzTx/>
              <a:buFont typeface="Arial"/>
              <a:buChar char="•"/>
              <a:tabLst/>
              <a:defRPr sz="1600" kern="1200" baseline="0">
                <a:solidFill>
                  <a:schemeClr val="tx1"/>
                </a:solidFill>
                <a:latin typeface="+mn-lt"/>
                <a:ea typeface="+mn-ea"/>
                <a:cs typeface="Arial" panose="020B0604020202020204" pitchFamily="34" charset="0"/>
              </a:defRPr>
            </a:lvl5pPr>
            <a:lvl6pPr marL="1885809" indent="-171438" algn="l" defTabSz="685749"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684" indent="-171438" algn="l" defTabSz="685749"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558" indent="-171438" algn="l" defTabSz="685749"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433" indent="-171438" algn="l" defTabSz="685749"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buFont typeface="Arial"/>
              <a:buNone/>
            </a:pPr>
            <a:r>
              <a:rPr lang="en-GB" sz="1050" b="1" dirty="0"/>
              <a:t>Selenium Box</a:t>
            </a:r>
            <a:endParaRPr lang="en-GB" sz="1050" dirty="0"/>
          </a:p>
        </p:txBody>
      </p:sp>
      <p:sp>
        <p:nvSpPr>
          <p:cNvPr id="14" name="Content Placeholder 4">
            <a:extLst>
              <a:ext uri="{FF2B5EF4-FFF2-40B4-BE49-F238E27FC236}">
                <a16:creationId xmlns:a16="http://schemas.microsoft.com/office/drawing/2014/main" id="{35A8167B-901E-4FD4-9D4C-32A4EDEAE15F}"/>
              </a:ext>
            </a:extLst>
          </p:cNvPr>
          <p:cNvSpPr txBox="1">
            <a:spLocks/>
          </p:cNvSpPr>
          <p:nvPr/>
        </p:nvSpPr>
        <p:spPr>
          <a:xfrm>
            <a:off x="7311230" y="858656"/>
            <a:ext cx="1029882" cy="206234"/>
          </a:xfrm>
          <a:prstGeom prst="rect">
            <a:avLst/>
          </a:prstGeom>
        </p:spPr>
        <p:txBody>
          <a:bodyPr vert="horz" lIns="0" tIns="0" rIns="0" bIns="0" rtlCol="0">
            <a:normAutofit/>
          </a:bodyPr>
          <a:lstStyle>
            <a:lvl1pPr marL="132151" marR="0" indent="-132151" algn="l" defTabSz="342875" rtl="0" eaLnBrk="1" fontAlgn="auto" latinLnBrk="0" hangingPunct="1">
              <a:lnSpc>
                <a:spcPct val="100000"/>
              </a:lnSpc>
              <a:spcBef>
                <a:spcPct val="20000"/>
              </a:spcBef>
              <a:spcAft>
                <a:spcPts val="0"/>
              </a:spcAft>
              <a:buClr>
                <a:srgbClr val="E1061C"/>
              </a:buClr>
              <a:buSzTx/>
              <a:buFont typeface="Arial"/>
              <a:buChar char="•"/>
              <a:tabLst/>
              <a:defRPr sz="1600" kern="1200" baseline="0">
                <a:solidFill>
                  <a:schemeClr val="tx1"/>
                </a:solidFill>
                <a:latin typeface="+mn-lt"/>
                <a:ea typeface="+mn-ea"/>
                <a:cs typeface="Arial" panose="020B0604020202020204" pitchFamily="34" charset="0"/>
              </a:defRPr>
            </a:lvl1pPr>
            <a:lvl2pPr marL="470261" marR="0" indent="-127388" algn="l" defTabSz="342875" rtl="0" eaLnBrk="1" fontAlgn="auto" latinLnBrk="0" hangingPunct="1">
              <a:lnSpc>
                <a:spcPct val="100000"/>
              </a:lnSpc>
              <a:spcBef>
                <a:spcPct val="20000"/>
              </a:spcBef>
              <a:spcAft>
                <a:spcPts val="0"/>
              </a:spcAft>
              <a:buClr>
                <a:srgbClr val="E1061C"/>
              </a:buClr>
              <a:buSzTx/>
              <a:buFont typeface="Arial"/>
              <a:buChar char="•"/>
              <a:tabLst/>
              <a:defRPr sz="1600" kern="1200" baseline="0">
                <a:solidFill>
                  <a:schemeClr val="tx1"/>
                </a:solidFill>
                <a:latin typeface="+mn-lt"/>
                <a:ea typeface="+mn-ea"/>
                <a:cs typeface="Arial" panose="020B0604020202020204" pitchFamily="34" charset="0"/>
              </a:defRPr>
            </a:lvl2pPr>
            <a:lvl3pPr marL="809565" marR="0" indent="-123816" algn="l" defTabSz="342875" rtl="0" eaLnBrk="1" fontAlgn="auto" latinLnBrk="0" hangingPunct="1">
              <a:lnSpc>
                <a:spcPct val="100000"/>
              </a:lnSpc>
              <a:spcBef>
                <a:spcPct val="20000"/>
              </a:spcBef>
              <a:spcAft>
                <a:spcPts val="0"/>
              </a:spcAft>
              <a:buClr>
                <a:srgbClr val="E1061C"/>
              </a:buClr>
              <a:buSzTx/>
              <a:buFont typeface="Arial"/>
              <a:buChar char="•"/>
              <a:tabLst/>
              <a:defRPr sz="1600" kern="1200" baseline="0">
                <a:solidFill>
                  <a:schemeClr val="tx1"/>
                </a:solidFill>
                <a:latin typeface="+mn-lt"/>
                <a:ea typeface="+mn-ea"/>
                <a:cs typeface="Arial" panose="020B0604020202020204" pitchFamily="34" charset="0"/>
              </a:defRPr>
            </a:lvl3pPr>
            <a:lvl4pPr marL="1141724" marR="0" indent="-113102" algn="l" defTabSz="342875" rtl="0" eaLnBrk="1" fontAlgn="auto" latinLnBrk="0" hangingPunct="1">
              <a:lnSpc>
                <a:spcPct val="100000"/>
              </a:lnSpc>
              <a:spcBef>
                <a:spcPct val="20000"/>
              </a:spcBef>
              <a:spcAft>
                <a:spcPts val="0"/>
              </a:spcAft>
              <a:buClr>
                <a:srgbClr val="E1061C"/>
              </a:buClr>
              <a:buSzTx/>
              <a:buFont typeface="Arial"/>
              <a:buChar char="•"/>
              <a:tabLst/>
              <a:defRPr sz="1600" kern="1200" baseline="0">
                <a:solidFill>
                  <a:schemeClr val="tx1"/>
                </a:solidFill>
                <a:latin typeface="+mn-lt"/>
                <a:ea typeface="+mn-ea"/>
                <a:cs typeface="Arial" panose="020B0604020202020204" pitchFamily="34" charset="0"/>
              </a:defRPr>
            </a:lvl4pPr>
            <a:lvl5pPr marL="1479836" marR="0" indent="-108338" algn="l" defTabSz="342875" rtl="0" eaLnBrk="1" fontAlgn="auto" latinLnBrk="0" hangingPunct="1">
              <a:lnSpc>
                <a:spcPct val="100000"/>
              </a:lnSpc>
              <a:spcBef>
                <a:spcPct val="20000"/>
              </a:spcBef>
              <a:spcAft>
                <a:spcPts val="0"/>
              </a:spcAft>
              <a:buClr>
                <a:srgbClr val="E1061C"/>
              </a:buClr>
              <a:buSzTx/>
              <a:buFont typeface="Arial"/>
              <a:buChar char="•"/>
              <a:tabLst/>
              <a:defRPr sz="1600" kern="1200" baseline="0">
                <a:solidFill>
                  <a:schemeClr val="tx1"/>
                </a:solidFill>
                <a:latin typeface="+mn-lt"/>
                <a:ea typeface="+mn-ea"/>
                <a:cs typeface="Arial" panose="020B0604020202020204" pitchFamily="34" charset="0"/>
              </a:defRPr>
            </a:lvl5pPr>
            <a:lvl6pPr marL="1885809" indent="-171438" algn="l" defTabSz="685749"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684" indent="-171438" algn="l" defTabSz="685749"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558" indent="-171438" algn="l" defTabSz="685749"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433" indent="-171438" algn="l" defTabSz="685749"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buFont typeface="Arial"/>
              <a:buNone/>
            </a:pPr>
            <a:r>
              <a:rPr lang="en-GB" sz="1050" b="1" dirty="0"/>
              <a:t>WAS DevOps env.</a:t>
            </a:r>
            <a:endParaRPr lang="en-GB" sz="1050" dirty="0"/>
          </a:p>
        </p:txBody>
      </p:sp>
      <p:sp>
        <p:nvSpPr>
          <p:cNvPr id="15" name="Content Placeholder 4">
            <a:extLst>
              <a:ext uri="{FF2B5EF4-FFF2-40B4-BE49-F238E27FC236}">
                <a16:creationId xmlns:a16="http://schemas.microsoft.com/office/drawing/2014/main" id="{84CECF14-92AC-43F3-BAC6-29D86FAA0254}"/>
              </a:ext>
            </a:extLst>
          </p:cNvPr>
          <p:cNvSpPr txBox="1">
            <a:spLocks/>
          </p:cNvSpPr>
          <p:nvPr/>
        </p:nvSpPr>
        <p:spPr>
          <a:xfrm>
            <a:off x="6659744" y="1216484"/>
            <a:ext cx="434091" cy="208697"/>
          </a:xfrm>
          <a:prstGeom prst="rect">
            <a:avLst/>
          </a:prstGeom>
        </p:spPr>
        <p:txBody>
          <a:bodyPr vert="horz" lIns="0" tIns="0" rIns="0" bIns="0" rtlCol="0">
            <a:normAutofit/>
          </a:bodyPr>
          <a:lstStyle>
            <a:lvl1pPr marL="132151" marR="0" indent="-132151" algn="l" defTabSz="342875" rtl="0" eaLnBrk="1" fontAlgn="auto" latinLnBrk="0" hangingPunct="1">
              <a:lnSpc>
                <a:spcPct val="100000"/>
              </a:lnSpc>
              <a:spcBef>
                <a:spcPct val="20000"/>
              </a:spcBef>
              <a:spcAft>
                <a:spcPts val="0"/>
              </a:spcAft>
              <a:buClr>
                <a:srgbClr val="E1061C"/>
              </a:buClr>
              <a:buSzTx/>
              <a:buFont typeface="Arial"/>
              <a:buChar char="•"/>
              <a:tabLst/>
              <a:defRPr sz="1600" kern="1200" baseline="0">
                <a:solidFill>
                  <a:schemeClr val="tx1"/>
                </a:solidFill>
                <a:latin typeface="+mn-lt"/>
                <a:ea typeface="+mn-ea"/>
                <a:cs typeface="Arial" panose="020B0604020202020204" pitchFamily="34" charset="0"/>
              </a:defRPr>
            </a:lvl1pPr>
            <a:lvl2pPr marL="470261" marR="0" indent="-127388" algn="l" defTabSz="342875" rtl="0" eaLnBrk="1" fontAlgn="auto" latinLnBrk="0" hangingPunct="1">
              <a:lnSpc>
                <a:spcPct val="100000"/>
              </a:lnSpc>
              <a:spcBef>
                <a:spcPct val="20000"/>
              </a:spcBef>
              <a:spcAft>
                <a:spcPts val="0"/>
              </a:spcAft>
              <a:buClr>
                <a:srgbClr val="E1061C"/>
              </a:buClr>
              <a:buSzTx/>
              <a:buFont typeface="Arial"/>
              <a:buChar char="•"/>
              <a:tabLst/>
              <a:defRPr sz="1600" kern="1200" baseline="0">
                <a:solidFill>
                  <a:schemeClr val="tx1"/>
                </a:solidFill>
                <a:latin typeface="+mn-lt"/>
                <a:ea typeface="+mn-ea"/>
                <a:cs typeface="Arial" panose="020B0604020202020204" pitchFamily="34" charset="0"/>
              </a:defRPr>
            </a:lvl2pPr>
            <a:lvl3pPr marL="809565" marR="0" indent="-123816" algn="l" defTabSz="342875" rtl="0" eaLnBrk="1" fontAlgn="auto" latinLnBrk="0" hangingPunct="1">
              <a:lnSpc>
                <a:spcPct val="100000"/>
              </a:lnSpc>
              <a:spcBef>
                <a:spcPct val="20000"/>
              </a:spcBef>
              <a:spcAft>
                <a:spcPts val="0"/>
              </a:spcAft>
              <a:buClr>
                <a:srgbClr val="E1061C"/>
              </a:buClr>
              <a:buSzTx/>
              <a:buFont typeface="Arial"/>
              <a:buChar char="•"/>
              <a:tabLst/>
              <a:defRPr sz="1600" kern="1200" baseline="0">
                <a:solidFill>
                  <a:schemeClr val="tx1"/>
                </a:solidFill>
                <a:latin typeface="+mn-lt"/>
                <a:ea typeface="+mn-ea"/>
                <a:cs typeface="Arial" panose="020B0604020202020204" pitchFamily="34" charset="0"/>
              </a:defRPr>
            </a:lvl3pPr>
            <a:lvl4pPr marL="1141724" marR="0" indent="-113102" algn="l" defTabSz="342875" rtl="0" eaLnBrk="1" fontAlgn="auto" latinLnBrk="0" hangingPunct="1">
              <a:lnSpc>
                <a:spcPct val="100000"/>
              </a:lnSpc>
              <a:spcBef>
                <a:spcPct val="20000"/>
              </a:spcBef>
              <a:spcAft>
                <a:spcPts val="0"/>
              </a:spcAft>
              <a:buClr>
                <a:srgbClr val="E1061C"/>
              </a:buClr>
              <a:buSzTx/>
              <a:buFont typeface="Arial"/>
              <a:buChar char="•"/>
              <a:tabLst/>
              <a:defRPr sz="1600" kern="1200" baseline="0">
                <a:solidFill>
                  <a:schemeClr val="tx1"/>
                </a:solidFill>
                <a:latin typeface="+mn-lt"/>
                <a:ea typeface="+mn-ea"/>
                <a:cs typeface="Arial" panose="020B0604020202020204" pitchFamily="34" charset="0"/>
              </a:defRPr>
            </a:lvl4pPr>
            <a:lvl5pPr marL="1479836" marR="0" indent="-108338" algn="l" defTabSz="342875" rtl="0" eaLnBrk="1" fontAlgn="auto" latinLnBrk="0" hangingPunct="1">
              <a:lnSpc>
                <a:spcPct val="100000"/>
              </a:lnSpc>
              <a:spcBef>
                <a:spcPct val="20000"/>
              </a:spcBef>
              <a:spcAft>
                <a:spcPts val="0"/>
              </a:spcAft>
              <a:buClr>
                <a:srgbClr val="E1061C"/>
              </a:buClr>
              <a:buSzTx/>
              <a:buFont typeface="Arial"/>
              <a:buChar char="•"/>
              <a:tabLst/>
              <a:defRPr sz="1600" kern="1200" baseline="0">
                <a:solidFill>
                  <a:schemeClr val="tx1"/>
                </a:solidFill>
                <a:latin typeface="+mn-lt"/>
                <a:ea typeface="+mn-ea"/>
                <a:cs typeface="Arial" panose="020B0604020202020204" pitchFamily="34" charset="0"/>
              </a:defRPr>
            </a:lvl5pPr>
            <a:lvl6pPr marL="1885809" indent="-171438" algn="l" defTabSz="685749"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684" indent="-171438" algn="l" defTabSz="685749"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558" indent="-171438" algn="l" defTabSz="685749"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433" indent="-171438" algn="l" defTabSz="685749"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buFont typeface="Arial"/>
              <a:buNone/>
            </a:pPr>
            <a:r>
              <a:rPr lang="en-GB" sz="1050" b="1" dirty="0"/>
              <a:t>REST</a:t>
            </a:r>
          </a:p>
        </p:txBody>
      </p:sp>
      <p:pic>
        <p:nvPicPr>
          <p:cNvPr id="16" name="Immagine 92">
            <a:extLst>
              <a:ext uri="{FF2B5EF4-FFF2-40B4-BE49-F238E27FC236}">
                <a16:creationId xmlns:a16="http://schemas.microsoft.com/office/drawing/2014/main" id="{32BAC85A-C4FF-44C5-8434-D0C2D3771C2B}"/>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4743671" y="1008505"/>
            <a:ext cx="683939" cy="446519"/>
          </a:xfrm>
          <a:prstGeom prst="rect">
            <a:avLst/>
          </a:prstGeom>
        </p:spPr>
      </p:pic>
      <p:pic>
        <p:nvPicPr>
          <p:cNvPr id="58370" name="Picture 2" descr="Internet, Explorer Free Icon of Social Media &amp; Logos">
            <a:extLst>
              <a:ext uri="{FF2B5EF4-FFF2-40B4-BE49-F238E27FC236}">
                <a16:creationId xmlns:a16="http://schemas.microsoft.com/office/drawing/2014/main" id="{3C223E84-9515-41C0-AC76-E81FF07B424A}"/>
              </a:ext>
            </a:extLst>
          </p:cNvPr>
          <p:cNvPicPr>
            <a:picLocks noChangeAspect="1" noChangeArrowheads="1"/>
          </p:cNvPicPr>
          <p:nvPr/>
        </p:nvPicPr>
        <p:blipFill>
          <a:blip r:embed="rId10"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631141" y="1066696"/>
            <a:ext cx="354635" cy="354635"/>
          </a:xfrm>
          <a:prstGeom prst="rect">
            <a:avLst/>
          </a:prstGeom>
          <a:noFill/>
          <a:extLst>
            <a:ext uri="{909E8E84-426E-40DD-AFC4-6F175D3DCCD1}">
              <a14:hiddenFill xmlns:a14="http://schemas.microsoft.com/office/drawing/2010/main">
                <a:solidFill>
                  <a:srgbClr val="FFFFFF"/>
                </a:solidFill>
              </a14:hiddenFill>
            </a:ext>
          </a:extLst>
        </p:spPr>
      </p:pic>
      <p:pic>
        <p:nvPicPr>
          <p:cNvPr id="58378" name="Picture 10" descr="Google chrome Logo Icon of Flat style - Available in SVG, PNG, EPS, AI &amp;  Icon fonts">
            <a:extLst>
              <a:ext uri="{FF2B5EF4-FFF2-40B4-BE49-F238E27FC236}">
                <a16:creationId xmlns:a16="http://schemas.microsoft.com/office/drawing/2014/main" id="{CF484384-1601-4B5D-A7BB-8C7C48B56174}"/>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5306944" y="1396153"/>
            <a:ext cx="258662" cy="258662"/>
          </a:xfrm>
          <a:prstGeom prst="rect">
            <a:avLst/>
          </a:prstGeom>
          <a:noFill/>
          <a:extLst>
            <a:ext uri="{909E8E84-426E-40DD-AFC4-6F175D3DCCD1}">
              <a14:hiddenFill xmlns:a14="http://schemas.microsoft.com/office/drawing/2010/main">
                <a:solidFill>
                  <a:srgbClr val="FFFFFF"/>
                </a:solidFill>
              </a14:hiddenFill>
            </a:ext>
          </a:extLst>
        </p:spPr>
      </p:pic>
      <p:sp>
        <p:nvSpPr>
          <p:cNvPr id="29" name="Rectangle: Rounded Corners 28">
            <a:extLst>
              <a:ext uri="{FF2B5EF4-FFF2-40B4-BE49-F238E27FC236}">
                <a16:creationId xmlns:a16="http://schemas.microsoft.com/office/drawing/2014/main" id="{66B9F228-D061-41D1-914E-A44CD0EB30D7}"/>
              </a:ext>
            </a:extLst>
          </p:cNvPr>
          <p:cNvSpPr/>
          <p:nvPr/>
        </p:nvSpPr>
        <p:spPr>
          <a:xfrm>
            <a:off x="7226834" y="1046949"/>
            <a:ext cx="1801052" cy="701995"/>
          </a:xfrm>
          <a:prstGeom prst="roundRect">
            <a:avLst/>
          </a:prstGeom>
          <a:solidFill>
            <a:schemeClr val="bg1">
              <a:lumMod val="95000"/>
            </a:schemeClr>
          </a:solidFill>
          <a:ln>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      MyCredit Backend</a:t>
            </a:r>
          </a:p>
        </p:txBody>
      </p:sp>
      <p:pic>
        <p:nvPicPr>
          <p:cNvPr id="30" name="UCOne" descr="sfere 2D.png">
            <a:extLst>
              <a:ext uri="{FF2B5EF4-FFF2-40B4-BE49-F238E27FC236}">
                <a16:creationId xmlns:a16="http://schemas.microsoft.com/office/drawing/2014/main" id="{7A56B882-F6E1-4E18-930C-AB32D4448350}"/>
              </a:ext>
            </a:extLst>
          </p:cNvPr>
          <p:cNvPicPr>
            <a:picLocks noChangeAspect="1"/>
          </p:cNvPicPr>
          <p:nvPr/>
        </p:nvPicPr>
        <p:blipFill>
          <a:blip r:embed="rId12"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340966" y="1271346"/>
            <a:ext cx="243890" cy="243890"/>
          </a:xfrm>
          <a:prstGeom prst="rect">
            <a:avLst/>
          </a:prstGeom>
        </p:spPr>
      </p:pic>
      <p:sp>
        <p:nvSpPr>
          <p:cNvPr id="32" name="Content Placeholder 4">
            <a:extLst>
              <a:ext uri="{FF2B5EF4-FFF2-40B4-BE49-F238E27FC236}">
                <a16:creationId xmlns:a16="http://schemas.microsoft.com/office/drawing/2014/main" id="{A6839D6C-ACAD-4AF5-AA82-FB0E09560254}"/>
              </a:ext>
            </a:extLst>
          </p:cNvPr>
          <p:cNvSpPr txBox="1">
            <a:spLocks/>
          </p:cNvSpPr>
          <p:nvPr/>
        </p:nvSpPr>
        <p:spPr>
          <a:xfrm>
            <a:off x="5652262" y="1453362"/>
            <a:ext cx="797345" cy="316582"/>
          </a:xfrm>
          <a:prstGeom prst="rect">
            <a:avLst/>
          </a:prstGeom>
        </p:spPr>
        <p:txBody>
          <a:bodyPr vert="horz" lIns="0" tIns="0" rIns="0" bIns="0" rtlCol="0">
            <a:normAutofit fontScale="77500" lnSpcReduction="20000"/>
          </a:bodyPr>
          <a:lstStyle>
            <a:lvl1pPr marL="132151" marR="0" indent="-132151" algn="l" defTabSz="342875" rtl="0" eaLnBrk="1" fontAlgn="auto" latinLnBrk="0" hangingPunct="1">
              <a:lnSpc>
                <a:spcPct val="100000"/>
              </a:lnSpc>
              <a:spcBef>
                <a:spcPct val="20000"/>
              </a:spcBef>
              <a:spcAft>
                <a:spcPts val="0"/>
              </a:spcAft>
              <a:buClr>
                <a:srgbClr val="E1061C"/>
              </a:buClr>
              <a:buSzTx/>
              <a:buFont typeface="Arial"/>
              <a:buChar char="•"/>
              <a:tabLst/>
              <a:defRPr sz="1600" kern="1200" baseline="0">
                <a:solidFill>
                  <a:schemeClr val="tx1"/>
                </a:solidFill>
                <a:latin typeface="+mn-lt"/>
                <a:ea typeface="+mn-ea"/>
                <a:cs typeface="Arial" panose="020B0604020202020204" pitchFamily="34" charset="0"/>
              </a:defRPr>
            </a:lvl1pPr>
            <a:lvl2pPr marL="470261" marR="0" indent="-127388" algn="l" defTabSz="342875" rtl="0" eaLnBrk="1" fontAlgn="auto" latinLnBrk="0" hangingPunct="1">
              <a:lnSpc>
                <a:spcPct val="100000"/>
              </a:lnSpc>
              <a:spcBef>
                <a:spcPct val="20000"/>
              </a:spcBef>
              <a:spcAft>
                <a:spcPts val="0"/>
              </a:spcAft>
              <a:buClr>
                <a:srgbClr val="E1061C"/>
              </a:buClr>
              <a:buSzTx/>
              <a:buFont typeface="Arial"/>
              <a:buChar char="•"/>
              <a:tabLst/>
              <a:defRPr sz="1600" kern="1200" baseline="0">
                <a:solidFill>
                  <a:schemeClr val="tx1"/>
                </a:solidFill>
                <a:latin typeface="+mn-lt"/>
                <a:ea typeface="+mn-ea"/>
                <a:cs typeface="Arial" panose="020B0604020202020204" pitchFamily="34" charset="0"/>
              </a:defRPr>
            </a:lvl2pPr>
            <a:lvl3pPr marL="809565" marR="0" indent="-123816" algn="l" defTabSz="342875" rtl="0" eaLnBrk="1" fontAlgn="auto" latinLnBrk="0" hangingPunct="1">
              <a:lnSpc>
                <a:spcPct val="100000"/>
              </a:lnSpc>
              <a:spcBef>
                <a:spcPct val="20000"/>
              </a:spcBef>
              <a:spcAft>
                <a:spcPts val="0"/>
              </a:spcAft>
              <a:buClr>
                <a:srgbClr val="E1061C"/>
              </a:buClr>
              <a:buSzTx/>
              <a:buFont typeface="Arial"/>
              <a:buChar char="•"/>
              <a:tabLst/>
              <a:defRPr sz="1600" kern="1200" baseline="0">
                <a:solidFill>
                  <a:schemeClr val="tx1"/>
                </a:solidFill>
                <a:latin typeface="+mn-lt"/>
                <a:ea typeface="+mn-ea"/>
                <a:cs typeface="Arial" panose="020B0604020202020204" pitchFamily="34" charset="0"/>
              </a:defRPr>
            </a:lvl3pPr>
            <a:lvl4pPr marL="1141724" marR="0" indent="-113102" algn="l" defTabSz="342875" rtl="0" eaLnBrk="1" fontAlgn="auto" latinLnBrk="0" hangingPunct="1">
              <a:lnSpc>
                <a:spcPct val="100000"/>
              </a:lnSpc>
              <a:spcBef>
                <a:spcPct val="20000"/>
              </a:spcBef>
              <a:spcAft>
                <a:spcPts val="0"/>
              </a:spcAft>
              <a:buClr>
                <a:srgbClr val="E1061C"/>
              </a:buClr>
              <a:buSzTx/>
              <a:buFont typeface="Arial"/>
              <a:buChar char="•"/>
              <a:tabLst/>
              <a:defRPr sz="1600" kern="1200" baseline="0">
                <a:solidFill>
                  <a:schemeClr val="tx1"/>
                </a:solidFill>
                <a:latin typeface="+mn-lt"/>
                <a:ea typeface="+mn-ea"/>
                <a:cs typeface="Arial" panose="020B0604020202020204" pitchFamily="34" charset="0"/>
              </a:defRPr>
            </a:lvl4pPr>
            <a:lvl5pPr marL="1479836" marR="0" indent="-108338" algn="l" defTabSz="342875" rtl="0" eaLnBrk="1" fontAlgn="auto" latinLnBrk="0" hangingPunct="1">
              <a:lnSpc>
                <a:spcPct val="100000"/>
              </a:lnSpc>
              <a:spcBef>
                <a:spcPct val="20000"/>
              </a:spcBef>
              <a:spcAft>
                <a:spcPts val="0"/>
              </a:spcAft>
              <a:buClr>
                <a:srgbClr val="E1061C"/>
              </a:buClr>
              <a:buSzTx/>
              <a:buFont typeface="Arial"/>
              <a:buChar char="•"/>
              <a:tabLst/>
              <a:defRPr sz="1600" kern="1200" baseline="0">
                <a:solidFill>
                  <a:schemeClr val="tx1"/>
                </a:solidFill>
                <a:latin typeface="+mn-lt"/>
                <a:ea typeface="+mn-ea"/>
                <a:cs typeface="Arial" panose="020B0604020202020204" pitchFamily="34" charset="0"/>
              </a:defRPr>
            </a:lvl5pPr>
            <a:lvl6pPr marL="1885809" indent="-171438" algn="l" defTabSz="685749"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684" indent="-171438" algn="l" defTabSz="685749"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558" indent="-171438" algn="l" defTabSz="685749"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433" indent="-171438" algn="l" defTabSz="685749"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buFont typeface="Arial"/>
              <a:buNone/>
            </a:pPr>
            <a:r>
              <a:rPr lang="en-GB" sz="1050" b="1" dirty="0"/>
              <a:t>MyCredit</a:t>
            </a:r>
          </a:p>
          <a:p>
            <a:pPr marL="0" indent="0">
              <a:buFont typeface="Arial"/>
              <a:buNone/>
            </a:pPr>
            <a:r>
              <a:rPr lang="en-GB" sz="1050" b="1" dirty="0"/>
              <a:t>Angular Frontend</a:t>
            </a:r>
          </a:p>
        </p:txBody>
      </p:sp>
      <p:sp>
        <p:nvSpPr>
          <p:cNvPr id="33" name="Content Placeholder 4">
            <a:extLst>
              <a:ext uri="{FF2B5EF4-FFF2-40B4-BE49-F238E27FC236}">
                <a16:creationId xmlns:a16="http://schemas.microsoft.com/office/drawing/2014/main" id="{7036380A-212F-4D39-B84E-507F1589F500}"/>
              </a:ext>
            </a:extLst>
          </p:cNvPr>
          <p:cNvSpPr txBox="1">
            <a:spLocks/>
          </p:cNvSpPr>
          <p:nvPr/>
        </p:nvSpPr>
        <p:spPr>
          <a:xfrm>
            <a:off x="4948582" y="1502919"/>
            <a:ext cx="352857" cy="224404"/>
          </a:xfrm>
          <a:prstGeom prst="rect">
            <a:avLst/>
          </a:prstGeom>
        </p:spPr>
        <p:txBody>
          <a:bodyPr vert="horz" lIns="0" tIns="0" rIns="0" bIns="0" rtlCol="0">
            <a:normAutofit/>
          </a:bodyPr>
          <a:lstStyle>
            <a:lvl1pPr marL="132151" marR="0" indent="-132151" algn="l" defTabSz="342875" rtl="0" eaLnBrk="1" fontAlgn="auto" latinLnBrk="0" hangingPunct="1">
              <a:lnSpc>
                <a:spcPct val="100000"/>
              </a:lnSpc>
              <a:spcBef>
                <a:spcPct val="20000"/>
              </a:spcBef>
              <a:spcAft>
                <a:spcPts val="0"/>
              </a:spcAft>
              <a:buClr>
                <a:srgbClr val="E1061C"/>
              </a:buClr>
              <a:buSzTx/>
              <a:buFont typeface="Arial"/>
              <a:buChar char="•"/>
              <a:tabLst/>
              <a:defRPr sz="1600" kern="1200" baseline="0">
                <a:solidFill>
                  <a:schemeClr val="tx1"/>
                </a:solidFill>
                <a:latin typeface="+mn-lt"/>
                <a:ea typeface="+mn-ea"/>
                <a:cs typeface="Arial" panose="020B0604020202020204" pitchFamily="34" charset="0"/>
              </a:defRPr>
            </a:lvl1pPr>
            <a:lvl2pPr marL="470261" marR="0" indent="-127388" algn="l" defTabSz="342875" rtl="0" eaLnBrk="1" fontAlgn="auto" latinLnBrk="0" hangingPunct="1">
              <a:lnSpc>
                <a:spcPct val="100000"/>
              </a:lnSpc>
              <a:spcBef>
                <a:spcPct val="20000"/>
              </a:spcBef>
              <a:spcAft>
                <a:spcPts val="0"/>
              </a:spcAft>
              <a:buClr>
                <a:srgbClr val="E1061C"/>
              </a:buClr>
              <a:buSzTx/>
              <a:buFont typeface="Arial"/>
              <a:buChar char="•"/>
              <a:tabLst/>
              <a:defRPr sz="1600" kern="1200" baseline="0">
                <a:solidFill>
                  <a:schemeClr val="tx1"/>
                </a:solidFill>
                <a:latin typeface="+mn-lt"/>
                <a:ea typeface="+mn-ea"/>
                <a:cs typeface="Arial" panose="020B0604020202020204" pitchFamily="34" charset="0"/>
              </a:defRPr>
            </a:lvl2pPr>
            <a:lvl3pPr marL="809565" marR="0" indent="-123816" algn="l" defTabSz="342875" rtl="0" eaLnBrk="1" fontAlgn="auto" latinLnBrk="0" hangingPunct="1">
              <a:lnSpc>
                <a:spcPct val="100000"/>
              </a:lnSpc>
              <a:spcBef>
                <a:spcPct val="20000"/>
              </a:spcBef>
              <a:spcAft>
                <a:spcPts val="0"/>
              </a:spcAft>
              <a:buClr>
                <a:srgbClr val="E1061C"/>
              </a:buClr>
              <a:buSzTx/>
              <a:buFont typeface="Arial"/>
              <a:buChar char="•"/>
              <a:tabLst/>
              <a:defRPr sz="1600" kern="1200" baseline="0">
                <a:solidFill>
                  <a:schemeClr val="tx1"/>
                </a:solidFill>
                <a:latin typeface="+mn-lt"/>
                <a:ea typeface="+mn-ea"/>
                <a:cs typeface="Arial" panose="020B0604020202020204" pitchFamily="34" charset="0"/>
              </a:defRPr>
            </a:lvl3pPr>
            <a:lvl4pPr marL="1141724" marR="0" indent="-113102" algn="l" defTabSz="342875" rtl="0" eaLnBrk="1" fontAlgn="auto" latinLnBrk="0" hangingPunct="1">
              <a:lnSpc>
                <a:spcPct val="100000"/>
              </a:lnSpc>
              <a:spcBef>
                <a:spcPct val="20000"/>
              </a:spcBef>
              <a:spcAft>
                <a:spcPts val="0"/>
              </a:spcAft>
              <a:buClr>
                <a:srgbClr val="E1061C"/>
              </a:buClr>
              <a:buSzTx/>
              <a:buFont typeface="Arial"/>
              <a:buChar char="•"/>
              <a:tabLst/>
              <a:defRPr sz="1600" kern="1200" baseline="0">
                <a:solidFill>
                  <a:schemeClr val="tx1"/>
                </a:solidFill>
                <a:latin typeface="+mn-lt"/>
                <a:ea typeface="+mn-ea"/>
                <a:cs typeface="Arial" panose="020B0604020202020204" pitchFamily="34" charset="0"/>
              </a:defRPr>
            </a:lvl4pPr>
            <a:lvl5pPr marL="1479836" marR="0" indent="-108338" algn="l" defTabSz="342875" rtl="0" eaLnBrk="1" fontAlgn="auto" latinLnBrk="0" hangingPunct="1">
              <a:lnSpc>
                <a:spcPct val="100000"/>
              </a:lnSpc>
              <a:spcBef>
                <a:spcPct val="20000"/>
              </a:spcBef>
              <a:spcAft>
                <a:spcPts val="0"/>
              </a:spcAft>
              <a:buClr>
                <a:srgbClr val="E1061C"/>
              </a:buClr>
              <a:buSzTx/>
              <a:buFont typeface="Arial"/>
              <a:buChar char="•"/>
              <a:tabLst/>
              <a:defRPr sz="1600" kern="1200" baseline="0">
                <a:solidFill>
                  <a:schemeClr val="tx1"/>
                </a:solidFill>
                <a:latin typeface="+mn-lt"/>
                <a:ea typeface="+mn-ea"/>
                <a:cs typeface="Arial" panose="020B0604020202020204" pitchFamily="34" charset="0"/>
              </a:defRPr>
            </a:lvl5pPr>
            <a:lvl6pPr marL="1885809" indent="-171438" algn="l" defTabSz="685749"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684" indent="-171438" algn="l" defTabSz="685749"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558" indent="-171438" algn="l" defTabSz="685749"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433" indent="-171438" algn="l" defTabSz="685749"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buFont typeface="Arial"/>
              <a:buNone/>
            </a:pPr>
            <a:r>
              <a:rPr lang="en-GB" sz="800" b="1" dirty="0" err="1"/>
              <a:t>Nabu</a:t>
            </a:r>
            <a:endParaRPr lang="en-GB" sz="800" b="1" dirty="0"/>
          </a:p>
        </p:txBody>
      </p:sp>
      <p:pic>
        <p:nvPicPr>
          <p:cNvPr id="34" name="UCOne" descr="sfere 2D.png">
            <a:extLst>
              <a:ext uri="{FF2B5EF4-FFF2-40B4-BE49-F238E27FC236}">
                <a16:creationId xmlns:a16="http://schemas.microsoft.com/office/drawing/2014/main" id="{4B027171-37C9-4E22-A9A2-235E22DF9FE9}"/>
              </a:ext>
            </a:extLst>
          </p:cNvPr>
          <p:cNvPicPr>
            <a:picLocks noChangeAspect="1"/>
          </p:cNvPicPr>
          <p:nvPr/>
        </p:nvPicPr>
        <p:blipFill>
          <a:blip r:embed="rId1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769185" y="1493466"/>
            <a:ext cx="159649" cy="159649"/>
          </a:xfrm>
          <a:prstGeom prst="rect">
            <a:avLst/>
          </a:prstGeom>
        </p:spPr>
      </p:pic>
      <p:sp>
        <p:nvSpPr>
          <p:cNvPr id="37" name="Content Placeholder 4">
            <a:extLst>
              <a:ext uri="{FF2B5EF4-FFF2-40B4-BE49-F238E27FC236}">
                <a16:creationId xmlns:a16="http://schemas.microsoft.com/office/drawing/2014/main" id="{470A1227-18B6-45E7-8C37-3900935B0947}"/>
              </a:ext>
            </a:extLst>
          </p:cNvPr>
          <p:cNvSpPr>
            <a:spLocks noGrp="1"/>
          </p:cNvSpPr>
          <p:nvPr>
            <p:ph sz="quarter" idx="15"/>
          </p:nvPr>
        </p:nvSpPr>
        <p:spPr>
          <a:xfrm>
            <a:off x="269875" y="946800"/>
            <a:ext cx="4232828" cy="3312000"/>
          </a:xfrm>
        </p:spPr>
        <p:txBody>
          <a:bodyPr>
            <a:normAutofit/>
          </a:bodyPr>
          <a:lstStyle/>
          <a:p>
            <a:endParaRPr lang="en-GB" dirty="0"/>
          </a:p>
          <a:p>
            <a:endParaRPr lang="en-US" b="1" dirty="0"/>
          </a:p>
          <a:p>
            <a:r>
              <a:rPr lang="en-US" sz="1400" dirty="0"/>
              <a:t>Repetitive Test Runs</a:t>
            </a:r>
          </a:p>
          <a:p>
            <a:r>
              <a:rPr lang="en-US" sz="1400" dirty="0"/>
              <a:t>High-Risk Test Cases (critical parts of the application)</a:t>
            </a:r>
          </a:p>
          <a:p>
            <a:r>
              <a:rPr lang="en-US" sz="1400" dirty="0"/>
              <a:t>Three Golden Tests (smoke, sanity, regression)</a:t>
            </a:r>
          </a:p>
          <a:p>
            <a:r>
              <a:rPr lang="en-US" sz="1400" dirty="0"/>
              <a:t>Complex Cases</a:t>
            </a:r>
          </a:p>
          <a:p>
            <a:endParaRPr lang="en-US" sz="1400" dirty="0"/>
          </a:p>
          <a:p>
            <a:endParaRPr lang="en-US" sz="1400" dirty="0"/>
          </a:p>
          <a:p>
            <a:pPr marL="0" indent="0">
              <a:buNone/>
            </a:pPr>
            <a:r>
              <a:rPr lang="en-US" b="1" dirty="0"/>
              <a:t> </a:t>
            </a:r>
            <a:endParaRPr lang="en-US" dirty="0"/>
          </a:p>
          <a:p>
            <a:endParaRPr lang="en-GB" dirty="0"/>
          </a:p>
          <a:p>
            <a:r>
              <a:rPr lang="en-GB" sz="1400" dirty="0" err="1"/>
              <a:t>Nabu</a:t>
            </a:r>
            <a:r>
              <a:rPr lang="en-GB" sz="1400" dirty="0"/>
              <a:t> based on Selenium</a:t>
            </a:r>
          </a:p>
          <a:p>
            <a:endParaRPr lang="en-GB" dirty="0"/>
          </a:p>
        </p:txBody>
      </p:sp>
      <p:sp>
        <p:nvSpPr>
          <p:cNvPr id="25" name="Round Diagonal Corner Rectangle 57">
            <a:extLst>
              <a:ext uri="{FF2B5EF4-FFF2-40B4-BE49-F238E27FC236}">
                <a16:creationId xmlns:a16="http://schemas.microsoft.com/office/drawing/2014/main" id="{3EC3C0B4-668A-4F1A-A886-C4F4436DAFF3}"/>
              </a:ext>
            </a:extLst>
          </p:cNvPr>
          <p:cNvSpPr/>
          <p:nvPr/>
        </p:nvSpPr>
        <p:spPr>
          <a:xfrm>
            <a:off x="-11156" y="878973"/>
            <a:ext cx="3395450" cy="356796"/>
          </a:xfrm>
          <a:prstGeom prst="rect">
            <a:avLst/>
          </a:prstGeom>
          <a:solidFill>
            <a:schemeClr val="accent1"/>
          </a:solidFill>
          <a:ln w="3175">
            <a:solidFill>
              <a:schemeClr val="accent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r>
              <a:rPr lang="en-US" sz="1400" b="1" dirty="0">
                <a:solidFill>
                  <a:schemeClr val="bg1"/>
                </a:solidFill>
              </a:rPr>
              <a:t>Selection criteria for an automated suite</a:t>
            </a:r>
          </a:p>
        </p:txBody>
      </p:sp>
      <p:sp>
        <p:nvSpPr>
          <p:cNvPr id="26" name="Round Diagonal Corner Rectangle 57">
            <a:extLst>
              <a:ext uri="{FF2B5EF4-FFF2-40B4-BE49-F238E27FC236}">
                <a16:creationId xmlns:a16="http://schemas.microsoft.com/office/drawing/2014/main" id="{2CA6D334-C4D7-43C5-BB33-F880132A5F26}"/>
              </a:ext>
            </a:extLst>
          </p:cNvPr>
          <p:cNvSpPr/>
          <p:nvPr/>
        </p:nvSpPr>
        <p:spPr>
          <a:xfrm>
            <a:off x="-11158" y="2976720"/>
            <a:ext cx="3395450" cy="356796"/>
          </a:xfrm>
          <a:prstGeom prst="rect">
            <a:avLst/>
          </a:prstGeom>
          <a:solidFill>
            <a:schemeClr val="accent1"/>
          </a:solidFill>
          <a:ln w="3175">
            <a:solidFill>
              <a:schemeClr val="accent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r>
              <a:rPr lang="en-US" sz="1400" b="1" dirty="0">
                <a:solidFill>
                  <a:schemeClr val="bg1"/>
                </a:solidFill>
              </a:rPr>
              <a:t>Tools used</a:t>
            </a:r>
          </a:p>
        </p:txBody>
      </p:sp>
    </p:spTree>
    <p:extLst>
      <p:ext uri="{BB962C8B-B14F-4D97-AF65-F5344CB8AC3E}">
        <p14:creationId xmlns:p14="http://schemas.microsoft.com/office/powerpoint/2010/main" val="361471130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Object 34" hidden="1">
            <a:extLst>
              <a:ext uri="{FF2B5EF4-FFF2-40B4-BE49-F238E27FC236}">
                <a16:creationId xmlns:a16="http://schemas.microsoft.com/office/drawing/2014/main" id="{4C781002-2313-4803-A01A-071A6AB2FB9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253" name="think-cell Slide" r:id="rId5" imgW="360" imgH="360" progId="TCLayout.ActiveDocument.1">
                  <p:embed/>
                </p:oleObj>
              </mc:Choice>
              <mc:Fallback>
                <p:oleObj name="think-cell Slide" r:id="rId5" imgW="360" imgH="360" progId="TCLayout.ActiveDocument.1">
                  <p:embed/>
                  <p:pic>
                    <p:nvPicPr>
                      <p:cNvPr id="35" name="Object 34" hidden="1">
                        <a:extLst>
                          <a:ext uri="{FF2B5EF4-FFF2-40B4-BE49-F238E27FC236}">
                            <a16:creationId xmlns:a16="http://schemas.microsoft.com/office/drawing/2014/main" id="{4C781002-2313-4803-A01A-071A6AB2FB9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6" name="Rectangle 35" hidden="1">
            <a:extLst>
              <a:ext uri="{FF2B5EF4-FFF2-40B4-BE49-F238E27FC236}">
                <a16:creationId xmlns:a16="http://schemas.microsoft.com/office/drawing/2014/main" id="{1F08D6A1-39DF-43FB-878F-188581D16D3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UniCredit" panose="02000506040000020004" pitchFamily="2" charset="0"/>
              <a:ea typeface="+mj-ea"/>
              <a:cs typeface="Arial" panose="020B0604020202020204" pitchFamily="34" charset="0"/>
              <a:sym typeface="UniCredit" panose="02000506040000020004" pitchFamily="2" charset="0"/>
            </a:endParaRPr>
          </a:p>
        </p:txBody>
      </p:sp>
      <p:sp>
        <p:nvSpPr>
          <p:cNvPr id="2" name="Text Placeholder 1">
            <a:extLst>
              <a:ext uri="{FF2B5EF4-FFF2-40B4-BE49-F238E27FC236}">
                <a16:creationId xmlns:a16="http://schemas.microsoft.com/office/drawing/2014/main" id="{37C31D72-88E7-4CA4-97CC-DF95C6596AE8}"/>
              </a:ext>
            </a:extLst>
          </p:cNvPr>
          <p:cNvSpPr>
            <a:spLocks noGrp="1"/>
          </p:cNvSpPr>
          <p:nvPr>
            <p:ph type="body" sz="quarter" idx="12"/>
          </p:nvPr>
        </p:nvSpPr>
        <p:spPr/>
        <p:txBody>
          <a:bodyPr/>
          <a:lstStyle/>
          <a:p>
            <a:endParaRPr lang="en-US"/>
          </a:p>
        </p:txBody>
      </p:sp>
      <p:sp>
        <p:nvSpPr>
          <p:cNvPr id="3" name="Text Placeholder 2">
            <a:extLst>
              <a:ext uri="{FF2B5EF4-FFF2-40B4-BE49-F238E27FC236}">
                <a16:creationId xmlns:a16="http://schemas.microsoft.com/office/drawing/2014/main" id="{EBBD6DAB-6B2B-42CC-9A99-3EDE6EF054BF}"/>
              </a:ext>
            </a:extLst>
          </p:cNvPr>
          <p:cNvSpPr>
            <a:spLocks noGrp="1"/>
          </p:cNvSpPr>
          <p:nvPr>
            <p:ph type="body" sz="quarter" idx="16"/>
          </p:nvPr>
        </p:nvSpPr>
        <p:spPr/>
        <p:txBody>
          <a:bodyPr/>
          <a:lstStyle/>
          <a:p>
            <a:endParaRPr lang="en-US"/>
          </a:p>
        </p:txBody>
      </p:sp>
      <p:sp>
        <p:nvSpPr>
          <p:cNvPr id="4" name="Slide Number Placeholder 3">
            <a:extLst>
              <a:ext uri="{FF2B5EF4-FFF2-40B4-BE49-F238E27FC236}">
                <a16:creationId xmlns:a16="http://schemas.microsoft.com/office/drawing/2014/main" id="{82835AA4-731A-42C0-9605-CE5C097D862B}"/>
              </a:ext>
            </a:extLst>
          </p:cNvPr>
          <p:cNvSpPr>
            <a:spLocks noGrp="1"/>
          </p:cNvSpPr>
          <p:nvPr>
            <p:ph type="sldNum" sz="quarter" idx="11"/>
          </p:nvPr>
        </p:nvSpPr>
        <p:spPr/>
        <p:txBody>
          <a:bodyPr/>
          <a:lstStyle/>
          <a:p>
            <a:fld id="{9E8169F0-646E-455B-AF5A-6D6C02EAEAF6}" type="slidenum">
              <a:rPr lang="en-GB" noProof="1" smtClean="0"/>
              <a:t>38</a:t>
            </a:fld>
            <a:endParaRPr lang="en-GB" noProof="1"/>
          </a:p>
        </p:txBody>
      </p:sp>
      <p:graphicFrame>
        <p:nvGraphicFramePr>
          <p:cNvPr id="7" name="Content Placeholder 6">
            <a:extLst>
              <a:ext uri="{FF2B5EF4-FFF2-40B4-BE49-F238E27FC236}">
                <a16:creationId xmlns:a16="http://schemas.microsoft.com/office/drawing/2014/main" id="{B213A504-AF0B-4DEB-B8A6-057B0B9F9935}"/>
              </a:ext>
            </a:extLst>
          </p:cNvPr>
          <p:cNvGraphicFramePr>
            <a:graphicFrameLocks noGrp="1"/>
          </p:cNvGraphicFramePr>
          <p:nvPr>
            <p:ph sz="quarter" idx="15"/>
          </p:nvPr>
        </p:nvGraphicFramePr>
        <p:xfrm>
          <a:off x="232568" y="1662658"/>
          <a:ext cx="8678863" cy="793939"/>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6" name="Title 5">
            <a:extLst>
              <a:ext uri="{FF2B5EF4-FFF2-40B4-BE49-F238E27FC236}">
                <a16:creationId xmlns:a16="http://schemas.microsoft.com/office/drawing/2014/main" id="{4CEBBF5F-7584-4FE7-8A89-E5F2743DBDC0}"/>
              </a:ext>
            </a:extLst>
          </p:cNvPr>
          <p:cNvSpPr>
            <a:spLocks noGrp="1"/>
          </p:cNvSpPr>
          <p:nvPr>
            <p:ph type="title"/>
          </p:nvPr>
        </p:nvSpPr>
        <p:spPr/>
        <p:txBody>
          <a:bodyPr/>
          <a:lstStyle/>
          <a:p>
            <a:r>
              <a:rPr lang="en-US" dirty="0"/>
              <a:t>Final step: software ready for UAT</a:t>
            </a:r>
          </a:p>
        </p:txBody>
      </p:sp>
      <p:graphicFrame>
        <p:nvGraphicFramePr>
          <p:cNvPr id="8" name="Content Placeholder 6">
            <a:extLst>
              <a:ext uri="{FF2B5EF4-FFF2-40B4-BE49-F238E27FC236}">
                <a16:creationId xmlns:a16="http://schemas.microsoft.com/office/drawing/2014/main" id="{4012480D-4ACF-46ED-A5BC-A161DB9452BD}"/>
              </a:ext>
            </a:extLst>
          </p:cNvPr>
          <p:cNvGraphicFramePr>
            <a:graphicFrameLocks/>
          </p:cNvGraphicFramePr>
          <p:nvPr/>
        </p:nvGraphicFramePr>
        <p:xfrm>
          <a:off x="1958454" y="1330658"/>
          <a:ext cx="6121021" cy="416256"/>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grpSp>
        <p:nvGrpSpPr>
          <p:cNvPr id="12" name="Gruppo 57">
            <a:extLst>
              <a:ext uri="{FF2B5EF4-FFF2-40B4-BE49-F238E27FC236}">
                <a16:creationId xmlns:a16="http://schemas.microsoft.com/office/drawing/2014/main" id="{96E0BE94-53DC-4071-8828-0459313D9456}"/>
              </a:ext>
            </a:extLst>
          </p:cNvPr>
          <p:cNvGrpSpPr/>
          <p:nvPr/>
        </p:nvGrpSpPr>
        <p:grpSpPr>
          <a:xfrm>
            <a:off x="5508245" y="2405035"/>
            <a:ext cx="529106" cy="366887"/>
            <a:chOff x="6946025" y="2094577"/>
            <a:chExt cx="723806" cy="478077"/>
          </a:xfrm>
        </p:grpSpPr>
        <p:pic>
          <p:nvPicPr>
            <p:cNvPr id="25" name="Grafik 143">
              <a:extLst>
                <a:ext uri="{FF2B5EF4-FFF2-40B4-BE49-F238E27FC236}">
                  <a16:creationId xmlns:a16="http://schemas.microsoft.com/office/drawing/2014/main" id="{DEFF508D-9999-4AA0-A2B0-59E721894D31}"/>
                </a:ext>
              </a:extLst>
            </p:cNvPr>
            <p:cNvPicPr>
              <a:picLocks noChangeAspect="1"/>
            </p:cNvPicPr>
            <p:nvPr/>
          </p:nvPicPr>
          <p:blipFill>
            <a:blip r:embed="rId17"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6946025" y="2122512"/>
              <a:ext cx="723806" cy="450142"/>
            </a:xfrm>
            <a:prstGeom prst="rect">
              <a:avLst/>
            </a:prstGeom>
          </p:spPr>
        </p:pic>
        <p:sp>
          <p:nvSpPr>
            <p:cNvPr id="26" name="CasellaDiTesto 59">
              <a:extLst>
                <a:ext uri="{FF2B5EF4-FFF2-40B4-BE49-F238E27FC236}">
                  <a16:creationId xmlns:a16="http://schemas.microsoft.com/office/drawing/2014/main" id="{EF7AC9F6-CBEE-498A-B32B-FECA87197DA1}"/>
                </a:ext>
              </a:extLst>
            </p:cNvPr>
            <p:cNvSpPr txBox="1"/>
            <p:nvPr/>
          </p:nvSpPr>
          <p:spPr>
            <a:xfrm>
              <a:off x="7225224" y="2094577"/>
              <a:ext cx="434106" cy="158833"/>
            </a:xfrm>
            <a:prstGeom prst="rect">
              <a:avLst/>
            </a:prstGeom>
            <a:solidFill>
              <a:sysClr val="window" lastClr="FFFFFF"/>
            </a:solid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1" i="1" u="none" strike="noStrike" kern="0" cap="none" spc="0" normalizeH="0" baseline="0" noProof="0" dirty="0">
                  <a:ln>
                    <a:noFill/>
                  </a:ln>
                  <a:solidFill>
                    <a:srgbClr val="999999"/>
                  </a:solidFill>
                  <a:effectLst/>
                  <a:uLnTx/>
                  <a:uFillTx/>
                  <a:latin typeface="UniCredit"/>
                  <a:cs typeface="Arial" charset="0"/>
                </a:rPr>
                <a:t>DEPLOY</a:t>
              </a:r>
              <a:endParaRPr kumimoji="0" lang="en-US" sz="1400" b="1" i="1" u="none" strike="noStrike" kern="0" cap="none" spc="0" normalizeH="0" baseline="0" noProof="0" dirty="0">
                <a:ln>
                  <a:noFill/>
                </a:ln>
                <a:solidFill>
                  <a:srgbClr val="999999"/>
                </a:solidFill>
                <a:effectLst/>
                <a:uLnTx/>
                <a:uFillTx/>
                <a:latin typeface="UniCredit"/>
                <a:cs typeface="Arial" charset="0"/>
              </a:endParaRPr>
            </a:p>
          </p:txBody>
        </p:sp>
      </p:grpSp>
      <p:pic>
        <p:nvPicPr>
          <p:cNvPr id="13" name="Immagine 68">
            <a:extLst>
              <a:ext uri="{FF2B5EF4-FFF2-40B4-BE49-F238E27FC236}">
                <a16:creationId xmlns:a16="http://schemas.microsoft.com/office/drawing/2014/main" id="{0141B9BC-946F-47F8-B222-7B5FB3E42FAB}"/>
              </a:ext>
            </a:extLst>
          </p:cNvPr>
          <p:cNvPicPr>
            <a:picLocks noChangeAspect="1"/>
          </p:cNvPicPr>
          <p:nvPr/>
        </p:nvPicPr>
        <p:blipFill>
          <a:blip r:embed="rId18"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4988808" y="937660"/>
            <a:ext cx="527698" cy="316419"/>
          </a:xfrm>
          <a:prstGeom prst="rect">
            <a:avLst/>
          </a:prstGeom>
        </p:spPr>
      </p:pic>
      <p:pic>
        <p:nvPicPr>
          <p:cNvPr id="14" name="Immagine 90">
            <a:extLst>
              <a:ext uri="{FF2B5EF4-FFF2-40B4-BE49-F238E27FC236}">
                <a16:creationId xmlns:a16="http://schemas.microsoft.com/office/drawing/2014/main" id="{1F6956C0-6AD7-42B3-8A6D-229457FA84E4}"/>
              </a:ext>
            </a:extLst>
          </p:cNvPr>
          <p:cNvPicPr>
            <a:picLocks noChangeAspect="1"/>
          </p:cNvPicPr>
          <p:nvPr/>
        </p:nvPicPr>
        <p:blipFill>
          <a:blip r:embed="rId19"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6322667" y="2477700"/>
            <a:ext cx="622008" cy="197186"/>
          </a:xfrm>
          <a:prstGeom prst="rect">
            <a:avLst/>
          </a:prstGeom>
        </p:spPr>
      </p:pic>
      <p:pic>
        <p:nvPicPr>
          <p:cNvPr id="15" name="Immagine 92">
            <a:extLst>
              <a:ext uri="{FF2B5EF4-FFF2-40B4-BE49-F238E27FC236}">
                <a16:creationId xmlns:a16="http://schemas.microsoft.com/office/drawing/2014/main" id="{5A757FDC-EB77-47F4-9B34-CA7FB43E3E65}"/>
              </a:ext>
            </a:extLst>
          </p:cNvPr>
          <p:cNvPicPr>
            <a:picLocks noChangeAspect="1"/>
          </p:cNvPicPr>
          <p:nvPr/>
        </p:nvPicPr>
        <p:blipFill>
          <a:blip r:embed="rId20"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7222315" y="2370242"/>
            <a:ext cx="576113" cy="376123"/>
          </a:xfrm>
          <a:prstGeom prst="rect">
            <a:avLst/>
          </a:prstGeom>
        </p:spPr>
      </p:pic>
      <p:pic>
        <p:nvPicPr>
          <p:cNvPr id="17" name="Immagine 124">
            <a:extLst>
              <a:ext uri="{FF2B5EF4-FFF2-40B4-BE49-F238E27FC236}">
                <a16:creationId xmlns:a16="http://schemas.microsoft.com/office/drawing/2014/main" id="{0D3D192C-F36A-401A-BDC0-CD9B1DF67085}"/>
              </a:ext>
            </a:extLst>
          </p:cNvPr>
          <p:cNvPicPr>
            <a:picLocks noChangeAspect="1"/>
          </p:cNvPicPr>
          <p:nvPr/>
        </p:nvPicPr>
        <p:blipFill>
          <a:blip r:embed="rId21"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3576062" y="2400916"/>
            <a:ext cx="1045724" cy="402234"/>
          </a:xfrm>
          <a:prstGeom prst="rect">
            <a:avLst/>
          </a:prstGeom>
        </p:spPr>
      </p:pic>
      <p:pic>
        <p:nvPicPr>
          <p:cNvPr id="18" name="Picture 4" descr="JUnit – About">
            <a:extLst>
              <a:ext uri="{FF2B5EF4-FFF2-40B4-BE49-F238E27FC236}">
                <a16:creationId xmlns:a16="http://schemas.microsoft.com/office/drawing/2014/main" id="{43D69F85-738D-4488-A255-E84FECD44BE3}"/>
              </a:ext>
            </a:extLst>
          </p:cNvPr>
          <p:cNvPicPr>
            <a:picLocks noChangeAspect="1" noChangeArrowheads="1"/>
          </p:cNvPicPr>
          <p:nvPr/>
        </p:nvPicPr>
        <p:blipFill>
          <a:blip r:embed="rId22" cstate="email">
            <a:duotone>
              <a:schemeClr val="bg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3006688" y="2496035"/>
            <a:ext cx="493019" cy="155210"/>
          </a:xfrm>
          <a:prstGeom prst="rect">
            <a:avLst/>
          </a:prstGeom>
          <a:noFill/>
          <a:extLst>
            <a:ext uri="{909E8E84-426E-40DD-AFC4-6F175D3DCCD1}">
              <a14:hiddenFill xmlns:a14="http://schemas.microsoft.com/office/drawing/2010/main">
                <a:solidFill>
                  <a:srgbClr val="FFFFFF"/>
                </a:solidFill>
              </a14:hiddenFill>
            </a:ext>
          </a:extLst>
        </p:spPr>
      </p:pic>
      <p:grpSp>
        <p:nvGrpSpPr>
          <p:cNvPr id="19" name="Gruppo 12">
            <a:extLst>
              <a:ext uri="{FF2B5EF4-FFF2-40B4-BE49-F238E27FC236}">
                <a16:creationId xmlns:a16="http://schemas.microsoft.com/office/drawing/2014/main" id="{F3DC3895-2715-40DE-8A2B-A4D3871C6BC2}"/>
              </a:ext>
            </a:extLst>
          </p:cNvPr>
          <p:cNvGrpSpPr/>
          <p:nvPr/>
        </p:nvGrpSpPr>
        <p:grpSpPr>
          <a:xfrm>
            <a:off x="4708823" y="2238895"/>
            <a:ext cx="547002" cy="457094"/>
            <a:chOff x="8284888" y="2480464"/>
            <a:chExt cx="569212" cy="461665"/>
          </a:xfrm>
        </p:grpSpPr>
        <p:pic>
          <p:nvPicPr>
            <p:cNvPr id="23" name="Immagine 40">
              <a:extLst>
                <a:ext uri="{FF2B5EF4-FFF2-40B4-BE49-F238E27FC236}">
                  <a16:creationId xmlns:a16="http://schemas.microsoft.com/office/drawing/2014/main" id="{8C31A6CE-D9F6-4E08-9C3F-2EAD7378E351}"/>
                </a:ext>
              </a:extLst>
            </p:cNvPr>
            <p:cNvPicPr>
              <a:picLocks noChangeAspect="1"/>
            </p:cNvPicPr>
            <p:nvPr/>
          </p:nvPicPr>
          <p:blipFill>
            <a:blip r:embed="rId23"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8284888" y="2711297"/>
              <a:ext cx="490862" cy="197995"/>
            </a:xfrm>
            <a:prstGeom prst="rect">
              <a:avLst/>
            </a:prstGeom>
            <a:solidFill>
              <a:sysClr val="window" lastClr="FFFFFF"/>
            </a:solidFill>
          </p:spPr>
        </p:pic>
        <p:sp>
          <p:nvSpPr>
            <p:cNvPr id="24" name="CasellaDiTesto 81">
              <a:extLst>
                <a:ext uri="{FF2B5EF4-FFF2-40B4-BE49-F238E27FC236}">
                  <a16:creationId xmlns:a16="http://schemas.microsoft.com/office/drawing/2014/main" id="{6B613A88-89B7-47B0-8A52-A599BD41CADB}"/>
                </a:ext>
              </a:extLst>
            </p:cNvPr>
            <p:cNvSpPr txBox="1"/>
            <p:nvPr/>
          </p:nvSpPr>
          <p:spPr>
            <a:xfrm>
              <a:off x="8669369" y="2480464"/>
              <a:ext cx="184731" cy="461665"/>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dirty="0">
                <a:ln>
                  <a:noFill/>
                </a:ln>
                <a:solidFill>
                  <a:srgbClr val="999999"/>
                </a:solidFill>
                <a:effectLst/>
                <a:uLnTx/>
                <a:uFillTx/>
                <a:latin typeface="UniCredit"/>
                <a:cs typeface="Arial" charset="0"/>
              </a:endParaRPr>
            </a:p>
          </p:txBody>
        </p:sp>
      </p:grpSp>
      <p:pic>
        <p:nvPicPr>
          <p:cNvPr id="20" name="Graphic 19">
            <a:extLst>
              <a:ext uri="{FF2B5EF4-FFF2-40B4-BE49-F238E27FC236}">
                <a16:creationId xmlns:a16="http://schemas.microsoft.com/office/drawing/2014/main" id="{F78FA946-A515-477A-9B6D-1F2533606B92}"/>
              </a:ext>
            </a:extLst>
          </p:cNvPr>
          <p:cNvPicPr>
            <a:picLocks noChangeAspect="1"/>
          </p:cNvPicPr>
          <p:nvPr/>
        </p:nvPicPr>
        <p:blipFill>
          <a:blip r:embed="rId24" cstate="email">
            <a:duotone>
              <a:schemeClr val="bg2">
                <a:shade val="45000"/>
                <a:satMod val="135000"/>
              </a:schemeClr>
              <a:prstClr val="white"/>
            </a:duotone>
            <a:extLst>
              <a:ext uri="{28A0092B-C50C-407E-A947-70E740481C1C}">
                <a14:useLocalDpi xmlns:a14="http://schemas.microsoft.com/office/drawing/2010/main"/>
              </a:ext>
              <a:ext uri="{96DAC541-7B7A-43D3-8B79-37D633B846F1}">
                <asvg:svgBlip xmlns:asvg="http://schemas.microsoft.com/office/drawing/2016/SVG/main" r:embed="rId25"/>
              </a:ext>
            </a:extLst>
          </a:blip>
          <a:stretch>
            <a:fillRect/>
          </a:stretch>
        </p:blipFill>
        <p:spPr>
          <a:xfrm>
            <a:off x="502979" y="2794878"/>
            <a:ext cx="527698" cy="281008"/>
          </a:xfrm>
          <a:prstGeom prst="rect">
            <a:avLst/>
          </a:prstGeom>
        </p:spPr>
      </p:pic>
      <p:pic>
        <p:nvPicPr>
          <p:cNvPr id="21" name="Picture 6" descr="Jira - Logo">
            <a:extLst>
              <a:ext uri="{FF2B5EF4-FFF2-40B4-BE49-F238E27FC236}">
                <a16:creationId xmlns:a16="http://schemas.microsoft.com/office/drawing/2014/main" id="{46421F2C-80A9-4993-A330-F72A33680620}"/>
              </a:ext>
            </a:extLst>
          </p:cNvPr>
          <p:cNvPicPr>
            <a:picLocks noChangeAspect="1" noChangeArrowheads="1"/>
          </p:cNvPicPr>
          <p:nvPr/>
        </p:nvPicPr>
        <p:blipFill>
          <a:blip r:embed="rId26" cstate="email">
            <a:duotone>
              <a:schemeClr val="bg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473623" y="2466704"/>
            <a:ext cx="475044" cy="212178"/>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6">
            <a:extLst>
              <a:ext uri="{FF2B5EF4-FFF2-40B4-BE49-F238E27FC236}">
                <a16:creationId xmlns:a16="http://schemas.microsoft.com/office/drawing/2014/main" id="{8E43D0E3-532C-4C39-99C9-20721793742D}"/>
              </a:ext>
            </a:extLst>
          </p:cNvPr>
          <p:cNvPicPr>
            <a:picLocks noChangeAspect="1"/>
          </p:cNvPicPr>
          <p:nvPr/>
        </p:nvPicPr>
        <p:blipFill>
          <a:blip r:embed="rId27"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3117583" y="3230769"/>
            <a:ext cx="271228" cy="291643"/>
          </a:xfrm>
          <a:prstGeom prst="rect">
            <a:avLst/>
          </a:prstGeom>
        </p:spPr>
      </p:pic>
      <p:grpSp>
        <p:nvGrpSpPr>
          <p:cNvPr id="30" name="Gruppo 57">
            <a:extLst>
              <a:ext uri="{FF2B5EF4-FFF2-40B4-BE49-F238E27FC236}">
                <a16:creationId xmlns:a16="http://schemas.microsoft.com/office/drawing/2014/main" id="{DE5DFB16-D2CA-496C-BD55-F2D48342B748}"/>
              </a:ext>
            </a:extLst>
          </p:cNvPr>
          <p:cNvGrpSpPr/>
          <p:nvPr/>
        </p:nvGrpSpPr>
        <p:grpSpPr>
          <a:xfrm>
            <a:off x="8076068" y="2412332"/>
            <a:ext cx="529106" cy="366887"/>
            <a:chOff x="6946025" y="2094577"/>
            <a:chExt cx="723806" cy="478077"/>
          </a:xfrm>
        </p:grpSpPr>
        <p:pic>
          <p:nvPicPr>
            <p:cNvPr id="31" name="Grafik 143">
              <a:extLst>
                <a:ext uri="{FF2B5EF4-FFF2-40B4-BE49-F238E27FC236}">
                  <a16:creationId xmlns:a16="http://schemas.microsoft.com/office/drawing/2014/main" id="{C74DA0A2-E42C-419D-A1E6-613AA6E5A8E6}"/>
                </a:ext>
              </a:extLst>
            </p:cNvPr>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6946025" y="2122512"/>
              <a:ext cx="723806" cy="450142"/>
            </a:xfrm>
            <a:prstGeom prst="rect">
              <a:avLst/>
            </a:prstGeom>
          </p:spPr>
        </p:pic>
        <p:sp>
          <p:nvSpPr>
            <p:cNvPr id="32" name="CasellaDiTesto 59">
              <a:extLst>
                <a:ext uri="{FF2B5EF4-FFF2-40B4-BE49-F238E27FC236}">
                  <a16:creationId xmlns:a16="http://schemas.microsoft.com/office/drawing/2014/main" id="{C6BE75B0-EEDD-42DA-8834-701850B9CB36}"/>
                </a:ext>
              </a:extLst>
            </p:cNvPr>
            <p:cNvSpPr txBox="1"/>
            <p:nvPr/>
          </p:nvSpPr>
          <p:spPr>
            <a:xfrm>
              <a:off x="7225224" y="2094577"/>
              <a:ext cx="434106" cy="158833"/>
            </a:xfrm>
            <a:prstGeom prst="rect">
              <a:avLst/>
            </a:prstGeom>
            <a:solidFill>
              <a:sysClr val="window" lastClr="FFFFFF"/>
            </a:solid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1" i="1" u="none" strike="noStrike" kern="0" cap="none" spc="0" normalizeH="0" baseline="0" noProof="0" dirty="0">
                  <a:ln>
                    <a:noFill/>
                  </a:ln>
                  <a:solidFill>
                    <a:srgbClr val="999999"/>
                  </a:solidFill>
                  <a:effectLst/>
                  <a:uLnTx/>
                  <a:uFillTx/>
                  <a:latin typeface="UniCredit"/>
                  <a:cs typeface="Arial" charset="0"/>
                </a:rPr>
                <a:t>DEPLOY</a:t>
              </a:r>
              <a:endParaRPr kumimoji="0" lang="en-US" sz="1400" b="1" i="1" u="none" strike="noStrike" kern="0" cap="none" spc="0" normalizeH="0" baseline="0" noProof="0" dirty="0">
                <a:ln>
                  <a:noFill/>
                </a:ln>
                <a:solidFill>
                  <a:srgbClr val="999999"/>
                </a:solidFill>
                <a:effectLst/>
                <a:uLnTx/>
                <a:uFillTx/>
                <a:latin typeface="UniCredit"/>
                <a:cs typeface="Arial" charset="0"/>
              </a:endParaRPr>
            </a:p>
          </p:txBody>
        </p:sp>
      </p:grpSp>
      <p:pic>
        <p:nvPicPr>
          <p:cNvPr id="33" name="Picture 28" descr="WireMock for Java Developers | Udemy">
            <a:extLst>
              <a:ext uri="{FF2B5EF4-FFF2-40B4-BE49-F238E27FC236}">
                <a16:creationId xmlns:a16="http://schemas.microsoft.com/office/drawing/2014/main" id="{24A9A257-90C9-4533-934C-7A70205C7E26}"/>
              </a:ext>
            </a:extLst>
          </p:cNvPr>
          <p:cNvPicPr>
            <a:picLocks noChangeAspect="1" noChangeArrowheads="1"/>
          </p:cNvPicPr>
          <p:nvPr/>
        </p:nvPicPr>
        <p:blipFill>
          <a:blip r:embed="rId28" cstate="print">
            <a:duotone>
              <a:schemeClr val="bg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6806341" y="2862878"/>
            <a:ext cx="518476" cy="291643"/>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20" descr="Liquibase | Database CI/CD &amp; Automation | Database DevOps">
            <a:extLst>
              <a:ext uri="{FF2B5EF4-FFF2-40B4-BE49-F238E27FC236}">
                <a16:creationId xmlns:a16="http://schemas.microsoft.com/office/drawing/2014/main" id="{98ABEE39-4DFB-4526-B645-77E5F85F754A}"/>
              </a:ext>
            </a:extLst>
          </p:cNvPr>
          <p:cNvPicPr>
            <a:picLocks noChangeAspect="1" noChangeArrowheads="1"/>
          </p:cNvPicPr>
          <p:nvPr/>
        </p:nvPicPr>
        <p:blipFill>
          <a:blip r:embed="rId29"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871008" y="2901167"/>
            <a:ext cx="545935" cy="360000"/>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10" descr="Flyway (software) - Wikipedia">
            <a:extLst>
              <a:ext uri="{FF2B5EF4-FFF2-40B4-BE49-F238E27FC236}">
                <a16:creationId xmlns:a16="http://schemas.microsoft.com/office/drawing/2014/main" id="{C8C05ECE-D2ED-4084-89F3-5DB603C030C3}"/>
              </a:ext>
            </a:extLst>
          </p:cNvPr>
          <p:cNvPicPr>
            <a:picLocks noChangeAspect="1" noChangeArrowheads="1"/>
          </p:cNvPicPr>
          <p:nvPr/>
        </p:nvPicPr>
        <p:blipFill>
          <a:blip r:embed="rId30"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359763" y="2871407"/>
            <a:ext cx="511245" cy="406440"/>
          </a:xfrm>
          <a:prstGeom prst="rect">
            <a:avLst/>
          </a:prstGeom>
          <a:noFill/>
          <a:extLst>
            <a:ext uri="{909E8E84-426E-40DD-AFC4-6F175D3DCCD1}">
              <a14:hiddenFill xmlns:a14="http://schemas.microsoft.com/office/drawing/2010/main">
                <a:solidFill>
                  <a:srgbClr val="FFFFFF"/>
                </a:solidFill>
              </a14:hiddenFill>
            </a:ext>
          </a:extLst>
        </p:spPr>
      </p:pic>
      <p:pic>
        <p:nvPicPr>
          <p:cNvPr id="37894" name="Picture 6" descr="Branding Guidelines (Draft WIP) | OWASP">
            <a:extLst>
              <a:ext uri="{FF2B5EF4-FFF2-40B4-BE49-F238E27FC236}">
                <a16:creationId xmlns:a16="http://schemas.microsoft.com/office/drawing/2014/main" id="{ECA8E031-C4DE-49C3-98F8-336E375E2F06}"/>
              </a:ext>
            </a:extLst>
          </p:cNvPr>
          <p:cNvPicPr>
            <a:picLocks noChangeAspect="1" noChangeArrowheads="1"/>
          </p:cNvPicPr>
          <p:nvPr/>
        </p:nvPicPr>
        <p:blipFill>
          <a:blip r:embed="rId31"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710231" y="2855669"/>
            <a:ext cx="725763" cy="252505"/>
          </a:xfrm>
          <a:prstGeom prst="rect">
            <a:avLst/>
          </a:prstGeom>
          <a:noFill/>
          <a:extLst>
            <a:ext uri="{909E8E84-426E-40DD-AFC4-6F175D3DCCD1}">
              <a14:hiddenFill xmlns:a14="http://schemas.microsoft.com/office/drawing/2010/main">
                <a:solidFill>
                  <a:srgbClr val="FFFFFF"/>
                </a:solidFill>
              </a14:hiddenFill>
            </a:ext>
          </a:extLst>
        </p:spPr>
      </p:pic>
      <p:pic>
        <p:nvPicPr>
          <p:cNvPr id="37896" name="Picture 8">
            <a:extLst>
              <a:ext uri="{FF2B5EF4-FFF2-40B4-BE49-F238E27FC236}">
                <a16:creationId xmlns:a16="http://schemas.microsoft.com/office/drawing/2014/main" id="{B7DD6AF4-1615-4535-807F-237487883906}"/>
              </a:ext>
            </a:extLst>
          </p:cNvPr>
          <p:cNvPicPr>
            <a:picLocks noChangeAspect="1" noChangeArrowheads="1"/>
          </p:cNvPicPr>
          <p:nvPr/>
        </p:nvPicPr>
        <p:blipFill>
          <a:blip r:embed="rId32"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133631" y="2494295"/>
            <a:ext cx="661499" cy="167442"/>
          </a:xfrm>
          <a:prstGeom prst="rect">
            <a:avLst/>
          </a:prstGeom>
          <a:noFill/>
          <a:extLst>
            <a:ext uri="{909E8E84-426E-40DD-AFC4-6F175D3DCCD1}">
              <a14:hiddenFill xmlns:a14="http://schemas.microsoft.com/office/drawing/2010/main">
                <a:solidFill>
                  <a:srgbClr val="FFFFFF"/>
                </a:solidFill>
              </a14:hiddenFill>
            </a:ext>
          </a:extLst>
        </p:spPr>
      </p:pic>
      <p:pic>
        <p:nvPicPr>
          <p:cNvPr id="37898" name="Picture 10" descr="Press Kit | Atlassian">
            <a:extLst>
              <a:ext uri="{FF2B5EF4-FFF2-40B4-BE49-F238E27FC236}">
                <a16:creationId xmlns:a16="http://schemas.microsoft.com/office/drawing/2014/main" id="{9ECAA01F-D03E-4060-B5BB-87503731390E}"/>
              </a:ext>
            </a:extLst>
          </p:cNvPr>
          <p:cNvPicPr>
            <a:picLocks noChangeAspect="1" noChangeArrowheads="1"/>
          </p:cNvPicPr>
          <p:nvPr/>
        </p:nvPicPr>
        <p:blipFill>
          <a:blip r:embed="rId33"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148118" y="2517890"/>
            <a:ext cx="810336" cy="116805"/>
          </a:xfrm>
          <a:prstGeom prst="rect">
            <a:avLst/>
          </a:prstGeom>
          <a:noFill/>
          <a:extLst>
            <a:ext uri="{909E8E84-426E-40DD-AFC4-6F175D3DCCD1}">
              <a14:hiddenFill xmlns:a14="http://schemas.microsoft.com/office/drawing/2010/main">
                <a:solidFill>
                  <a:srgbClr val="FFFFFF"/>
                </a:solidFill>
              </a14:hiddenFill>
            </a:ext>
          </a:extLst>
        </p:spPr>
      </p:pic>
      <p:pic>
        <p:nvPicPr>
          <p:cNvPr id="37903" name="Picture 15" descr="How to install Node.js 7 and NPM 4 on CentOS 6/7, Debian 8 and Ubuntu 16">
            <a:extLst>
              <a:ext uri="{FF2B5EF4-FFF2-40B4-BE49-F238E27FC236}">
                <a16:creationId xmlns:a16="http://schemas.microsoft.com/office/drawing/2014/main" id="{7873FB91-1337-4A7F-8995-6F82AEF761CD}"/>
              </a:ext>
            </a:extLst>
          </p:cNvPr>
          <p:cNvPicPr>
            <a:picLocks noChangeAspect="1" noChangeArrowheads="1"/>
          </p:cNvPicPr>
          <p:nvPr/>
        </p:nvPicPr>
        <p:blipFill>
          <a:blip r:embed="rId34"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992296" y="2803150"/>
            <a:ext cx="926045" cy="360000"/>
          </a:xfrm>
          <a:prstGeom prst="rect">
            <a:avLst/>
          </a:prstGeom>
          <a:noFill/>
          <a:extLst>
            <a:ext uri="{909E8E84-426E-40DD-AFC4-6F175D3DCCD1}">
              <a14:hiddenFill xmlns:a14="http://schemas.microsoft.com/office/drawing/2010/main">
                <a:solidFill>
                  <a:srgbClr val="FFFFFF"/>
                </a:solidFill>
              </a14:hiddenFill>
            </a:ext>
          </a:extLst>
        </p:spPr>
      </p:pic>
      <p:pic>
        <p:nvPicPr>
          <p:cNvPr id="37905" name="Picture 17" descr="PowerMock (Android). Often, in order to write unit tests… | by Gioacchino  Lonardo | Medium">
            <a:extLst>
              <a:ext uri="{FF2B5EF4-FFF2-40B4-BE49-F238E27FC236}">
                <a16:creationId xmlns:a16="http://schemas.microsoft.com/office/drawing/2014/main" id="{D068A2D2-A3E1-43A2-9A0A-99C002C43726}"/>
              </a:ext>
            </a:extLst>
          </p:cNvPr>
          <p:cNvPicPr>
            <a:picLocks noChangeAspect="1" noChangeArrowheads="1"/>
          </p:cNvPicPr>
          <p:nvPr/>
        </p:nvPicPr>
        <p:blipFill>
          <a:blip r:embed="rId35"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024516" y="2835505"/>
            <a:ext cx="493019" cy="2473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5078068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279" name="think-cell Slide" r:id="rId13" imgW="395" imgH="394" progId="TCLayout.ActiveDocument.1">
                  <p:embed/>
                </p:oleObj>
              </mc:Choice>
              <mc:Fallback>
                <p:oleObj name="think-cell Slide" r:id="rId13" imgW="395" imgH="394" progId="TCLayout.ActiveDocument.1">
                  <p:embed/>
                  <p:pic>
                    <p:nvPicPr>
                      <p:cNvPr id="7" name="Object 6" hidden="1"/>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62" name="Rectangle 6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UniCredit" panose="02000506040000020004" pitchFamily="2" charset="0"/>
              <a:ea typeface="+mj-ea"/>
              <a:cs typeface="Arial" panose="020B0604020202020204" pitchFamily="34" charset="0"/>
              <a:sym typeface="UniCredit" panose="02000506040000020004" pitchFamily="2" charset="0"/>
            </a:endParaRPr>
          </a:p>
        </p:txBody>
      </p:sp>
      <p:sp>
        <p:nvSpPr>
          <p:cNvPr id="64" name="Rechteck 28">
            <a:extLst>
              <a:ext uri="{FF2B5EF4-FFF2-40B4-BE49-F238E27FC236}">
                <a16:creationId xmlns:a16="http://schemas.microsoft.com/office/drawing/2014/main" id="{FDED6618-0692-4A1F-9B91-99F14F4A7759}"/>
              </a:ext>
            </a:extLst>
          </p:cNvPr>
          <p:cNvSpPr/>
          <p:nvPr>
            <p:custDataLst>
              <p:tags r:id="rId4"/>
            </p:custDataLst>
          </p:nvPr>
        </p:nvSpPr>
        <p:spPr bwMode="gray">
          <a:xfrm>
            <a:off x="3371176" y="2669064"/>
            <a:ext cx="1126343" cy="205629"/>
          </a:xfrm>
          <a:prstGeom prst="rect">
            <a:avLst/>
          </a:prstGeom>
          <a:solidFill>
            <a:schemeClr val="bg1">
              <a:lumMod val="95000"/>
            </a:schemeClr>
          </a:solidFill>
          <a:ln w="19050">
            <a:solidFill>
              <a:schemeClr val="bg1">
                <a:lumMod val="95000"/>
              </a:schemeClr>
            </a:solidFill>
            <a:miter lim="800000"/>
          </a:ln>
          <a:effectLst/>
        </p:spPr>
        <p:txBody>
          <a:bodyPr wrap="square" lIns="36000" tIns="36000" rIns="0" bIns="0" numCol="1" spcCol="72000" rtlCol="0" anchor="t" anchorCtr="0">
            <a:spAutoFit/>
          </a:bodyPr>
          <a:lstStyle/>
          <a:p>
            <a:pPr marL="171450" indent="-171450" defTabSz="685800" eaLnBrk="1" fontAlgn="auto" hangingPunct="1">
              <a:spcBef>
                <a:spcPts val="200"/>
              </a:spcBef>
              <a:spcAft>
                <a:spcPts val="0"/>
              </a:spcAft>
              <a:buFont typeface="Arial" panose="020B0604020202020204" pitchFamily="34" charset="0"/>
              <a:buChar char="•"/>
              <a:tabLst>
                <a:tab pos="941314" algn="r"/>
              </a:tabLst>
              <a:defRPr/>
            </a:pPr>
            <a:r>
              <a:rPr lang="en-US" altLang="de-DE" sz="1100" dirty="0">
                <a:latin typeface="+mj-lt"/>
                <a:ea typeface="Arial Unicode MS"/>
              </a:rPr>
              <a:t>UB1 onboarding</a:t>
            </a:r>
          </a:p>
        </p:txBody>
      </p:sp>
      <p:sp>
        <p:nvSpPr>
          <p:cNvPr id="54" name="Rechteck 28">
            <a:extLst>
              <a:ext uri="{FF2B5EF4-FFF2-40B4-BE49-F238E27FC236}">
                <a16:creationId xmlns:a16="http://schemas.microsoft.com/office/drawing/2014/main" id="{0A906E72-C338-481E-B5B6-3781424302CC}"/>
              </a:ext>
            </a:extLst>
          </p:cNvPr>
          <p:cNvSpPr/>
          <p:nvPr>
            <p:custDataLst>
              <p:tags r:id="rId5"/>
            </p:custDataLst>
          </p:nvPr>
        </p:nvSpPr>
        <p:spPr bwMode="gray">
          <a:xfrm>
            <a:off x="3367186" y="1903484"/>
            <a:ext cx="1284750" cy="400554"/>
          </a:xfrm>
          <a:prstGeom prst="rect">
            <a:avLst/>
          </a:prstGeom>
          <a:solidFill>
            <a:schemeClr val="bg1">
              <a:lumMod val="95000"/>
            </a:schemeClr>
          </a:solidFill>
          <a:ln w="19050">
            <a:solidFill>
              <a:schemeClr val="bg1">
                <a:lumMod val="95000"/>
              </a:schemeClr>
            </a:solidFill>
            <a:miter lim="800000"/>
          </a:ln>
          <a:effectLst/>
        </p:spPr>
        <p:txBody>
          <a:bodyPr wrap="square" lIns="36000" tIns="36000" rIns="0" bIns="0" numCol="1" spcCol="72000" rtlCol="0" anchor="t" anchorCtr="0">
            <a:spAutoFit/>
          </a:bodyPr>
          <a:lstStyle/>
          <a:p>
            <a:pPr marL="171450" indent="-171450">
              <a:spcBef>
                <a:spcPts val="200"/>
              </a:spcBef>
              <a:buFont typeface="Arial" panose="020B0604020202020204" pitchFamily="34" charset="0"/>
              <a:buChar char="•"/>
              <a:tabLst>
                <a:tab pos="941314" algn="r"/>
              </a:tabLst>
            </a:pPr>
            <a:r>
              <a:rPr lang="en-US" altLang="de-DE" sz="1100" dirty="0"/>
              <a:t>DevOps env. Setup</a:t>
            </a:r>
          </a:p>
          <a:p>
            <a:pPr marL="171450" indent="-171450">
              <a:spcBef>
                <a:spcPts val="200"/>
              </a:spcBef>
              <a:buFont typeface="Arial" panose="020B0604020202020204" pitchFamily="34" charset="0"/>
              <a:buChar char="•"/>
              <a:tabLst>
                <a:tab pos="941314" algn="r"/>
              </a:tabLst>
            </a:pPr>
            <a:r>
              <a:rPr lang="en-US" altLang="de-DE" sz="1100" dirty="0"/>
              <a:t>UB5 onboarding</a:t>
            </a:r>
          </a:p>
        </p:txBody>
      </p:sp>
      <p:sp>
        <p:nvSpPr>
          <p:cNvPr id="39" name="Freeform 38"/>
          <p:cNvSpPr/>
          <p:nvPr/>
        </p:nvSpPr>
        <p:spPr>
          <a:xfrm>
            <a:off x="3795966" y="1814930"/>
            <a:ext cx="5092040" cy="2051198"/>
          </a:xfrm>
          <a:custGeom>
            <a:avLst/>
            <a:gdLst>
              <a:gd name="connsiteX0" fmla="*/ 0 w 8248851"/>
              <a:gd name="connsiteY0" fmla="*/ 0 h 2445088"/>
              <a:gd name="connsiteX1" fmla="*/ 2030931 w 8248851"/>
              <a:gd name="connsiteY1" fmla="*/ 221382 h 2445088"/>
              <a:gd name="connsiteX2" fmla="*/ 1087655 w 8248851"/>
              <a:gd name="connsiteY2" fmla="*/ 779647 h 2445088"/>
              <a:gd name="connsiteX3" fmla="*/ 3676851 w 8248851"/>
              <a:gd name="connsiteY3" fmla="*/ 558266 h 2445088"/>
              <a:gd name="connsiteX4" fmla="*/ 3147461 w 8248851"/>
              <a:gd name="connsiteY4" fmla="*/ 2387066 h 2445088"/>
              <a:gd name="connsiteX5" fmla="*/ 5852160 w 8248851"/>
              <a:gd name="connsiteY5" fmla="*/ 2021306 h 2445088"/>
              <a:gd name="connsiteX6" fmla="*/ 8248851 w 8248851"/>
              <a:gd name="connsiteY6" fmla="*/ 2348565 h 2445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48851" h="2445088">
                <a:moveTo>
                  <a:pt x="0" y="0"/>
                </a:moveTo>
                <a:cubicBezTo>
                  <a:pt x="924827" y="45720"/>
                  <a:pt x="1849655" y="91441"/>
                  <a:pt x="2030931" y="221382"/>
                </a:cubicBezTo>
                <a:cubicBezTo>
                  <a:pt x="2212207" y="351323"/>
                  <a:pt x="813335" y="723500"/>
                  <a:pt x="1087655" y="779647"/>
                </a:cubicBezTo>
                <a:cubicBezTo>
                  <a:pt x="1361975" y="835794"/>
                  <a:pt x="3333550" y="290363"/>
                  <a:pt x="3676851" y="558266"/>
                </a:cubicBezTo>
                <a:cubicBezTo>
                  <a:pt x="4020152" y="826169"/>
                  <a:pt x="2784910" y="2143226"/>
                  <a:pt x="3147461" y="2387066"/>
                </a:cubicBezTo>
                <a:cubicBezTo>
                  <a:pt x="3510013" y="2630906"/>
                  <a:pt x="5001928" y="2027723"/>
                  <a:pt x="5852160" y="2021306"/>
                </a:cubicBezTo>
                <a:cubicBezTo>
                  <a:pt x="6702392" y="2014889"/>
                  <a:pt x="7475621" y="2181727"/>
                  <a:pt x="8248851" y="2348565"/>
                </a:cubicBezTo>
              </a:path>
            </a:pathLst>
          </a:custGeom>
          <a:noFill/>
          <a:ln w="76200">
            <a:solidFill>
              <a:schemeClr val="bg1">
                <a:lumMod val="85000"/>
              </a:schemeClr>
            </a:solidFill>
            <a:tailEnd type="stealt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Slide Number Placeholder 3"/>
          <p:cNvSpPr>
            <a:spLocks noGrp="1"/>
          </p:cNvSpPr>
          <p:nvPr>
            <p:ph type="sldNum" sz="quarter" idx="11"/>
          </p:nvPr>
        </p:nvSpPr>
        <p:spPr/>
        <p:txBody>
          <a:bodyPr/>
          <a:lstStyle/>
          <a:p>
            <a:fld id="{9E8169F0-646E-455B-AF5A-6D6C02EAEAF6}" type="slidenum">
              <a:rPr lang="en-US" noProof="1" smtClean="0"/>
              <a:t>39</a:t>
            </a:fld>
            <a:endParaRPr lang="en-US" noProof="1"/>
          </a:p>
        </p:txBody>
      </p:sp>
      <p:sp>
        <p:nvSpPr>
          <p:cNvPr id="9" name="Speech Bubble: Rectangle 7">
            <a:extLst>
              <a:ext uri="{FF2B5EF4-FFF2-40B4-BE49-F238E27FC236}">
                <a16:creationId xmlns:a16="http://schemas.microsoft.com/office/drawing/2014/main" id="{FC0AE853-B231-4D8B-99ED-2CF5823787EB}"/>
              </a:ext>
            </a:extLst>
          </p:cNvPr>
          <p:cNvSpPr/>
          <p:nvPr/>
        </p:nvSpPr>
        <p:spPr>
          <a:xfrm>
            <a:off x="250825" y="950913"/>
            <a:ext cx="3004355" cy="326579"/>
          </a:xfrm>
          <a:prstGeom prst="round2DiagRect">
            <a:avLst/>
          </a:prstGeom>
          <a:gradFill flip="none" rotWithShape="1">
            <a:gsLst>
              <a:gs pos="1000">
                <a:schemeClr val="accent2"/>
              </a:gs>
              <a:gs pos="26000">
                <a:schemeClr val="accent1"/>
              </a:gs>
            </a:gsLst>
            <a:lin ang="0" scaled="1"/>
            <a:tileRect/>
          </a:gradFill>
          <a:ln w="25400" cap="flat" cmpd="sng" algn="ctr">
            <a:noFill/>
            <a:prstDash val="solid"/>
          </a:ln>
          <a:effectLst/>
        </p:spPr>
        <p:txBody>
          <a:bodyPr anchor="ctr"/>
          <a:lstStyle/>
          <a:p>
            <a:pPr algn="ctr"/>
            <a:r>
              <a:rPr lang="en-US" b="1" kern="0" dirty="0">
                <a:solidFill>
                  <a:schemeClr val="bg1"/>
                </a:solidFill>
              </a:rPr>
              <a:t>Next goals</a:t>
            </a:r>
          </a:p>
        </p:txBody>
      </p:sp>
      <p:sp>
        <p:nvSpPr>
          <p:cNvPr id="34" name="Round Diagonal Corner Rectangle 33"/>
          <p:cNvSpPr/>
          <p:nvPr/>
        </p:nvSpPr>
        <p:spPr>
          <a:xfrm>
            <a:off x="3367343" y="950913"/>
            <a:ext cx="5523436" cy="323175"/>
          </a:xfrm>
          <a:prstGeom prst="round2DiagRect">
            <a:avLst>
              <a:gd name="adj1" fmla="val 23605"/>
              <a:gd name="adj2"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b="1" dirty="0">
                <a:solidFill>
                  <a:schemeClr val="tx1"/>
                </a:solidFill>
              </a:rPr>
              <a:t>DevOps adoption on Credit Origination ICT assets</a:t>
            </a:r>
          </a:p>
        </p:txBody>
      </p:sp>
      <p:sp>
        <p:nvSpPr>
          <p:cNvPr id="37" name="Arc 36"/>
          <p:cNvSpPr/>
          <p:nvPr/>
        </p:nvSpPr>
        <p:spPr>
          <a:xfrm rot="12531563">
            <a:off x="3672702" y="1452280"/>
            <a:ext cx="798217" cy="315607"/>
          </a:xfrm>
          <a:prstGeom prst="arc">
            <a:avLst>
              <a:gd name="adj1" fmla="val 16200000"/>
              <a:gd name="adj2" fmla="val 21047230"/>
            </a:avLst>
          </a:prstGeom>
          <a:noFill/>
          <a:ln w="76200">
            <a:solidFill>
              <a:schemeClr val="bg1">
                <a:lumMod val="85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lt1"/>
              </a:solidFill>
            </a:endParaRPr>
          </a:p>
        </p:txBody>
      </p:sp>
      <p:sp>
        <p:nvSpPr>
          <p:cNvPr id="40" name="Rettangolo con angoli arrotondati in diagonale 102"/>
          <p:cNvSpPr/>
          <p:nvPr/>
        </p:nvSpPr>
        <p:spPr>
          <a:xfrm>
            <a:off x="3795966" y="1696813"/>
            <a:ext cx="712536" cy="212925"/>
          </a:xfrm>
          <a:prstGeom prst="rect">
            <a:avLst/>
          </a:prstGeom>
          <a:solidFill>
            <a:srgbClr val="E2001A"/>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nchorCtr="0"/>
          <a:lstStyle/>
          <a:p>
            <a:r>
              <a:rPr lang="en-US" altLang="de-DE" sz="1100" b="1" dirty="0">
                <a:ea typeface="Arial Unicode MS"/>
              </a:rPr>
              <a:t>Q2-2020</a:t>
            </a:r>
            <a:endParaRPr lang="en-US" altLang="de-DE" sz="1100" dirty="0">
              <a:ea typeface="Arial Unicode MS"/>
            </a:endParaRPr>
          </a:p>
        </p:txBody>
      </p:sp>
      <p:sp>
        <p:nvSpPr>
          <p:cNvPr id="41" name="Oval 40"/>
          <p:cNvSpPr/>
          <p:nvPr/>
        </p:nvSpPr>
        <p:spPr>
          <a:xfrm>
            <a:off x="4456463" y="1691658"/>
            <a:ext cx="223532" cy="223532"/>
          </a:xfrm>
          <a:prstGeom prst="ellipse">
            <a:avLst/>
          </a:prstGeom>
          <a:solidFill>
            <a:srgbClr val="FFFFFF"/>
          </a:solidFill>
          <a:ln w="57150">
            <a:solidFill>
              <a:srgbClr val="E2001A"/>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600" b="1" dirty="0">
              <a:solidFill>
                <a:schemeClr val="accent1"/>
              </a:solidFill>
            </a:endParaRPr>
          </a:p>
        </p:txBody>
      </p:sp>
      <p:sp>
        <p:nvSpPr>
          <p:cNvPr id="44" name="Rettangolo con angoli arrotondati in diagonale 102"/>
          <p:cNvSpPr/>
          <p:nvPr/>
        </p:nvSpPr>
        <p:spPr>
          <a:xfrm>
            <a:off x="3646102" y="2451110"/>
            <a:ext cx="754996" cy="212925"/>
          </a:xfrm>
          <a:prstGeom prst="rect">
            <a:avLst/>
          </a:prstGeom>
          <a:solidFill>
            <a:srgbClr val="E2001A"/>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nchorCtr="0"/>
          <a:lstStyle/>
          <a:p>
            <a:r>
              <a:rPr lang="en-US" sz="1200" b="1" dirty="0">
                <a:solidFill>
                  <a:schemeClr val="bg1"/>
                </a:solidFill>
              </a:rPr>
              <a:t>Q4-2020</a:t>
            </a:r>
          </a:p>
        </p:txBody>
      </p:sp>
      <p:sp>
        <p:nvSpPr>
          <p:cNvPr id="45" name="Oval 44"/>
          <p:cNvSpPr/>
          <p:nvPr/>
        </p:nvSpPr>
        <p:spPr>
          <a:xfrm>
            <a:off x="4293895" y="2440503"/>
            <a:ext cx="223532" cy="223532"/>
          </a:xfrm>
          <a:prstGeom prst="ellipse">
            <a:avLst/>
          </a:prstGeom>
          <a:solidFill>
            <a:srgbClr val="FFFFFF"/>
          </a:solidFill>
          <a:ln w="57150">
            <a:solidFill>
              <a:srgbClr val="E2001A"/>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600" b="1" dirty="0">
              <a:solidFill>
                <a:schemeClr val="accent1"/>
              </a:solidFill>
            </a:endParaRPr>
          </a:p>
        </p:txBody>
      </p:sp>
      <p:sp>
        <p:nvSpPr>
          <p:cNvPr id="52" name="Rettangolo con angoli arrotondati in diagonale 102"/>
          <p:cNvSpPr/>
          <p:nvPr/>
        </p:nvSpPr>
        <p:spPr>
          <a:xfrm>
            <a:off x="5046779" y="1842036"/>
            <a:ext cx="664193" cy="212925"/>
          </a:xfrm>
          <a:prstGeom prst="rect">
            <a:avLst/>
          </a:prstGeom>
          <a:solidFill>
            <a:srgbClr val="E2001A"/>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nchorCtr="0"/>
          <a:lstStyle/>
          <a:p>
            <a:pPr algn="r"/>
            <a:r>
              <a:rPr lang="en-US" altLang="de-DE" sz="1200" b="1" dirty="0">
                <a:ea typeface="Arial Unicode MS"/>
              </a:rPr>
              <a:t>Q3-2020</a:t>
            </a:r>
            <a:endParaRPr lang="en-US" altLang="de-DE" sz="1200" dirty="0">
              <a:ea typeface="Arial Unicode MS"/>
            </a:endParaRPr>
          </a:p>
        </p:txBody>
      </p:sp>
      <p:sp>
        <p:nvSpPr>
          <p:cNvPr id="61" name="Title 5"/>
          <p:cNvSpPr>
            <a:spLocks noGrp="1"/>
          </p:cNvSpPr>
          <p:nvPr>
            <p:ph type="title"/>
          </p:nvPr>
        </p:nvSpPr>
        <p:spPr>
          <a:xfrm>
            <a:off x="270000" y="0"/>
            <a:ext cx="8874000" cy="702000"/>
          </a:xfrm>
        </p:spPr>
        <p:txBody>
          <a:bodyPr vert="horz" lIns="0" tIns="0" rIns="0" bIns="0" rtlCol="0" anchor="ctr">
            <a:noAutofit/>
          </a:bodyPr>
          <a:lstStyle/>
          <a:p>
            <a:r>
              <a:rPr lang="en-US" dirty="0"/>
              <a:t>What’s next…</a:t>
            </a:r>
          </a:p>
        </p:txBody>
      </p:sp>
      <p:cxnSp>
        <p:nvCxnSpPr>
          <p:cNvPr id="67" name="Straight Connector 66"/>
          <p:cNvCxnSpPr/>
          <p:nvPr/>
        </p:nvCxnSpPr>
        <p:spPr>
          <a:xfrm flipH="1">
            <a:off x="3239681" y="1068528"/>
            <a:ext cx="0" cy="3330281"/>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pic>
        <p:nvPicPr>
          <p:cNvPr id="57" name="Immagine 133" descr="Sustainability circle-01.png"/>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95068" y="889846"/>
            <a:ext cx="439200" cy="439200"/>
          </a:xfrm>
          <a:prstGeom prst="ellipse">
            <a:avLst/>
          </a:prstGeom>
          <a:solidFill>
            <a:srgbClr val="E2001A"/>
          </a:solidFill>
          <a:ln w="19050">
            <a:solidFill>
              <a:schemeClr val="bg1"/>
            </a:solidFill>
          </a:ln>
        </p:spPr>
      </p:pic>
      <p:sp>
        <p:nvSpPr>
          <p:cNvPr id="63" name="Rechteck 28">
            <a:extLst>
              <a:ext uri="{FF2B5EF4-FFF2-40B4-BE49-F238E27FC236}">
                <a16:creationId xmlns:a16="http://schemas.microsoft.com/office/drawing/2014/main" id="{42DF5C1C-F972-452A-848B-91855FFFAE6C}"/>
              </a:ext>
            </a:extLst>
          </p:cNvPr>
          <p:cNvSpPr/>
          <p:nvPr>
            <p:custDataLst>
              <p:tags r:id="rId6"/>
            </p:custDataLst>
          </p:nvPr>
        </p:nvSpPr>
        <p:spPr bwMode="gray">
          <a:xfrm>
            <a:off x="5044370" y="2062049"/>
            <a:ext cx="1152398" cy="205629"/>
          </a:xfrm>
          <a:prstGeom prst="rect">
            <a:avLst/>
          </a:prstGeom>
          <a:solidFill>
            <a:schemeClr val="bg1">
              <a:lumMod val="95000"/>
            </a:schemeClr>
          </a:solidFill>
          <a:ln w="19050">
            <a:solidFill>
              <a:schemeClr val="bg1">
                <a:lumMod val="95000"/>
              </a:schemeClr>
            </a:solidFill>
            <a:miter lim="800000"/>
          </a:ln>
          <a:effectLst/>
        </p:spPr>
        <p:txBody>
          <a:bodyPr wrap="square" lIns="36000" tIns="36000" rIns="0" bIns="0" numCol="1" spcCol="72000" rtlCol="0" anchor="t" anchorCtr="0">
            <a:spAutoFit/>
          </a:bodyPr>
          <a:lstStyle/>
          <a:p>
            <a:pPr marL="171450" indent="-171450">
              <a:spcBef>
                <a:spcPts val="200"/>
              </a:spcBef>
              <a:buFont typeface="Arial" panose="020B0604020202020204" pitchFamily="34" charset="0"/>
              <a:buChar char="•"/>
              <a:tabLst>
                <a:tab pos="941314" algn="r"/>
              </a:tabLst>
              <a:defRPr/>
            </a:pPr>
            <a:r>
              <a:rPr lang="en-US" sz="1100" dirty="0"/>
              <a:t>UB4 onboarding</a:t>
            </a:r>
            <a:endParaRPr lang="en-US" altLang="de-DE" sz="1100" dirty="0">
              <a:latin typeface="+mj-lt"/>
              <a:ea typeface="Arial Unicode MS"/>
            </a:endParaRPr>
          </a:p>
        </p:txBody>
      </p:sp>
      <p:sp>
        <p:nvSpPr>
          <p:cNvPr id="53" name="Oval 52"/>
          <p:cNvSpPr/>
          <p:nvPr/>
        </p:nvSpPr>
        <p:spPr>
          <a:xfrm>
            <a:off x="4850134" y="1839965"/>
            <a:ext cx="223532" cy="223532"/>
          </a:xfrm>
          <a:prstGeom prst="ellipse">
            <a:avLst/>
          </a:prstGeom>
          <a:solidFill>
            <a:srgbClr val="FFFFFF"/>
          </a:solidFill>
          <a:ln w="57150">
            <a:solidFill>
              <a:srgbClr val="E2001A"/>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600" b="1" dirty="0">
              <a:solidFill>
                <a:schemeClr val="accent1"/>
              </a:solidFill>
            </a:endParaRPr>
          </a:p>
        </p:txBody>
      </p:sp>
      <p:sp>
        <p:nvSpPr>
          <p:cNvPr id="65" name="Rechteck 28">
            <a:extLst>
              <a:ext uri="{FF2B5EF4-FFF2-40B4-BE49-F238E27FC236}">
                <a16:creationId xmlns:a16="http://schemas.microsoft.com/office/drawing/2014/main" id="{37EE922C-8E4B-4DC0-9C4D-532E7F2B96E8}"/>
              </a:ext>
            </a:extLst>
          </p:cNvPr>
          <p:cNvSpPr/>
          <p:nvPr>
            <p:custDataLst>
              <p:tags r:id="rId7"/>
            </p:custDataLst>
          </p:nvPr>
        </p:nvSpPr>
        <p:spPr bwMode="gray">
          <a:xfrm>
            <a:off x="5973236" y="2616381"/>
            <a:ext cx="1809689" cy="205629"/>
          </a:xfrm>
          <a:prstGeom prst="rect">
            <a:avLst/>
          </a:prstGeom>
          <a:solidFill>
            <a:schemeClr val="bg1">
              <a:lumMod val="95000"/>
            </a:schemeClr>
          </a:solidFill>
          <a:ln w="19050">
            <a:solidFill>
              <a:schemeClr val="bg1">
                <a:lumMod val="95000"/>
              </a:schemeClr>
            </a:solidFill>
            <a:miter lim="800000"/>
          </a:ln>
          <a:effectLst/>
        </p:spPr>
        <p:txBody>
          <a:bodyPr wrap="square" lIns="36000" tIns="36000" rIns="0" bIns="0" numCol="1" spcCol="72000" rtlCol="0" anchor="t" anchorCtr="0">
            <a:spAutoFit/>
          </a:bodyPr>
          <a:lstStyle/>
          <a:p>
            <a:pPr marL="171450" indent="-171450">
              <a:spcBef>
                <a:spcPts val="200"/>
              </a:spcBef>
              <a:buFont typeface="Arial" panose="020B0604020202020204" pitchFamily="34" charset="0"/>
              <a:buChar char="•"/>
              <a:tabLst>
                <a:tab pos="941314" algn="r"/>
              </a:tabLst>
              <a:defRPr/>
            </a:pPr>
            <a:r>
              <a:rPr lang="en-US" sz="1100" dirty="0"/>
              <a:t>UR4-UR3-UM1 onboarding</a:t>
            </a:r>
          </a:p>
        </p:txBody>
      </p:sp>
      <p:sp>
        <p:nvSpPr>
          <p:cNvPr id="66" name="Rettangolo con angoli arrotondati in diagonale 102">
            <a:extLst>
              <a:ext uri="{FF2B5EF4-FFF2-40B4-BE49-F238E27FC236}">
                <a16:creationId xmlns:a16="http://schemas.microsoft.com/office/drawing/2014/main" id="{37A26219-E19D-4DC9-A90F-C8A345E00FE5}"/>
              </a:ext>
            </a:extLst>
          </p:cNvPr>
          <p:cNvSpPr/>
          <p:nvPr/>
        </p:nvSpPr>
        <p:spPr>
          <a:xfrm>
            <a:off x="6112932" y="2414962"/>
            <a:ext cx="800101" cy="212925"/>
          </a:xfrm>
          <a:prstGeom prst="rect">
            <a:avLst/>
          </a:prstGeom>
          <a:solidFill>
            <a:srgbClr val="00AFD0"/>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nchorCtr="0"/>
          <a:lstStyle/>
          <a:p>
            <a:pPr algn="r"/>
            <a:r>
              <a:rPr lang="en-US" sz="1200" b="1" dirty="0">
                <a:solidFill>
                  <a:schemeClr val="bg1"/>
                </a:solidFill>
              </a:rPr>
              <a:t>H1-2021 </a:t>
            </a:r>
          </a:p>
        </p:txBody>
      </p:sp>
      <p:sp>
        <p:nvSpPr>
          <p:cNvPr id="77" name="Oval 76">
            <a:extLst>
              <a:ext uri="{FF2B5EF4-FFF2-40B4-BE49-F238E27FC236}">
                <a16:creationId xmlns:a16="http://schemas.microsoft.com/office/drawing/2014/main" id="{32DC90B9-54EB-4154-9AFB-12FEB6FFE5CC}"/>
              </a:ext>
            </a:extLst>
          </p:cNvPr>
          <p:cNvSpPr/>
          <p:nvPr/>
        </p:nvSpPr>
        <p:spPr>
          <a:xfrm>
            <a:off x="5973236" y="2410234"/>
            <a:ext cx="223532" cy="223532"/>
          </a:xfrm>
          <a:prstGeom prst="ellipse">
            <a:avLst/>
          </a:prstGeom>
          <a:solidFill>
            <a:srgbClr val="FFFFFF"/>
          </a:solid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600" b="1" dirty="0">
              <a:solidFill>
                <a:schemeClr val="accent1"/>
              </a:solidFill>
            </a:endParaRPr>
          </a:p>
        </p:txBody>
      </p:sp>
      <p:sp>
        <p:nvSpPr>
          <p:cNvPr id="78" name="Rechteck 28">
            <a:extLst>
              <a:ext uri="{FF2B5EF4-FFF2-40B4-BE49-F238E27FC236}">
                <a16:creationId xmlns:a16="http://schemas.microsoft.com/office/drawing/2014/main" id="{57FF1FDD-CD7F-4C71-9CA6-7775A65AD5E8}"/>
              </a:ext>
            </a:extLst>
          </p:cNvPr>
          <p:cNvSpPr/>
          <p:nvPr>
            <p:custDataLst>
              <p:tags r:id="rId8"/>
            </p:custDataLst>
          </p:nvPr>
        </p:nvSpPr>
        <p:spPr bwMode="gray">
          <a:xfrm>
            <a:off x="3957410" y="3897972"/>
            <a:ext cx="1663303" cy="205629"/>
          </a:xfrm>
          <a:prstGeom prst="rect">
            <a:avLst/>
          </a:prstGeom>
          <a:solidFill>
            <a:schemeClr val="bg1">
              <a:lumMod val="95000"/>
            </a:schemeClr>
          </a:solidFill>
          <a:ln w="19050">
            <a:solidFill>
              <a:schemeClr val="bg1">
                <a:lumMod val="95000"/>
              </a:schemeClr>
            </a:solidFill>
            <a:miter lim="800000"/>
          </a:ln>
          <a:effectLst/>
        </p:spPr>
        <p:txBody>
          <a:bodyPr wrap="square" lIns="36000" tIns="36000" rIns="0" bIns="0" numCol="1" spcCol="72000" rtlCol="0" anchor="t" anchorCtr="0">
            <a:spAutoFit/>
          </a:bodyPr>
          <a:lstStyle/>
          <a:p>
            <a:pPr marL="171450" indent="-171450">
              <a:spcBef>
                <a:spcPts val="200"/>
              </a:spcBef>
              <a:buFont typeface="Arial" panose="020B0604020202020204" pitchFamily="34" charset="0"/>
              <a:buChar char="•"/>
              <a:tabLst>
                <a:tab pos="941314" algn="r"/>
              </a:tabLst>
              <a:defRPr/>
            </a:pPr>
            <a:r>
              <a:rPr lang="en-US" sz="1100" dirty="0"/>
              <a:t>UB2-UB3-UB6 onboarding</a:t>
            </a:r>
          </a:p>
        </p:txBody>
      </p:sp>
      <p:sp>
        <p:nvSpPr>
          <p:cNvPr id="81" name="Rechteck 28">
            <a:extLst>
              <a:ext uri="{FF2B5EF4-FFF2-40B4-BE49-F238E27FC236}">
                <a16:creationId xmlns:a16="http://schemas.microsoft.com/office/drawing/2014/main" id="{DA6E1330-64BD-4C38-A5C0-D232DABC0A90}"/>
              </a:ext>
            </a:extLst>
          </p:cNvPr>
          <p:cNvSpPr/>
          <p:nvPr>
            <p:custDataLst>
              <p:tags r:id="rId9"/>
            </p:custDataLst>
          </p:nvPr>
        </p:nvSpPr>
        <p:spPr bwMode="gray">
          <a:xfrm>
            <a:off x="7272334" y="3664774"/>
            <a:ext cx="1109666" cy="374906"/>
          </a:xfrm>
          <a:prstGeom prst="rect">
            <a:avLst/>
          </a:prstGeom>
          <a:solidFill>
            <a:schemeClr val="bg1">
              <a:lumMod val="95000"/>
            </a:schemeClr>
          </a:solidFill>
          <a:ln w="19050">
            <a:solidFill>
              <a:schemeClr val="bg1">
                <a:lumMod val="95000"/>
              </a:schemeClr>
            </a:solidFill>
            <a:miter lim="800000"/>
          </a:ln>
          <a:effectLst/>
        </p:spPr>
        <p:txBody>
          <a:bodyPr wrap="square" lIns="36000" tIns="36000" rIns="0" bIns="0" numCol="1" spcCol="72000" rtlCol="0" anchor="t" anchorCtr="0">
            <a:spAutoFit/>
          </a:bodyPr>
          <a:lstStyle/>
          <a:p>
            <a:pPr marL="171450" indent="-171450">
              <a:buFont typeface="Arial" panose="020B0604020202020204" pitchFamily="34" charset="0"/>
              <a:buChar char="•"/>
            </a:pPr>
            <a:r>
              <a:rPr lang="en-US" sz="1100" dirty="0"/>
              <a:t>UM3-UR1-URK onboarding</a:t>
            </a:r>
          </a:p>
        </p:txBody>
      </p:sp>
      <p:sp>
        <p:nvSpPr>
          <p:cNvPr id="98" name="Rechteck 28">
            <a:extLst>
              <a:ext uri="{FF2B5EF4-FFF2-40B4-BE49-F238E27FC236}">
                <a16:creationId xmlns:a16="http://schemas.microsoft.com/office/drawing/2014/main" id="{D841765F-4288-4E46-8C94-C4BB985B95BD}"/>
              </a:ext>
            </a:extLst>
          </p:cNvPr>
          <p:cNvSpPr/>
          <p:nvPr>
            <p:custDataLst>
              <p:tags r:id="rId10"/>
            </p:custDataLst>
          </p:nvPr>
        </p:nvSpPr>
        <p:spPr bwMode="gray">
          <a:xfrm>
            <a:off x="4841670" y="3126212"/>
            <a:ext cx="1809689" cy="374906"/>
          </a:xfrm>
          <a:prstGeom prst="rect">
            <a:avLst/>
          </a:prstGeom>
          <a:solidFill>
            <a:schemeClr val="bg1">
              <a:lumMod val="95000"/>
            </a:schemeClr>
          </a:solidFill>
          <a:ln w="19050">
            <a:solidFill>
              <a:schemeClr val="bg1">
                <a:lumMod val="95000"/>
              </a:schemeClr>
            </a:solidFill>
            <a:miter lim="800000"/>
          </a:ln>
          <a:effectLst/>
        </p:spPr>
        <p:txBody>
          <a:bodyPr wrap="square" lIns="36000" tIns="36000" rIns="0" bIns="0" numCol="1" spcCol="72000" rtlCol="0" anchor="t" anchorCtr="0">
            <a:spAutoFit/>
          </a:bodyPr>
          <a:lstStyle/>
          <a:p>
            <a:pPr marL="171450" indent="-171450">
              <a:spcBef>
                <a:spcPts val="200"/>
              </a:spcBef>
              <a:buFont typeface="Arial" panose="020B0604020202020204" pitchFamily="34" charset="0"/>
              <a:buChar char="•"/>
              <a:tabLst>
                <a:tab pos="941314" algn="r"/>
              </a:tabLst>
            </a:pPr>
            <a:r>
              <a:rPr lang="en-US" sz="1100" dirty="0"/>
              <a:t>New Applications </a:t>
            </a:r>
            <a:r>
              <a:rPr lang="en-US" altLang="de-DE" sz="1100" dirty="0"/>
              <a:t>DevOps Native</a:t>
            </a:r>
          </a:p>
        </p:txBody>
      </p:sp>
      <p:sp>
        <p:nvSpPr>
          <p:cNvPr id="59" name="Rectangle 58">
            <a:extLst>
              <a:ext uri="{FF2B5EF4-FFF2-40B4-BE49-F238E27FC236}">
                <a16:creationId xmlns:a16="http://schemas.microsoft.com/office/drawing/2014/main" id="{A9D31EC2-8CE3-4ED5-AEBF-E590E99FB8A3}"/>
              </a:ext>
            </a:extLst>
          </p:cNvPr>
          <p:cNvSpPr/>
          <p:nvPr/>
        </p:nvSpPr>
        <p:spPr>
          <a:xfrm>
            <a:off x="6501847" y="4513918"/>
            <a:ext cx="1880153" cy="551465"/>
          </a:xfrm>
          <a:prstGeom prst="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0" name="Rectangle 69">
            <a:extLst>
              <a:ext uri="{FF2B5EF4-FFF2-40B4-BE49-F238E27FC236}">
                <a16:creationId xmlns:a16="http://schemas.microsoft.com/office/drawing/2014/main" id="{B30590F8-47E8-4DD9-94B7-6DE4D93820D4}"/>
              </a:ext>
            </a:extLst>
          </p:cNvPr>
          <p:cNvSpPr/>
          <p:nvPr/>
        </p:nvSpPr>
        <p:spPr>
          <a:xfrm>
            <a:off x="6531094" y="4485258"/>
            <a:ext cx="521846" cy="70429"/>
          </a:xfrm>
          <a:prstGeom prst="rect">
            <a:avLst/>
          </a:prstGeom>
          <a:solidFill>
            <a:srgbClr val="FFFFFF"/>
          </a:solidFill>
        </p:spPr>
        <p:txBody>
          <a:bodyPr wrap="square" lIns="0" rIns="0" anchor="ctr">
            <a:noAutofit/>
          </a:bodyPr>
          <a:lstStyle/>
          <a:p>
            <a:pPr lvl="0" algn="ctr">
              <a:buClr>
                <a:srgbClr val="C00000"/>
              </a:buClr>
              <a:buSzPct val="135000"/>
              <a:defRPr/>
            </a:pPr>
            <a:r>
              <a:rPr lang="it-IT" sz="1000" b="1" i="1" dirty="0">
                <a:solidFill>
                  <a:schemeClr val="accent1"/>
                </a:solidFill>
                <a:cs typeface="Arial"/>
              </a:rPr>
              <a:t>Legend</a:t>
            </a:r>
            <a:endParaRPr lang="en-US" sz="1000" b="1" i="1" dirty="0">
              <a:solidFill>
                <a:schemeClr val="accent1"/>
              </a:solidFill>
              <a:cs typeface="Arial"/>
            </a:endParaRPr>
          </a:p>
        </p:txBody>
      </p:sp>
      <p:sp>
        <p:nvSpPr>
          <p:cNvPr id="76" name="Rectangle 75">
            <a:extLst>
              <a:ext uri="{FF2B5EF4-FFF2-40B4-BE49-F238E27FC236}">
                <a16:creationId xmlns:a16="http://schemas.microsoft.com/office/drawing/2014/main" id="{B8D66F8C-7181-43A1-97E3-934E096D1E11}"/>
              </a:ext>
            </a:extLst>
          </p:cNvPr>
          <p:cNvSpPr/>
          <p:nvPr/>
        </p:nvSpPr>
        <p:spPr>
          <a:xfrm>
            <a:off x="7065754" y="4587703"/>
            <a:ext cx="1084020" cy="182676"/>
          </a:xfrm>
          <a:prstGeom prst="rect">
            <a:avLst/>
          </a:prstGeom>
        </p:spPr>
        <p:txBody>
          <a:bodyPr wrap="square" lIns="0" rIns="0" anchor="ctr">
            <a:noAutofit/>
          </a:bodyPr>
          <a:lstStyle/>
          <a:p>
            <a:pPr lvl="0">
              <a:buClr>
                <a:srgbClr val="C00000"/>
              </a:buClr>
              <a:buSzPct val="135000"/>
              <a:defRPr/>
            </a:pPr>
            <a:r>
              <a:rPr lang="en-US" sz="1000" dirty="0">
                <a:solidFill>
                  <a:prstClr val="black"/>
                </a:solidFill>
                <a:cs typeface="Arial"/>
              </a:rPr>
              <a:t>Brown field - 2020</a:t>
            </a:r>
          </a:p>
        </p:txBody>
      </p:sp>
      <p:grpSp>
        <p:nvGrpSpPr>
          <p:cNvPr id="100" name="Group 99"/>
          <p:cNvGrpSpPr/>
          <p:nvPr/>
        </p:nvGrpSpPr>
        <p:grpSpPr>
          <a:xfrm>
            <a:off x="6654094" y="4631295"/>
            <a:ext cx="252000" cy="108000"/>
            <a:chOff x="5272517" y="3681369"/>
            <a:chExt cx="537035" cy="223532"/>
          </a:xfrm>
        </p:grpSpPr>
        <p:sp>
          <p:nvSpPr>
            <p:cNvPr id="101" name="Rettangolo con angoli arrotondati in diagonale 102"/>
            <p:cNvSpPr/>
            <p:nvPr/>
          </p:nvSpPr>
          <p:spPr>
            <a:xfrm>
              <a:off x="5272517" y="3686672"/>
              <a:ext cx="369223" cy="212925"/>
            </a:xfrm>
            <a:prstGeom prst="rect">
              <a:avLst/>
            </a:prstGeom>
            <a:solidFill>
              <a:srgbClr val="E2001A"/>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nchorCtr="0"/>
            <a:lstStyle/>
            <a:p>
              <a:endParaRPr lang="en-US" sz="1200" dirty="0">
                <a:solidFill>
                  <a:schemeClr val="bg1"/>
                </a:solidFill>
              </a:endParaRPr>
            </a:p>
          </p:txBody>
        </p:sp>
        <p:sp>
          <p:nvSpPr>
            <p:cNvPr id="102" name="Oval 101"/>
            <p:cNvSpPr/>
            <p:nvPr/>
          </p:nvSpPr>
          <p:spPr>
            <a:xfrm>
              <a:off x="5586020" y="3681369"/>
              <a:ext cx="223532" cy="223532"/>
            </a:xfrm>
            <a:prstGeom prst="ellipse">
              <a:avLst/>
            </a:prstGeom>
            <a:solidFill>
              <a:srgbClr val="FFFFFF"/>
            </a:solidFill>
            <a:ln w="57150">
              <a:solidFill>
                <a:srgbClr val="E2001A"/>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600" b="1" dirty="0">
                <a:solidFill>
                  <a:schemeClr val="accent1"/>
                </a:solidFill>
              </a:endParaRPr>
            </a:p>
          </p:txBody>
        </p:sp>
      </p:grpSp>
      <p:sp>
        <p:nvSpPr>
          <p:cNvPr id="79" name="Rettangolo con angoli arrotondati in diagonale 102">
            <a:extLst>
              <a:ext uri="{FF2B5EF4-FFF2-40B4-BE49-F238E27FC236}">
                <a16:creationId xmlns:a16="http://schemas.microsoft.com/office/drawing/2014/main" id="{5DD7FFC4-DD70-4A03-A893-0DC19689E20E}"/>
              </a:ext>
            </a:extLst>
          </p:cNvPr>
          <p:cNvSpPr/>
          <p:nvPr/>
        </p:nvSpPr>
        <p:spPr>
          <a:xfrm>
            <a:off x="7432720" y="3458229"/>
            <a:ext cx="587330" cy="212925"/>
          </a:xfrm>
          <a:prstGeom prst="rect">
            <a:avLst/>
          </a:prstGeom>
          <a:solidFill>
            <a:srgbClr val="00AFD0"/>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nchorCtr="0"/>
          <a:lstStyle/>
          <a:p>
            <a:pPr algn="r"/>
            <a:r>
              <a:rPr lang="en-US" altLang="de-DE" sz="1200" b="1" dirty="0">
                <a:ea typeface="Arial Unicode MS"/>
              </a:rPr>
              <a:t>2022</a:t>
            </a:r>
            <a:endParaRPr lang="en-US" sz="1200" dirty="0">
              <a:solidFill>
                <a:schemeClr val="bg1"/>
              </a:solidFill>
            </a:endParaRPr>
          </a:p>
        </p:txBody>
      </p:sp>
      <p:sp>
        <p:nvSpPr>
          <p:cNvPr id="80" name="Oval 79">
            <a:extLst>
              <a:ext uri="{FF2B5EF4-FFF2-40B4-BE49-F238E27FC236}">
                <a16:creationId xmlns:a16="http://schemas.microsoft.com/office/drawing/2014/main" id="{8A31511B-D6B5-4500-89BA-2CF133BC3127}"/>
              </a:ext>
            </a:extLst>
          </p:cNvPr>
          <p:cNvSpPr/>
          <p:nvPr/>
        </p:nvSpPr>
        <p:spPr>
          <a:xfrm>
            <a:off x="7281800" y="3452925"/>
            <a:ext cx="223532" cy="223532"/>
          </a:xfrm>
          <a:prstGeom prst="ellipse">
            <a:avLst/>
          </a:prstGeom>
          <a:solidFill>
            <a:srgbClr val="FFFFFF"/>
          </a:solid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600" b="1" dirty="0">
              <a:solidFill>
                <a:schemeClr val="accent1"/>
              </a:solidFill>
            </a:endParaRPr>
          </a:p>
        </p:txBody>
      </p:sp>
      <p:grpSp>
        <p:nvGrpSpPr>
          <p:cNvPr id="5" name="Group 4"/>
          <p:cNvGrpSpPr/>
          <p:nvPr/>
        </p:nvGrpSpPr>
        <p:grpSpPr>
          <a:xfrm>
            <a:off x="5279857" y="2907619"/>
            <a:ext cx="779815" cy="223532"/>
            <a:chOff x="5279857" y="2907619"/>
            <a:chExt cx="779815" cy="223532"/>
          </a:xfrm>
        </p:grpSpPr>
        <p:sp>
          <p:nvSpPr>
            <p:cNvPr id="97" name="Rettangolo con angoli arrotondati in diagonale 102">
              <a:extLst>
                <a:ext uri="{FF2B5EF4-FFF2-40B4-BE49-F238E27FC236}">
                  <a16:creationId xmlns:a16="http://schemas.microsoft.com/office/drawing/2014/main" id="{29ADE34E-E201-48B0-B181-D864D72A2EF6}"/>
                </a:ext>
              </a:extLst>
            </p:cNvPr>
            <p:cNvSpPr/>
            <p:nvPr/>
          </p:nvSpPr>
          <p:spPr>
            <a:xfrm>
              <a:off x="5279857" y="2912923"/>
              <a:ext cx="693380" cy="212925"/>
            </a:xfrm>
            <a:prstGeom prst="rect">
              <a:avLst/>
            </a:prstGeom>
            <a:solidFill>
              <a:srgbClr val="00AFD0"/>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nchorCtr="0"/>
            <a:lstStyle/>
            <a:p>
              <a:r>
                <a:rPr lang="en-US" sz="1200" b="1" dirty="0">
                  <a:solidFill>
                    <a:schemeClr val="bg1"/>
                  </a:solidFill>
                </a:rPr>
                <a:t>2021</a:t>
              </a:r>
            </a:p>
          </p:txBody>
        </p:sp>
        <p:sp>
          <p:nvSpPr>
            <p:cNvPr id="96" name="Oval 95">
              <a:extLst>
                <a:ext uri="{FF2B5EF4-FFF2-40B4-BE49-F238E27FC236}">
                  <a16:creationId xmlns:a16="http://schemas.microsoft.com/office/drawing/2014/main" id="{0A4D24CE-2306-4C7B-96F0-DFBF0D9512B9}"/>
                </a:ext>
              </a:extLst>
            </p:cNvPr>
            <p:cNvSpPr/>
            <p:nvPr/>
          </p:nvSpPr>
          <p:spPr>
            <a:xfrm>
              <a:off x="5836140" y="2907619"/>
              <a:ext cx="223532" cy="223532"/>
            </a:xfrm>
            <a:prstGeom prst="ellipse">
              <a:avLst/>
            </a:prstGeom>
            <a:solidFill>
              <a:srgbClr val="FFFFFF"/>
            </a:solid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600" b="1" dirty="0">
                <a:solidFill>
                  <a:schemeClr val="accent1"/>
                </a:solidFill>
              </a:endParaRPr>
            </a:p>
          </p:txBody>
        </p:sp>
      </p:grpSp>
      <p:sp>
        <p:nvSpPr>
          <p:cNvPr id="55" name="Rettangolo con angoli arrotondati in diagonale 102"/>
          <p:cNvSpPr/>
          <p:nvPr/>
        </p:nvSpPr>
        <p:spPr>
          <a:xfrm>
            <a:off x="4942107" y="3697388"/>
            <a:ext cx="768865" cy="212925"/>
          </a:xfrm>
          <a:prstGeom prst="rect">
            <a:avLst/>
          </a:prstGeom>
          <a:solidFill>
            <a:srgbClr val="00AFD0"/>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nchorCtr="0"/>
          <a:lstStyle/>
          <a:p>
            <a:r>
              <a:rPr lang="en-US" sz="1200" b="1" dirty="0">
                <a:solidFill>
                  <a:schemeClr val="bg1"/>
                </a:solidFill>
              </a:rPr>
              <a:t>H2-2021</a:t>
            </a:r>
          </a:p>
        </p:txBody>
      </p:sp>
      <p:sp>
        <p:nvSpPr>
          <p:cNvPr id="56" name="Oval 55"/>
          <p:cNvSpPr/>
          <p:nvPr/>
        </p:nvSpPr>
        <p:spPr>
          <a:xfrm>
            <a:off x="5604892" y="3692085"/>
            <a:ext cx="223532" cy="223532"/>
          </a:xfrm>
          <a:prstGeom prst="ellipse">
            <a:avLst/>
          </a:prstGeom>
          <a:solidFill>
            <a:srgbClr val="FFFFFF"/>
          </a:solid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600" b="1" dirty="0">
              <a:solidFill>
                <a:schemeClr val="accent1"/>
              </a:solidFill>
            </a:endParaRPr>
          </a:p>
        </p:txBody>
      </p:sp>
      <p:sp>
        <p:nvSpPr>
          <p:cNvPr id="42" name="Content Placeholder 4">
            <a:extLst>
              <a:ext uri="{FF2B5EF4-FFF2-40B4-BE49-F238E27FC236}">
                <a16:creationId xmlns:a16="http://schemas.microsoft.com/office/drawing/2014/main" id="{CEAB2385-5DA9-4437-B2F8-DCE11324F247}"/>
              </a:ext>
            </a:extLst>
          </p:cNvPr>
          <p:cNvSpPr>
            <a:spLocks noGrp="1"/>
          </p:cNvSpPr>
          <p:nvPr>
            <p:ph sz="quarter" idx="15"/>
          </p:nvPr>
        </p:nvSpPr>
        <p:spPr>
          <a:xfrm>
            <a:off x="269875" y="1577958"/>
            <a:ext cx="2744729" cy="2680841"/>
          </a:xfrm>
        </p:spPr>
        <p:txBody>
          <a:bodyPr>
            <a:normAutofit fontScale="92500" lnSpcReduction="10000"/>
          </a:bodyPr>
          <a:lstStyle/>
          <a:p>
            <a:pPr>
              <a:spcBef>
                <a:spcPts val="1200"/>
              </a:spcBef>
            </a:pPr>
            <a:r>
              <a:rPr lang="en-US" b="1" dirty="0"/>
              <a:t>Extend DevOps </a:t>
            </a:r>
            <a:r>
              <a:rPr lang="en-US" dirty="0"/>
              <a:t>to </a:t>
            </a:r>
            <a:r>
              <a:rPr lang="en-US" b="1" dirty="0"/>
              <a:t>all</a:t>
            </a:r>
            <a:r>
              <a:rPr lang="en-US" dirty="0"/>
              <a:t> the </a:t>
            </a:r>
            <a:r>
              <a:rPr lang="en-US" b="1" dirty="0"/>
              <a:t>assets</a:t>
            </a:r>
            <a:r>
              <a:rPr lang="en-US" dirty="0"/>
              <a:t> in Credit Origination area</a:t>
            </a:r>
          </a:p>
          <a:p>
            <a:pPr>
              <a:spcBef>
                <a:spcPts val="1200"/>
              </a:spcBef>
            </a:pPr>
            <a:r>
              <a:rPr lang="en-US" b="1" dirty="0"/>
              <a:t>Apply DevOps </a:t>
            </a:r>
            <a:r>
              <a:rPr lang="en-US" dirty="0"/>
              <a:t>pipelines for the </a:t>
            </a:r>
            <a:r>
              <a:rPr lang="en-US" b="1" dirty="0"/>
              <a:t>new assets </a:t>
            </a:r>
            <a:r>
              <a:rPr lang="en-US" dirty="0"/>
              <a:t>that will be developed on</a:t>
            </a:r>
            <a:r>
              <a:rPr lang="en-US" b="1" dirty="0"/>
              <a:t> OpenShift containers</a:t>
            </a:r>
            <a:endParaRPr lang="en-US" dirty="0"/>
          </a:p>
          <a:p>
            <a:pPr>
              <a:spcBef>
                <a:spcPts val="1200"/>
              </a:spcBef>
            </a:pPr>
            <a:r>
              <a:rPr lang="en-US" dirty="0"/>
              <a:t>Industrialize </a:t>
            </a:r>
            <a:r>
              <a:rPr lang="en-US" b="1" dirty="0"/>
              <a:t>DB automation until production</a:t>
            </a:r>
          </a:p>
          <a:p>
            <a:pPr>
              <a:spcBef>
                <a:spcPts val="1200"/>
              </a:spcBef>
            </a:pPr>
            <a:r>
              <a:rPr lang="en-US" b="1" dirty="0"/>
              <a:t>Extend Feature Flag </a:t>
            </a:r>
            <a:r>
              <a:rPr lang="en-US" dirty="0"/>
              <a:t>adoption to modify system behavior without changing code  </a:t>
            </a:r>
          </a:p>
          <a:p>
            <a:pPr>
              <a:spcBef>
                <a:spcPts val="1200"/>
              </a:spcBef>
            </a:pPr>
            <a:endParaRPr lang="en-US" dirty="0"/>
          </a:p>
          <a:p>
            <a:pPr marL="0" indent="0">
              <a:spcBef>
                <a:spcPts val="1200"/>
              </a:spcBef>
              <a:buNone/>
            </a:pPr>
            <a:endParaRPr lang="en-US" dirty="0"/>
          </a:p>
        </p:txBody>
      </p:sp>
      <p:sp>
        <p:nvSpPr>
          <p:cNvPr id="46" name="Rectangle 45">
            <a:extLst>
              <a:ext uri="{FF2B5EF4-FFF2-40B4-BE49-F238E27FC236}">
                <a16:creationId xmlns:a16="http://schemas.microsoft.com/office/drawing/2014/main" id="{16C00786-491B-4767-9EF9-CCBD8FF95662}"/>
              </a:ext>
            </a:extLst>
          </p:cNvPr>
          <p:cNvSpPr/>
          <p:nvPr/>
        </p:nvSpPr>
        <p:spPr>
          <a:xfrm>
            <a:off x="7065753" y="4818589"/>
            <a:ext cx="1299003" cy="182676"/>
          </a:xfrm>
          <a:prstGeom prst="rect">
            <a:avLst/>
          </a:prstGeom>
        </p:spPr>
        <p:txBody>
          <a:bodyPr wrap="square" lIns="0" rIns="0" anchor="ctr">
            <a:noAutofit/>
          </a:bodyPr>
          <a:lstStyle/>
          <a:p>
            <a:pPr lvl="0">
              <a:buClr>
                <a:srgbClr val="C00000"/>
              </a:buClr>
              <a:buSzPct val="135000"/>
              <a:defRPr/>
            </a:pPr>
            <a:r>
              <a:rPr lang="en-US" sz="1000" dirty="0">
                <a:solidFill>
                  <a:prstClr val="black"/>
                </a:solidFill>
                <a:cs typeface="Arial"/>
              </a:rPr>
              <a:t>Self onboarding - 2021</a:t>
            </a:r>
          </a:p>
        </p:txBody>
      </p:sp>
      <p:grpSp>
        <p:nvGrpSpPr>
          <p:cNvPr id="47" name="Group 46">
            <a:extLst>
              <a:ext uri="{FF2B5EF4-FFF2-40B4-BE49-F238E27FC236}">
                <a16:creationId xmlns:a16="http://schemas.microsoft.com/office/drawing/2014/main" id="{867FCBCD-446D-4375-9EF5-62A340F31042}"/>
              </a:ext>
            </a:extLst>
          </p:cNvPr>
          <p:cNvGrpSpPr/>
          <p:nvPr/>
        </p:nvGrpSpPr>
        <p:grpSpPr>
          <a:xfrm>
            <a:off x="6654094" y="4862181"/>
            <a:ext cx="252000" cy="108000"/>
            <a:chOff x="5272517" y="3681369"/>
            <a:chExt cx="537035" cy="223532"/>
          </a:xfrm>
          <a:solidFill>
            <a:srgbClr val="00AFD0"/>
          </a:solidFill>
        </p:grpSpPr>
        <p:sp>
          <p:nvSpPr>
            <p:cNvPr id="48" name="Rettangolo con angoli arrotondati in diagonale 102">
              <a:extLst>
                <a:ext uri="{FF2B5EF4-FFF2-40B4-BE49-F238E27FC236}">
                  <a16:creationId xmlns:a16="http://schemas.microsoft.com/office/drawing/2014/main" id="{D86E96F4-9398-4D03-8C55-102C4E645C9C}"/>
                </a:ext>
              </a:extLst>
            </p:cNvPr>
            <p:cNvSpPr/>
            <p:nvPr/>
          </p:nvSpPr>
          <p:spPr>
            <a:xfrm>
              <a:off x="5272517" y="3686672"/>
              <a:ext cx="369223" cy="212925"/>
            </a:xfrm>
            <a:prstGeom prst="rect">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nchorCtr="0"/>
            <a:lstStyle/>
            <a:p>
              <a:endParaRPr lang="en-US" sz="1200" dirty="0">
                <a:solidFill>
                  <a:schemeClr val="bg1"/>
                </a:solidFill>
              </a:endParaRPr>
            </a:p>
          </p:txBody>
        </p:sp>
        <p:sp>
          <p:nvSpPr>
            <p:cNvPr id="49" name="Oval 48">
              <a:extLst>
                <a:ext uri="{FF2B5EF4-FFF2-40B4-BE49-F238E27FC236}">
                  <a16:creationId xmlns:a16="http://schemas.microsoft.com/office/drawing/2014/main" id="{E9BB7F68-6359-42B7-AC44-C45260375958}"/>
                </a:ext>
              </a:extLst>
            </p:cNvPr>
            <p:cNvSpPr/>
            <p:nvPr/>
          </p:nvSpPr>
          <p:spPr>
            <a:xfrm>
              <a:off x="5586020" y="3681369"/>
              <a:ext cx="223532" cy="223532"/>
            </a:xfrm>
            <a:prstGeom prst="ellipse">
              <a:avLst/>
            </a:prstGeom>
            <a:noFill/>
            <a:ln w="57150">
              <a:solidFill>
                <a:srgbClr val="00AFD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600" b="1" dirty="0">
                <a:solidFill>
                  <a:schemeClr val="accent1"/>
                </a:solidFill>
              </a:endParaRPr>
            </a:p>
          </p:txBody>
        </p:sp>
      </p:grpSp>
    </p:spTree>
    <p:extLst>
      <p:ext uri="{BB962C8B-B14F-4D97-AF65-F5344CB8AC3E}">
        <p14:creationId xmlns:p14="http://schemas.microsoft.com/office/powerpoint/2010/main" val="383137571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F18E6830-DB5E-4D4F-A111-5FAD6F243B8D}"/>
              </a:ext>
            </a:extLst>
          </p:cNvPr>
          <p:cNvGraphicFramePr>
            <a:graphicFrameLocks noChangeAspect="1"/>
          </p:cNvGraphicFramePr>
          <p:nvPr>
            <p:custDataLst>
              <p:tags r:id="rId2"/>
            </p:custDataLst>
            <p:extLst>
              <p:ext uri="{D42A27DB-BD31-4B8C-83A1-F6EECF244321}">
                <p14:modId xmlns:p14="http://schemas.microsoft.com/office/powerpoint/2010/main" val="28000256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846"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D8F1C297-7D8D-46DC-B22E-CD9976E2198F}"/>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UniCredit" panose="02000506040000020004" pitchFamily="2" charset="0"/>
              <a:ea typeface="+mj-ea"/>
              <a:cs typeface="Arial" panose="020B0604020202020204" pitchFamily="34" charset="0"/>
              <a:sym typeface="UniCredit" panose="02000506040000020004" pitchFamily="2" charset="0"/>
            </a:endParaRPr>
          </a:p>
        </p:txBody>
      </p:sp>
      <p:sp>
        <p:nvSpPr>
          <p:cNvPr id="9" name="Text Placeholder 8">
            <a:extLst>
              <a:ext uri="{FF2B5EF4-FFF2-40B4-BE49-F238E27FC236}">
                <a16:creationId xmlns:a16="http://schemas.microsoft.com/office/drawing/2014/main" id="{B3BDA6C3-434D-42AF-A91B-2E76C573CF1C}"/>
              </a:ext>
            </a:extLst>
          </p:cNvPr>
          <p:cNvSpPr>
            <a:spLocks noGrp="1"/>
          </p:cNvSpPr>
          <p:nvPr>
            <p:ph type="body" sz="quarter" idx="12"/>
          </p:nvPr>
        </p:nvSpPr>
        <p:spPr/>
        <p:txBody>
          <a:bodyPr/>
          <a:lstStyle/>
          <a:p>
            <a:endParaRPr lang="en-US"/>
          </a:p>
        </p:txBody>
      </p:sp>
      <p:sp>
        <p:nvSpPr>
          <p:cNvPr id="10" name="Text Placeholder 9">
            <a:extLst>
              <a:ext uri="{FF2B5EF4-FFF2-40B4-BE49-F238E27FC236}">
                <a16:creationId xmlns:a16="http://schemas.microsoft.com/office/drawing/2014/main" id="{8D4714E9-A1A4-42ED-B21C-92387AD2331C}"/>
              </a:ext>
            </a:extLst>
          </p:cNvPr>
          <p:cNvSpPr>
            <a:spLocks noGrp="1"/>
          </p:cNvSpPr>
          <p:nvPr>
            <p:ph type="body" sz="quarter" idx="16"/>
          </p:nvPr>
        </p:nvSpPr>
        <p:spPr/>
        <p:txBody>
          <a:bodyPr/>
          <a:lstStyle/>
          <a:p>
            <a:endParaRPr lang="en-US"/>
          </a:p>
        </p:txBody>
      </p:sp>
      <p:sp>
        <p:nvSpPr>
          <p:cNvPr id="4" name="Slide Number Placeholder 3">
            <a:extLst>
              <a:ext uri="{FF2B5EF4-FFF2-40B4-BE49-F238E27FC236}">
                <a16:creationId xmlns:a16="http://schemas.microsoft.com/office/drawing/2014/main" id="{E5A4768E-9FD7-4CEF-9F54-54044EC6563E}"/>
              </a:ext>
            </a:extLst>
          </p:cNvPr>
          <p:cNvSpPr>
            <a:spLocks noGrp="1"/>
          </p:cNvSpPr>
          <p:nvPr>
            <p:ph type="sldNum" sz="quarter" idx="11"/>
          </p:nvPr>
        </p:nvSpPr>
        <p:spPr/>
        <p:txBody>
          <a:bodyPr/>
          <a:lstStyle/>
          <a:p>
            <a:fld id="{9E8169F0-646E-455B-AF5A-6D6C02EAEAF6}" type="slidenum">
              <a:rPr lang="en-GB" noProof="1" smtClean="0"/>
              <a:t>4</a:t>
            </a:fld>
            <a:endParaRPr lang="en-GB" noProof="1"/>
          </a:p>
        </p:txBody>
      </p:sp>
      <p:pic>
        <p:nvPicPr>
          <p:cNvPr id="7" name="Content Placeholder 6">
            <a:extLst>
              <a:ext uri="{FF2B5EF4-FFF2-40B4-BE49-F238E27FC236}">
                <a16:creationId xmlns:a16="http://schemas.microsoft.com/office/drawing/2014/main" id="{930072AE-1D22-437F-9DBE-58B461BA9726}"/>
              </a:ext>
            </a:extLst>
          </p:cNvPr>
          <p:cNvPicPr>
            <a:picLocks noGrp="1" noChangeAspect="1"/>
          </p:cNvPicPr>
          <p:nvPr>
            <p:ph sz="quarter" idx="15"/>
          </p:nvPr>
        </p:nvPicPr>
        <p:blipFill>
          <a:blip r:embed="rId7"/>
          <a:stretch>
            <a:fillRect/>
          </a:stretch>
        </p:blipFill>
        <p:spPr>
          <a:xfrm>
            <a:off x="-1" y="702001"/>
            <a:ext cx="9147859" cy="4441500"/>
          </a:xfrm>
          <a:prstGeom prst="rect">
            <a:avLst/>
          </a:prstGeom>
        </p:spPr>
      </p:pic>
      <p:sp>
        <p:nvSpPr>
          <p:cNvPr id="8" name="Title 7">
            <a:extLst>
              <a:ext uri="{FF2B5EF4-FFF2-40B4-BE49-F238E27FC236}">
                <a16:creationId xmlns:a16="http://schemas.microsoft.com/office/drawing/2014/main" id="{1D360CD0-8AF1-4850-A146-1D6515A00A54}"/>
              </a:ext>
            </a:extLst>
          </p:cNvPr>
          <p:cNvSpPr>
            <a:spLocks noGrp="1"/>
          </p:cNvSpPr>
          <p:nvPr>
            <p:ph type="title"/>
          </p:nvPr>
        </p:nvSpPr>
        <p:spPr/>
        <p:txBody>
          <a:bodyPr/>
          <a:lstStyle/>
          <a:p>
            <a:r>
              <a:rPr lang="en-US" dirty="0"/>
              <a:t>Q&amp;A Session on slido.com</a:t>
            </a:r>
          </a:p>
        </p:txBody>
      </p:sp>
    </p:spTree>
    <p:extLst>
      <p:ext uri="{BB962C8B-B14F-4D97-AF65-F5344CB8AC3E}">
        <p14:creationId xmlns:p14="http://schemas.microsoft.com/office/powerpoint/2010/main" val="384374705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F18E6830-DB5E-4D4F-A111-5FAD6F243B8D}"/>
              </a:ext>
            </a:extLst>
          </p:cNvPr>
          <p:cNvGraphicFramePr>
            <a:graphicFrameLocks noChangeAspect="1"/>
          </p:cNvGraphicFramePr>
          <p:nvPr>
            <p:custDataLst>
              <p:tags r:id="rId2"/>
            </p:custDataLst>
            <p:extLst>
              <p:ext uri="{D42A27DB-BD31-4B8C-83A1-F6EECF244321}">
                <p14:modId xmlns:p14="http://schemas.microsoft.com/office/powerpoint/2010/main" val="336091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796" name="think-cell Slide" r:id="rId5" imgW="360" imgH="360" progId="TCLayout.ActiveDocument.1">
                  <p:embed/>
                </p:oleObj>
              </mc:Choice>
              <mc:Fallback>
                <p:oleObj name="think-cell Slide" r:id="rId5" imgW="360" imgH="360" progId="TCLayout.ActiveDocument.1">
                  <p:embed/>
                  <p:pic>
                    <p:nvPicPr>
                      <p:cNvPr id="11" name="Object 10" hidden="1">
                        <a:extLst>
                          <a:ext uri="{FF2B5EF4-FFF2-40B4-BE49-F238E27FC236}">
                            <a16:creationId xmlns:a16="http://schemas.microsoft.com/office/drawing/2014/main" id="{F18E6830-DB5E-4D4F-A111-5FAD6F243B8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D8F1C297-7D8D-46DC-B22E-CD9976E2198F}"/>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UniCredit" panose="02000506040000020004" pitchFamily="2" charset="0"/>
              <a:ea typeface="+mj-ea"/>
              <a:cs typeface="Arial" panose="020B0604020202020204" pitchFamily="34" charset="0"/>
              <a:sym typeface="UniCredit" panose="02000506040000020004" pitchFamily="2" charset="0"/>
            </a:endParaRPr>
          </a:p>
        </p:txBody>
      </p:sp>
      <p:sp>
        <p:nvSpPr>
          <p:cNvPr id="9" name="Text Placeholder 8">
            <a:extLst>
              <a:ext uri="{FF2B5EF4-FFF2-40B4-BE49-F238E27FC236}">
                <a16:creationId xmlns:a16="http://schemas.microsoft.com/office/drawing/2014/main" id="{B3BDA6C3-434D-42AF-A91B-2E76C573CF1C}"/>
              </a:ext>
            </a:extLst>
          </p:cNvPr>
          <p:cNvSpPr>
            <a:spLocks noGrp="1"/>
          </p:cNvSpPr>
          <p:nvPr>
            <p:ph type="body" sz="quarter" idx="12"/>
          </p:nvPr>
        </p:nvSpPr>
        <p:spPr/>
        <p:txBody>
          <a:bodyPr/>
          <a:lstStyle/>
          <a:p>
            <a:endParaRPr lang="en-US"/>
          </a:p>
        </p:txBody>
      </p:sp>
      <p:sp>
        <p:nvSpPr>
          <p:cNvPr id="10" name="Text Placeholder 9">
            <a:extLst>
              <a:ext uri="{FF2B5EF4-FFF2-40B4-BE49-F238E27FC236}">
                <a16:creationId xmlns:a16="http://schemas.microsoft.com/office/drawing/2014/main" id="{8D4714E9-A1A4-42ED-B21C-92387AD2331C}"/>
              </a:ext>
            </a:extLst>
          </p:cNvPr>
          <p:cNvSpPr>
            <a:spLocks noGrp="1"/>
          </p:cNvSpPr>
          <p:nvPr>
            <p:ph type="body" sz="quarter" idx="16"/>
          </p:nvPr>
        </p:nvSpPr>
        <p:spPr/>
        <p:txBody>
          <a:bodyPr/>
          <a:lstStyle/>
          <a:p>
            <a:endParaRPr lang="en-US"/>
          </a:p>
        </p:txBody>
      </p:sp>
      <p:sp>
        <p:nvSpPr>
          <p:cNvPr id="4" name="Slide Number Placeholder 3">
            <a:extLst>
              <a:ext uri="{FF2B5EF4-FFF2-40B4-BE49-F238E27FC236}">
                <a16:creationId xmlns:a16="http://schemas.microsoft.com/office/drawing/2014/main" id="{E5A4768E-9FD7-4CEF-9F54-54044EC6563E}"/>
              </a:ext>
            </a:extLst>
          </p:cNvPr>
          <p:cNvSpPr>
            <a:spLocks noGrp="1"/>
          </p:cNvSpPr>
          <p:nvPr>
            <p:ph type="sldNum" sz="quarter" idx="11"/>
          </p:nvPr>
        </p:nvSpPr>
        <p:spPr/>
        <p:txBody>
          <a:bodyPr/>
          <a:lstStyle/>
          <a:p>
            <a:fld id="{9E8169F0-646E-455B-AF5A-6D6C02EAEAF6}" type="slidenum">
              <a:rPr lang="en-GB" noProof="1" smtClean="0"/>
              <a:t>40</a:t>
            </a:fld>
            <a:endParaRPr lang="en-GB" noProof="1"/>
          </a:p>
        </p:txBody>
      </p:sp>
      <p:pic>
        <p:nvPicPr>
          <p:cNvPr id="7" name="Content Placeholder 6">
            <a:extLst>
              <a:ext uri="{FF2B5EF4-FFF2-40B4-BE49-F238E27FC236}">
                <a16:creationId xmlns:a16="http://schemas.microsoft.com/office/drawing/2014/main" id="{930072AE-1D22-437F-9DBE-58B461BA9726}"/>
              </a:ext>
            </a:extLst>
          </p:cNvPr>
          <p:cNvPicPr>
            <a:picLocks noGrp="1" noChangeAspect="1"/>
          </p:cNvPicPr>
          <p:nvPr>
            <p:ph sz="quarter" idx="15"/>
          </p:nvPr>
        </p:nvPicPr>
        <p:blipFill>
          <a:blip r:embed="rId7"/>
          <a:stretch>
            <a:fillRect/>
          </a:stretch>
        </p:blipFill>
        <p:spPr>
          <a:xfrm>
            <a:off x="-1" y="702001"/>
            <a:ext cx="9147859" cy="4441500"/>
          </a:xfrm>
          <a:prstGeom prst="rect">
            <a:avLst/>
          </a:prstGeom>
        </p:spPr>
      </p:pic>
      <p:sp>
        <p:nvSpPr>
          <p:cNvPr id="8" name="Title 7">
            <a:extLst>
              <a:ext uri="{FF2B5EF4-FFF2-40B4-BE49-F238E27FC236}">
                <a16:creationId xmlns:a16="http://schemas.microsoft.com/office/drawing/2014/main" id="{1D360CD0-8AF1-4850-A146-1D6515A00A54}"/>
              </a:ext>
            </a:extLst>
          </p:cNvPr>
          <p:cNvSpPr>
            <a:spLocks noGrp="1"/>
          </p:cNvSpPr>
          <p:nvPr>
            <p:ph type="title"/>
          </p:nvPr>
        </p:nvSpPr>
        <p:spPr/>
        <p:txBody>
          <a:bodyPr/>
          <a:lstStyle/>
          <a:p>
            <a:r>
              <a:rPr lang="en-US" dirty="0"/>
              <a:t>Q&amp;A Session on slido.com</a:t>
            </a:r>
          </a:p>
        </p:txBody>
      </p:sp>
    </p:spTree>
    <p:extLst>
      <p:ext uri="{BB962C8B-B14F-4D97-AF65-F5344CB8AC3E}">
        <p14:creationId xmlns:p14="http://schemas.microsoft.com/office/powerpoint/2010/main" val="200933336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8480EBE-FB2D-4454-A167-26E81A343E4E}"/>
              </a:ext>
            </a:extLst>
          </p:cNvPr>
          <p:cNvGraphicFramePr>
            <a:graphicFrameLocks noChangeAspect="1"/>
          </p:cNvGraphicFramePr>
          <p:nvPr>
            <p:custDataLst>
              <p:tags r:id="rId2"/>
            </p:custDataLst>
            <p:extLst>
              <p:ext uri="{D42A27DB-BD31-4B8C-83A1-F6EECF244321}">
                <p14:modId xmlns:p14="http://schemas.microsoft.com/office/powerpoint/2010/main" val="6218490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551"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D4621D9B-CA89-4F51-8D9A-C925F31922D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UniCredit" panose="02000506040000020004" pitchFamily="2" charset="0"/>
              <a:ea typeface="+mj-ea"/>
              <a:cs typeface="Arial" panose="020B0604020202020204" pitchFamily="34" charset="0"/>
              <a:sym typeface="UniCredit" panose="02000506040000020004" pitchFamily="2" charset="0"/>
            </a:endParaRPr>
          </a:p>
        </p:txBody>
      </p:sp>
      <p:sp>
        <p:nvSpPr>
          <p:cNvPr id="2" name="Text Placeholder 1">
            <a:extLst>
              <a:ext uri="{FF2B5EF4-FFF2-40B4-BE49-F238E27FC236}">
                <a16:creationId xmlns:a16="http://schemas.microsoft.com/office/drawing/2014/main" id="{45DAB4C6-550F-47F2-9406-E19CE7E7BCD3}"/>
              </a:ext>
            </a:extLst>
          </p:cNvPr>
          <p:cNvSpPr>
            <a:spLocks noGrp="1"/>
          </p:cNvSpPr>
          <p:nvPr>
            <p:ph type="body" sz="quarter" idx="12"/>
          </p:nvPr>
        </p:nvSpPr>
        <p:spPr/>
        <p:txBody>
          <a:bodyPr/>
          <a:lstStyle/>
          <a:p>
            <a:endParaRPr lang="en-US"/>
          </a:p>
        </p:txBody>
      </p:sp>
      <p:sp>
        <p:nvSpPr>
          <p:cNvPr id="3" name="Text Placeholder 2">
            <a:extLst>
              <a:ext uri="{FF2B5EF4-FFF2-40B4-BE49-F238E27FC236}">
                <a16:creationId xmlns:a16="http://schemas.microsoft.com/office/drawing/2014/main" id="{E4C7EF5C-8D65-49E1-8F1C-3F25BA0B94FF}"/>
              </a:ext>
            </a:extLst>
          </p:cNvPr>
          <p:cNvSpPr>
            <a:spLocks noGrp="1"/>
          </p:cNvSpPr>
          <p:nvPr>
            <p:ph type="body" sz="quarter" idx="16"/>
          </p:nvPr>
        </p:nvSpPr>
        <p:spPr/>
        <p:txBody>
          <a:bodyPr/>
          <a:lstStyle/>
          <a:p>
            <a:r>
              <a:rPr lang="en-US" dirty="0">
                <a:hlinkClick r:id="rId7"/>
              </a:rPr>
              <a:t>https://martinfowler.com/articles/feature-toggles.html</a:t>
            </a:r>
            <a:endParaRPr lang="en-US" dirty="0"/>
          </a:p>
          <a:p>
            <a:r>
              <a:rPr lang="en-US" dirty="0">
                <a:hlinkClick r:id="rId8"/>
              </a:rPr>
              <a:t>https://github.com/ff4j/ff4j</a:t>
            </a:r>
            <a:endParaRPr lang="en-US" dirty="0"/>
          </a:p>
        </p:txBody>
      </p:sp>
      <p:sp>
        <p:nvSpPr>
          <p:cNvPr id="4" name="Slide Number Placeholder 3">
            <a:extLst>
              <a:ext uri="{FF2B5EF4-FFF2-40B4-BE49-F238E27FC236}">
                <a16:creationId xmlns:a16="http://schemas.microsoft.com/office/drawing/2014/main" id="{38F65E37-4816-4B1D-8CE0-AD8F149CB4DD}"/>
              </a:ext>
            </a:extLst>
          </p:cNvPr>
          <p:cNvSpPr>
            <a:spLocks noGrp="1"/>
          </p:cNvSpPr>
          <p:nvPr>
            <p:ph type="sldNum" sz="quarter" idx="11"/>
          </p:nvPr>
        </p:nvSpPr>
        <p:spPr/>
        <p:txBody>
          <a:bodyPr/>
          <a:lstStyle/>
          <a:p>
            <a:fld id="{9E8169F0-646E-455B-AF5A-6D6C02EAEAF6}" type="slidenum">
              <a:rPr lang="en-GB" noProof="1" smtClean="0"/>
              <a:t>41</a:t>
            </a:fld>
            <a:endParaRPr lang="en-GB" noProof="1"/>
          </a:p>
        </p:txBody>
      </p:sp>
      <p:sp>
        <p:nvSpPr>
          <p:cNvPr id="5" name="Content Placeholder 4">
            <a:extLst>
              <a:ext uri="{FF2B5EF4-FFF2-40B4-BE49-F238E27FC236}">
                <a16:creationId xmlns:a16="http://schemas.microsoft.com/office/drawing/2014/main" id="{4DE49AB3-A8FC-4BCE-93A1-8A9557AAA50E}"/>
              </a:ext>
            </a:extLst>
          </p:cNvPr>
          <p:cNvSpPr>
            <a:spLocks noGrp="1"/>
          </p:cNvSpPr>
          <p:nvPr>
            <p:ph sz="quarter" idx="15"/>
          </p:nvPr>
        </p:nvSpPr>
        <p:spPr/>
        <p:txBody>
          <a:bodyPr>
            <a:normAutofit/>
          </a:bodyPr>
          <a:lstStyle/>
          <a:p>
            <a:pPr marL="0" indent="0">
              <a:buNone/>
            </a:pPr>
            <a:r>
              <a:rPr lang="en-US" b="1" dirty="0"/>
              <a:t>Feature Flags </a:t>
            </a:r>
            <a:r>
              <a:rPr lang="en-US" dirty="0"/>
              <a:t>(or Feature Toggles) are a powerful technique, allowing teams to </a:t>
            </a:r>
            <a:r>
              <a:rPr lang="en-US" b="1" dirty="0"/>
              <a:t>modify system behavior without changing code</a:t>
            </a:r>
            <a:r>
              <a:rPr lang="en-US" dirty="0"/>
              <a:t>. They fall into various usage categories:</a:t>
            </a:r>
          </a:p>
          <a:p>
            <a:pPr marL="0" indent="0">
              <a:buNone/>
            </a:pPr>
            <a:endParaRPr lang="en-US" dirty="0"/>
          </a:p>
          <a:p>
            <a:r>
              <a:rPr lang="en-US" b="1" dirty="0"/>
              <a:t>Release Toggles</a:t>
            </a:r>
            <a:r>
              <a:rPr lang="en-US" dirty="0"/>
              <a:t>: deploy software as latent code allows separating feature release/activation from code deployment (e.g. coordination with marketing campaign)</a:t>
            </a:r>
          </a:p>
          <a:p>
            <a:r>
              <a:rPr lang="en-US" b="1" dirty="0"/>
              <a:t>Ops toggle</a:t>
            </a:r>
            <a:r>
              <a:rPr lang="en-US" dirty="0"/>
              <a:t>: useful for example when rolling out a new feature which has unclear performance implications so that system operators can disable that feature quickly in production if needed</a:t>
            </a:r>
          </a:p>
          <a:p>
            <a:r>
              <a:rPr lang="en-US" b="1" dirty="0"/>
              <a:t>Permission Toggles </a:t>
            </a:r>
            <a:r>
              <a:rPr lang="en-US" dirty="0"/>
              <a:t>user or group based: e.g. to enable "beta" features which are only available to a small number of users. This allows also:</a:t>
            </a:r>
          </a:p>
          <a:p>
            <a:pPr lvl="1"/>
            <a:r>
              <a:rPr lang="en-US" b="1" dirty="0"/>
              <a:t>Canary Release </a:t>
            </a:r>
            <a:r>
              <a:rPr lang="en-US" dirty="0"/>
              <a:t>enables new feature on for a small percentage of the total userbase.</a:t>
            </a:r>
          </a:p>
        </p:txBody>
      </p:sp>
      <p:sp>
        <p:nvSpPr>
          <p:cNvPr id="6" name="Title 5">
            <a:extLst>
              <a:ext uri="{FF2B5EF4-FFF2-40B4-BE49-F238E27FC236}">
                <a16:creationId xmlns:a16="http://schemas.microsoft.com/office/drawing/2014/main" id="{5D5AF052-4794-43EF-83E3-6125C363913B}"/>
              </a:ext>
            </a:extLst>
          </p:cNvPr>
          <p:cNvSpPr>
            <a:spLocks noGrp="1"/>
          </p:cNvSpPr>
          <p:nvPr>
            <p:ph type="title"/>
          </p:nvPr>
        </p:nvSpPr>
        <p:spPr/>
        <p:txBody>
          <a:bodyPr/>
          <a:lstStyle/>
          <a:p>
            <a:r>
              <a:rPr lang="en-US" dirty="0"/>
              <a:t>Feature Flag development</a:t>
            </a:r>
          </a:p>
        </p:txBody>
      </p:sp>
    </p:spTree>
    <p:extLst>
      <p:ext uri="{BB962C8B-B14F-4D97-AF65-F5344CB8AC3E}">
        <p14:creationId xmlns:p14="http://schemas.microsoft.com/office/powerpoint/2010/main" val="26533121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0" name="think-cell Slide" r:id="rId5" imgW="395" imgH="394" progId="TCLayout.ActiveDocument.1">
                  <p:embed/>
                </p:oleObj>
              </mc:Choice>
              <mc:Fallback>
                <p:oleObj name="think-cell Slide" r:id="rId5" imgW="395" imgH="394" progId="TCLayout.ActiveDocument.1">
                  <p:embed/>
                  <p:pic>
                    <p:nvPicPr>
                      <p:cNvPr id="7" name="Objec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8" name="Rectangle 117"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600" dirty="0">
              <a:latin typeface="UniCredit" panose="02000506040000020004" pitchFamily="2" charset="0"/>
              <a:ea typeface="+mj-ea"/>
              <a:cs typeface="Arial" panose="020B0604020202020204" pitchFamily="34" charset="0"/>
              <a:sym typeface="UniCredit" panose="02000506040000020004" pitchFamily="2" charset="0"/>
            </a:endParaRPr>
          </a:p>
        </p:txBody>
      </p:sp>
      <p:cxnSp>
        <p:nvCxnSpPr>
          <p:cNvPr id="17" name="Straight Connector 16"/>
          <p:cNvCxnSpPr>
            <a:cxnSpLocks/>
          </p:cNvCxnSpPr>
          <p:nvPr/>
        </p:nvCxnSpPr>
        <p:spPr>
          <a:xfrm>
            <a:off x="524327" y="1139704"/>
            <a:ext cx="0" cy="2864092"/>
          </a:xfrm>
          <a:prstGeom prst="line">
            <a:avLst/>
          </a:prstGeom>
          <a:ln>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sp>
        <p:nvSpPr>
          <p:cNvPr id="4" name="Slide Number Placeholder 3"/>
          <p:cNvSpPr>
            <a:spLocks noGrp="1"/>
          </p:cNvSpPr>
          <p:nvPr>
            <p:ph type="sldNum" sz="quarter" idx="11"/>
          </p:nvPr>
        </p:nvSpPr>
        <p:spPr/>
        <p:txBody>
          <a:bodyPr/>
          <a:lstStyle/>
          <a:p>
            <a:fld id="{9E8169F0-646E-455B-AF5A-6D6C02EAEAF6}" type="slidenum">
              <a:rPr lang="en-US" noProof="1" smtClean="0"/>
              <a:t>5</a:t>
            </a:fld>
            <a:endParaRPr lang="en-US" noProof="1"/>
          </a:p>
        </p:txBody>
      </p:sp>
      <p:sp>
        <p:nvSpPr>
          <p:cNvPr id="74" name="Title 5"/>
          <p:cNvSpPr txBox="1">
            <a:spLocks/>
          </p:cNvSpPr>
          <p:nvPr/>
        </p:nvSpPr>
        <p:spPr>
          <a:xfrm>
            <a:off x="270000" y="0"/>
            <a:ext cx="8679600" cy="702000"/>
          </a:xfrm>
          <a:prstGeom prst="rect">
            <a:avLst/>
          </a:prstGeom>
        </p:spPr>
        <p:txBody>
          <a:bodyPr vert="horz" lIns="0" tIns="0" rIns="0" bIns="0" rtlCol="0" anchor="ctr">
            <a:noAutofit/>
          </a:bodyPr>
          <a:lstStyle>
            <a:lvl1pPr algn="l" rtl="0" eaLnBrk="1" fontAlgn="base" hangingPunct="1">
              <a:spcBef>
                <a:spcPct val="0"/>
              </a:spcBef>
              <a:spcAft>
                <a:spcPct val="0"/>
              </a:spcAft>
              <a:defRPr lang="en-GB" sz="2400" b="1" kern="1200" noProof="0" dirty="0">
                <a:solidFill>
                  <a:schemeClr val="tx1"/>
                </a:solidFill>
                <a:latin typeface="+mj-lt"/>
                <a:ea typeface="+mj-ea"/>
                <a:cs typeface="Arial" panose="020B0604020202020204" pitchFamily="34" charset="0"/>
              </a:defRPr>
            </a:lvl1pPr>
            <a:lvl2pPr algn="ctr" rtl="0" eaLnBrk="1" fontAlgn="base" hangingPunct="1">
              <a:spcBef>
                <a:spcPct val="0"/>
              </a:spcBef>
              <a:spcAft>
                <a:spcPct val="0"/>
              </a:spcAft>
              <a:defRPr sz="3300">
                <a:solidFill>
                  <a:schemeClr val="tx1"/>
                </a:solidFill>
                <a:latin typeface="Arial" charset="0"/>
              </a:defRPr>
            </a:lvl2pPr>
            <a:lvl3pPr algn="ctr" rtl="0" eaLnBrk="1" fontAlgn="base" hangingPunct="1">
              <a:spcBef>
                <a:spcPct val="0"/>
              </a:spcBef>
              <a:spcAft>
                <a:spcPct val="0"/>
              </a:spcAft>
              <a:defRPr sz="3300">
                <a:solidFill>
                  <a:schemeClr val="tx1"/>
                </a:solidFill>
                <a:latin typeface="Arial" charset="0"/>
              </a:defRPr>
            </a:lvl3pPr>
            <a:lvl4pPr algn="ctr" rtl="0" eaLnBrk="1" fontAlgn="base" hangingPunct="1">
              <a:spcBef>
                <a:spcPct val="0"/>
              </a:spcBef>
              <a:spcAft>
                <a:spcPct val="0"/>
              </a:spcAft>
              <a:defRPr sz="3300">
                <a:solidFill>
                  <a:schemeClr val="tx1"/>
                </a:solidFill>
                <a:latin typeface="Arial" charset="0"/>
              </a:defRPr>
            </a:lvl4pPr>
            <a:lvl5pPr algn="ctr" rtl="0" eaLnBrk="1" fontAlgn="base" hangingPunct="1">
              <a:spcBef>
                <a:spcPct val="0"/>
              </a:spcBef>
              <a:spcAft>
                <a:spcPct val="0"/>
              </a:spcAft>
              <a:defRPr sz="3300">
                <a:solidFill>
                  <a:schemeClr val="tx1"/>
                </a:solidFill>
                <a:latin typeface="Arial" charset="0"/>
              </a:defRPr>
            </a:lvl5pPr>
            <a:lvl6pPr marL="342857" algn="ctr" rtl="0" eaLnBrk="1" fontAlgn="base" hangingPunct="1">
              <a:spcBef>
                <a:spcPct val="0"/>
              </a:spcBef>
              <a:spcAft>
                <a:spcPct val="0"/>
              </a:spcAft>
              <a:defRPr sz="3300">
                <a:solidFill>
                  <a:schemeClr val="tx1"/>
                </a:solidFill>
                <a:latin typeface="Arial" charset="0"/>
              </a:defRPr>
            </a:lvl6pPr>
            <a:lvl7pPr marL="685715" algn="ctr" rtl="0" eaLnBrk="1" fontAlgn="base" hangingPunct="1">
              <a:spcBef>
                <a:spcPct val="0"/>
              </a:spcBef>
              <a:spcAft>
                <a:spcPct val="0"/>
              </a:spcAft>
              <a:defRPr sz="3300">
                <a:solidFill>
                  <a:schemeClr val="tx1"/>
                </a:solidFill>
                <a:latin typeface="Arial" charset="0"/>
              </a:defRPr>
            </a:lvl7pPr>
            <a:lvl8pPr marL="1028572" algn="ctr" rtl="0" eaLnBrk="1" fontAlgn="base" hangingPunct="1">
              <a:spcBef>
                <a:spcPct val="0"/>
              </a:spcBef>
              <a:spcAft>
                <a:spcPct val="0"/>
              </a:spcAft>
              <a:defRPr sz="3300">
                <a:solidFill>
                  <a:schemeClr val="tx1"/>
                </a:solidFill>
                <a:latin typeface="Arial" charset="0"/>
              </a:defRPr>
            </a:lvl8pPr>
            <a:lvl9pPr marL="1371430" algn="ctr" rtl="0" eaLnBrk="1" fontAlgn="base" hangingPunct="1">
              <a:spcBef>
                <a:spcPct val="0"/>
              </a:spcBef>
              <a:spcAft>
                <a:spcPct val="0"/>
              </a:spcAft>
              <a:defRPr sz="3300">
                <a:solidFill>
                  <a:schemeClr val="tx1"/>
                </a:solidFill>
                <a:latin typeface="Arial" charset="0"/>
              </a:defRPr>
            </a:lvl9pPr>
          </a:lstStyle>
          <a:p>
            <a:pPr defTabSz="914400"/>
            <a:r>
              <a:rPr lang="en-US" dirty="0"/>
              <a:t>Introduction to DevOps concepts and philosophy</a:t>
            </a:r>
          </a:p>
        </p:txBody>
      </p:sp>
      <p:sp>
        <p:nvSpPr>
          <p:cNvPr id="11" name="Round Diagonal Corner Rectangle 10"/>
          <p:cNvSpPr/>
          <p:nvPr/>
        </p:nvSpPr>
        <p:spPr>
          <a:xfrm>
            <a:off x="687000" y="901687"/>
            <a:ext cx="7985732" cy="912991"/>
          </a:xfrm>
          <a:prstGeom prst="round2DiagRect">
            <a:avLst/>
          </a:prstGeom>
          <a:solidFill>
            <a:srgbClr val="D0EBF2"/>
          </a:solidFill>
        </p:spPr>
        <p:txBody>
          <a:bodyPr wrap="square" lIns="144000" tIns="0" rIns="0" bIns="0" anchor="ctr">
            <a:noAutofit/>
          </a:bodyPr>
          <a:lstStyle/>
          <a:p>
            <a:pPr defTabSz="179388">
              <a:defRPr/>
            </a:pPr>
            <a:r>
              <a:rPr lang="en-US" sz="1200" b="1" dirty="0"/>
              <a:t>What is DevOps</a:t>
            </a:r>
          </a:p>
          <a:p>
            <a:pPr defTabSz="179388">
              <a:defRPr/>
            </a:pPr>
            <a:endParaRPr lang="en-US" sz="400" b="1" dirty="0"/>
          </a:p>
          <a:p>
            <a:pPr defTabSz="179388">
              <a:defRPr/>
            </a:pPr>
            <a:r>
              <a:rPr lang="en-US" sz="1100" dirty="0"/>
              <a:t>DevOps is a combination of </a:t>
            </a:r>
            <a:r>
              <a:rPr lang="en-US" sz="1100" b="1" dirty="0"/>
              <a:t>cultural philosophies, practices and tools </a:t>
            </a:r>
            <a:r>
              <a:rPr lang="en-US" sz="1100" dirty="0"/>
              <a:t>to increase an organization’s </a:t>
            </a:r>
            <a:r>
              <a:rPr lang="en-US" sz="1100" b="1" dirty="0"/>
              <a:t>productivity</a:t>
            </a:r>
            <a:r>
              <a:rPr lang="en-US" sz="1100" dirty="0"/>
              <a:t> and increase </a:t>
            </a:r>
            <a:r>
              <a:rPr lang="en-US" sz="1100" b="1" dirty="0"/>
              <a:t>software quality, robustness and security</a:t>
            </a:r>
            <a:r>
              <a:rPr lang="en-US" sz="1100" dirty="0"/>
              <a:t>. DevOps is an </a:t>
            </a:r>
            <a:r>
              <a:rPr lang="en-US" sz="1100" b="1" dirty="0"/>
              <a:t>extension of agile </a:t>
            </a:r>
            <a:r>
              <a:rPr lang="en-US" sz="1100" dirty="0"/>
              <a:t>and its values</a:t>
            </a:r>
          </a:p>
        </p:txBody>
      </p:sp>
      <p:pic>
        <p:nvPicPr>
          <p:cNvPr id="84" name="Immagine 216" descr="31a biaco-01.png"/>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344624" y="901687"/>
            <a:ext cx="369474" cy="369474"/>
          </a:xfrm>
          <a:prstGeom prst="ellipse">
            <a:avLst/>
          </a:prstGeom>
          <a:solidFill>
            <a:srgbClr val="00AFD0"/>
          </a:solidFill>
          <a:ln w="28575">
            <a:solidFill>
              <a:schemeClr val="bg1"/>
            </a:solidFill>
          </a:ln>
        </p:spPr>
      </p:pic>
      <p:sp>
        <p:nvSpPr>
          <p:cNvPr id="34" name="Round Diagonal Corner Rectangle 10">
            <a:extLst>
              <a:ext uri="{FF2B5EF4-FFF2-40B4-BE49-F238E27FC236}">
                <a16:creationId xmlns:a16="http://schemas.microsoft.com/office/drawing/2014/main" id="{A2E3F395-DC0B-4A99-B339-FBDD08870F91}"/>
              </a:ext>
            </a:extLst>
          </p:cNvPr>
          <p:cNvSpPr/>
          <p:nvPr/>
        </p:nvSpPr>
        <p:spPr>
          <a:xfrm>
            <a:off x="686999" y="2007331"/>
            <a:ext cx="7985732" cy="1996465"/>
          </a:xfrm>
          <a:prstGeom prst="round2DiagRect">
            <a:avLst>
              <a:gd name="adj1" fmla="val 8551"/>
              <a:gd name="adj2" fmla="val 0"/>
            </a:avLst>
          </a:prstGeom>
          <a:solidFill>
            <a:srgbClr val="D0EBF2"/>
          </a:solidFill>
        </p:spPr>
        <p:txBody>
          <a:bodyPr wrap="square" lIns="144000" tIns="0" rIns="0" bIns="0" anchor="ctr">
            <a:normAutofit lnSpcReduction="10000"/>
          </a:bodyPr>
          <a:lstStyle/>
          <a:p>
            <a:pPr defTabSz="179388">
              <a:defRPr/>
            </a:pPr>
            <a:r>
              <a:rPr lang="en-US" sz="1200" b="1" dirty="0"/>
              <a:t>DevOps in UCS</a:t>
            </a:r>
          </a:p>
          <a:p>
            <a:pPr defTabSz="179388">
              <a:defRPr/>
            </a:pPr>
            <a:endParaRPr lang="en-US" sz="400" b="1" dirty="0"/>
          </a:p>
          <a:p>
            <a:pPr defTabSz="179388">
              <a:defRPr/>
            </a:pPr>
            <a:r>
              <a:rPr lang="en-US" sz="1100" dirty="0"/>
              <a:t>In UCS DevOps has started taking the current operating model at the end on 2019 as an additional piece of a global view that see </a:t>
            </a:r>
            <a:r>
              <a:rPr lang="en-US" sz="1100" b="1" dirty="0"/>
              <a:t>convergence with Agile permanent rooms</a:t>
            </a:r>
            <a:r>
              <a:rPr lang="en-US" sz="1100" dirty="0"/>
              <a:t>, the focus shifting from project to products, and OpenShift container infrastructure for which Automation is mandatory.</a:t>
            </a:r>
          </a:p>
          <a:p>
            <a:r>
              <a:rPr lang="en-US" sz="1100" dirty="0"/>
              <a:t>The Agile onboarding project </a:t>
            </a:r>
            <a:r>
              <a:rPr lang="en-US" sz="1100" b="1" dirty="0"/>
              <a:t>started in April 2020 </a:t>
            </a:r>
            <a:r>
              <a:rPr lang="en-US" sz="1100" dirty="0"/>
              <a:t>by </a:t>
            </a:r>
            <a:r>
              <a:rPr lang="en-US" sz="1100" b="1" dirty="0"/>
              <a:t>Global ICT Architecture </a:t>
            </a:r>
            <a:r>
              <a:rPr lang="en-US" sz="1100" dirty="0"/>
              <a:t>has three main pillars:</a:t>
            </a:r>
          </a:p>
          <a:p>
            <a:pPr marL="285750" lvl="0" indent="-285750">
              <a:buClr>
                <a:srgbClr val="FF061C"/>
              </a:buClr>
              <a:buFont typeface="Arial" panose="020B0604020202020204" pitchFamily="34" charset="0"/>
              <a:buChar char="•"/>
            </a:pPr>
            <a:r>
              <a:rPr lang="en-US" sz="1100" b="1" dirty="0"/>
              <a:t>Enhance quality</a:t>
            </a:r>
            <a:r>
              <a:rPr lang="en-US" sz="1100" dirty="0"/>
              <a:t>, starting for example from the resolution of high and critical Sonar issues </a:t>
            </a:r>
          </a:p>
          <a:p>
            <a:pPr marL="285750" lvl="0" indent="-285750">
              <a:buClr>
                <a:srgbClr val="FF061C"/>
              </a:buClr>
              <a:buFont typeface="Arial" panose="020B0604020202020204" pitchFamily="34" charset="0"/>
              <a:buChar char="•"/>
            </a:pPr>
            <a:r>
              <a:rPr lang="en-US" sz="1100" b="1" dirty="0"/>
              <a:t>Enhance security</a:t>
            </a:r>
            <a:r>
              <a:rPr lang="en-US" sz="1100" dirty="0"/>
              <a:t>, by upgrading known vulnerable libraries highlighted during OWASP checks</a:t>
            </a:r>
          </a:p>
          <a:p>
            <a:pPr marL="285750" lvl="0" indent="-285750">
              <a:buClr>
                <a:srgbClr val="FF061C"/>
              </a:buClr>
              <a:buFont typeface="Arial" panose="020B0604020202020204" pitchFamily="34" charset="0"/>
              <a:buChar char="•"/>
            </a:pPr>
            <a:r>
              <a:rPr lang="en-US" sz="1100" dirty="0"/>
              <a:t>Introduction of automation and CI/CD pipelines with a particular focus on </a:t>
            </a:r>
            <a:r>
              <a:rPr lang="en-US" sz="1100" b="1" dirty="0"/>
              <a:t>test automation </a:t>
            </a:r>
            <a:r>
              <a:rPr lang="en-US" sz="1100" dirty="0"/>
              <a:t>that requires the development of:</a:t>
            </a:r>
          </a:p>
          <a:p>
            <a:pPr marL="628650" lvl="1" indent="-285750">
              <a:buClr>
                <a:srgbClr val="FF061C"/>
              </a:buClr>
              <a:buFont typeface="Courier New" panose="02070309020205020404" pitchFamily="49" charset="0"/>
              <a:buChar char="o"/>
            </a:pPr>
            <a:r>
              <a:rPr lang="en-US" sz="1100" b="1" dirty="0"/>
              <a:t>Unit </a:t>
            </a:r>
            <a:r>
              <a:rPr lang="en-US" sz="1100" dirty="0"/>
              <a:t>testing</a:t>
            </a:r>
            <a:r>
              <a:rPr lang="en-US" sz="1100" b="1" dirty="0"/>
              <a:t> </a:t>
            </a:r>
            <a:r>
              <a:rPr lang="en-US" sz="1100" dirty="0"/>
              <a:t>for the new code</a:t>
            </a:r>
          </a:p>
          <a:p>
            <a:pPr marL="628650" lvl="1" indent="-285750">
              <a:buClr>
                <a:srgbClr val="FF061C"/>
              </a:buClr>
              <a:buFont typeface="Courier New" panose="02070309020205020404" pitchFamily="49" charset="0"/>
              <a:buChar char="o"/>
            </a:pPr>
            <a:r>
              <a:rPr lang="en-US" sz="1100" b="1" dirty="0"/>
              <a:t>Integration </a:t>
            </a:r>
            <a:r>
              <a:rPr lang="en-US" sz="1100" dirty="0"/>
              <a:t>testing</a:t>
            </a:r>
            <a:r>
              <a:rPr lang="en-US" sz="1100" b="1" dirty="0"/>
              <a:t> </a:t>
            </a:r>
            <a:r>
              <a:rPr lang="en-US" sz="1100" dirty="0"/>
              <a:t>of services exposed by the application</a:t>
            </a:r>
          </a:p>
          <a:p>
            <a:pPr marL="628650" lvl="1" indent="-285750">
              <a:buClr>
                <a:srgbClr val="FF061C"/>
              </a:buClr>
              <a:buFont typeface="Courier New" panose="02070309020205020404" pitchFamily="49" charset="0"/>
              <a:buChar char="o"/>
            </a:pPr>
            <a:r>
              <a:rPr lang="en-US" sz="1100" b="1" dirty="0"/>
              <a:t>E2E Selenium </a:t>
            </a:r>
            <a:r>
              <a:rPr lang="en-US" sz="1100" dirty="0"/>
              <a:t>tests</a:t>
            </a:r>
            <a:r>
              <a:rPr lang="en-US" sz="1100" b="1" dirty="0"/>
              <a:t> </a:t>
            </a:r>
            <a:r>
              <a:rPr lang="en-US" sz="1100" dirty="0"/>
              <a:t>that simulate user interaction with the FE of the application</a:t>
            </a:r>
            <a:endParaRPr lang="en-US" sz="1100" b="1" dirty="0"/>
          </a:p>
        </p:txBody>
      </p:sp>
      <p:pic>
        <p:nvPicPr>
          <p:cNvPr id="83" name="Immagine 68" descr="5a bianco-01.png"/>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344624" y="2105272"/>
            <a:ext cx="369474" cy="369474"/>
          </a:xfrm>
          <a:prstGeom prst="ellipse">
            <a:avLst/>
          </a:prstGeom>
          <a:solidFill>
            <a:srgbClr val="00AFD0"/>
          </a:solidFill>
          <a:ln w="28575">
            <a:solidFill>
              <a:schemeClr val="bg1"/>
            </a:solidFill>
          </a:ln>
        </p:spPr>
      </p:pic>
    </p:spTree>
    <p:extLst>
      <p:ext uri="{BB962C8B-B14F-4D97-AF65-F5344CB8AC3E}">
        <p14:creationId xmlns:p14="http://schemas.microsoft.com/office/powerpoint/2010/main" val="311387219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ggetto 1" hidden="1"/>
          <p:cNvGraphicFramePr>
            <a:graphicFrameLocks noChangeAspect="1"/>
          </p:cNvGraphicFramePr>
          <p:nvPr>
            <p:custDataLst>
              <p:tags r:id="rId2"/>
            </p:custDataLst>
            <p:extLst>
              <p:ext uri="{D42A27DB-BD31-4B8C-83A1-F6EECF244321}">
                <p14:modId xmlns:p14="http://schemas.microsoft.com/office/powerpoint/2010/main" val="3002049834"/>
              </p:ext>
            </p:extLst>
          </p:nvPr>
        </p:nvGraphicFramePr>
        <p:xfrm>
          <a:off x="1144121" y="1136"/>
          <a:ext cx="1120" cy="1134"/>
        </p:xfrm>
        <a:graphic>
          <a:graphicData uri="http://schemas.openxmlformats.org/presentationml/2006/ole">
            <mc:AlternateContent xmlns:mc="http://schemas.openxmlformats.org/markup-compatibility/2006">
              <mc:Choice xmlns:v="urn:schemas-microsoft-com:vml" Requires="v">
                <p:oleObj spid="_x0000_s5212" name="think-cell Slide" r:id="rId5" imgW="270" imgH="270" progId="TCLayout.ActiveDocument.1">
                  <p:embed/>
                </p:oleObj>
              </mc:Choice>
              <mc:Fallback>
                <p:oleObj name="think-cell Slide" r:id="rId5" imgW="270" imgH="270" progId="TCLayout.ActiveDocument.1">
                  <p:embed/>
                  <p:pic>
                    <p:nvPicPr>
                      <p:cNvPr id="2" name="Oggetto 1" hidden="1"/>
                      <p:cNvPicPr/>
                      <p:nvPr/>
                    </p:nvPicPr>
                    <p:blipFill>
                      <a:blip r:embed="rId6"/>
                      <a:stretch>
                        <a:fillRect/>
                      </a:stretch>
                    </p:blipFill>
                    <p:spPr>
                      <a:xfrm>
                        <a:off x="1144121" y="1136"/>
                        <a:ext cx="1120" cy="1134"/>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8FF840ED-A52B-4E9A-A021-7DD3279E36D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2400" b="1" dirty="0">
              <a:latin typeface="UniCredit" panose="02000506040000020004" pitchFamily="2" charset="0"/>
              <a:ea typeface="+mj-ea"/>
              <a:cs typeface="Arial" panose="020B0604020202020204" pitchFamily="34" charset="0"/>
              <a:sym typeface="UniCredit" panose="02000506040000020004" pitchFamily="2" charset="0"/>
            </a:endParaRPr>
          </a:p>
        </p:txBody>
      </p:sp>
      <p:sp>
        <p:nvSpPr>
          <p:cNvPr id="14" name="Rectangle: Diagonal Corners Rounded 13">
            <a:extLst>
              <a:ext uri="{FF2B5EF4-FFF2-40B4-BE49-F238E27FC236}">
                <a16:creationId xmlns:a16="http://schemas.microsoft.com/office/drawing/2014/main" id="{B3F9977E-E1D2-4D19-A30F-19EC9BB90B2D}"/>
              </a:ext>
            </a:extLst>
          </p:cNvPr>
          <p:cNvSpPr/>
          <p:nvPr/>
        </p:nvSpPr>
        <p:spPr>
          <a:xfrm>
            <a:off x="1221923" y="3644290"/>
            <a:ext cx="6587729" cy="586196"/>
          </a:xfrm>
          <a:prstGeom prst="round2Diag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it-IT" sz="1013" b="1" dirty="0"/>
              <a:t>Tech </a:t>
            </a:r>
            <a:r>
              <a:rPr lang="it-IT" sz="1013" b="1" dirty="0" err="1"/>
              <a:t>Constraints</a:t>
            </a:r>
            <a:endParaRPr lang="it-IT" sz="1013" b="1" dirty="0"/>
          </a:p>
        </p:txBody>
      </p:sp>
      <p:sp>
        <p:nvSpPr>
          <p:cNvPr id="5" name="Rectangle: Diagonal Corners Rounded 4">
            <a:extLst>
              <a:ext uri="{FF2B5EF4-FFF2-40B4-BE49-F238E27FC236}">
                <a16:creationId xmlns:a16="http://schemas.microsoft.com/office/drawing/2014/main" id="{1325FABA-7002-4855-BF33-EE1E8F642ED9}"/>
              </a:ext>
            </a:extLst>
          </p:cNvPr>
          <p:cNvSpPr/>
          <p:nvPr/>
        </p:nvSpPr>
        <p:spPr>
          <a:xfrm>
            <a:off x="1222519" y="1478757"/>
            <a:ext cx="6587729" cy="627169"/>
          </a:xfrm>
          <a:prstGeom prst="round2Diag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it-IT" sz="1013" b="1" dirty="0"/>
              <a:t>Definition</a:t>
            </a:r>
          </a:p>
        </p:txBody>
      </p:sp>
      <p:sp>
        <p:nvSpPr>
          <p:cNvPr id="10" name="Rectangle: Diagonal Corners Rounded 9">
            <a:extLst>
              <a:ext uri="{FF2B5EF4-FFF2-40B4-BE49-F238E27FC236}">
                <a16:creationId xmlns:a16="http://schemas.microsoft.com/office/drawing/2014/main" id="{67717A8A-7CEB-4D47-9204-B5C3A2A72035}"/>
              </a:ext>
            </a:extLst>
          </p:cNvPr>
          <p:cNvSpPr/>
          <p:nvPr/>
        </p:nvSpPr>
        <p:spPr>
          <a:xfrm>
            <a:off x="1221923" y="2227916"/>
            <a:ext cx="6587729" cy="586196"/>
          </a:xfrm>
          <a:prstGeom prst="round2Diag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it-IT" sz="1013" b="1" dirty="0"/>
              <a:t>Budget</a:t>
            </a:r>
          </a:p>
        </p:txBody>
      </p:sp>
      <p:sp>
        <p:nvSpPr>
          <p:cNvPr id="11" name="Rectangle: Diagonal Corners Rounded 10">
            <a:extLst>
              <a:ext uri="{FF2B5EF4-FFF2-40B4-BE49-F238E27FC236}">
                <a16:creationId xmlns:a16="http://schemas.microsoft.com/office/drawing/2014/main" id="{C39A4AAB-5DE4-432F-ADE3-A429A5353CDF}"/>
              </a:ext>
            </a:extLst>
          </p:cNvPr>
          <p:cNvSpPr/>
          <p:nvPr/>
        </p:nvSpPr>
        <p:spPr>
          <a:xfrm>
            <a:off x="1221923" y="2936103"/>
            <a:ext cx="6587729" cy="586196"/>
          </a:xfrm>
          <a:prstGeom prst="round2Diag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it-IT" sz="1013" b="1" dirty="0"/>
              <a:t>Timeline</a:t>
            </a:r>
          </a:p>
        </p:txBody>
      </p:sp>
      <p:grpSp>
        <p:nvGrpSpPr>
          <p:cNvPr id="12" name="Group 11">
            <a:extLst>
              <a:ext uri="{FF2B5EF4-FFF2-40B4-BE49-F238E27FC236}">
                <a16:creationId xmlns:a16="http://schemas.microsoft.com/office/drawing/2014/main" id="{A33439A2-ABF9-4D25-B2A9-CDB18FE6365E}"/>
              </a:ext>
            </a:extLst>
          </p:cNvPr>
          <p:cNvGrpSpPr/>
          <p:nvPr/>
        </p:nvGrpSpPr>
        <p:grpSpPr>
          <a:xfrm>
            <a:off x="4327162" y="913015"/>
            <a:ext cx="1522233" cy="3455360"/>
            <a:chOff x="1637481" y="1354275"/>
            <a:chExt cx="1610544" cy="4838700"/>
          </a:xfrm>
        </p:grpSpPr>
        <p:sp>
          <p:nvSpPr>
            <p:cNvPr id="3" name="Rectangle 2">
              <a:extLst>
                <a:ext uri="{FF2B5EF4-FFF2-40B4-BE49-F238E27FC236}">
                  <a16:creationId xmlns:a16="http://schemas.microsoft.com/office/drawing/2014/main" id="{6E01652D-5308-41D4-9F56-B67550C10F07}"/>
                </a:ext>
              </a:extLst>
            </p:cNvPr>
            <p:cNvSpPr/>
            <p:nvPr/>
          </p:nvSpPr>
          <p:spPr>
            <a:xfrm>
              <a:off x="1637481" y="1354275"/>
              <a:ext cx="1610544" cy="4838700"/>
            </a:xfrm>
            <a:prstGeom prst="round2DiagRect">
              <a:avLst>
                <a:gd name="adj1" fmla="val 7701"/>
                <a:gd name="adj2" fmla="val 0"/>
              </a:avLst>
            </a:prstGeom>
            <a:ln/>
          </p:spPr>
          <p:style>
            <a:lnRef idx="2">
              <a:schemeClr val="accent2"/>
            </a:lnRef>
            <a:fillRef idx="1">
              <a:schemeClr val="lt1"/>
            </a:fillRef>
            <a:effectRef idx="0">
              <a:schemeClr val="accent2"/>
            </a:effectRef>
            <a:fontRef idx="minor">
              <a:schemeClr val="dk1"/>
            </a:fontRef>
          </p:style>
          <p:txBody>
            <a:bodyPr tIns="684000" rtlCol="0" anchor="t" anchorCtr="0"/>
            <a:lstStyle/>
            <a:p>
              <a:r>
                <a:rPr lang="it-IT" sz="1000" dirty="0"/>
                <a:t>New application </a:t>
              </a:r>
              <a:r>
                <a:rPr lang="it-IT" sz="1000" dirty="0" err="1"/>
                <a:t>using</a:t>
              </a:r>
              <a:r>
                <a:rPr lang="it-IT" sz="1000" dirty="0"/>
                <a:t> </a:t>
              </a:r>
              <a:r>
                <a:rPr lang="it-IT" sz="1000" dirty="0" err="1"/>
                <a:t>current</a:t>
              </a:r>
              <a:r>
                <a:rPr lang="it-IT" sz="1000" dirty="0"/>
                <a:t> UCS standards tech stack</a:t>
              </a:r>
            </a:p>
            <a:p>
              <a:endParaRPr lang="it-IT" sz="1000" dirty="0"/>
            </a:p>
            <a:p>
              <a:endParaRPr lang="it-IT" sz="1000" dirty="0"/>
            </a:p>
            <a:p>
              <a:r>
                <a:rPr lang="it-IT" sz="1000" dirty="0"/>
                <a:t>Paid by the application</a:t>
              </a:r>
            </a:p>
            <a:p>
              <a:endParaRPr lang="it-IT" sz="1000" dirty="0"/>
            </a:p>
            <a:p>
              <a:endParaRPr lang="it-IT" sz="1000" dirty="0"/>
            </a:p>
            <a:p>
              <a:endParaRPr lang="it-IT" sz="1000" dirty="0"/>
            </a:p>
            <a:p>
              <a:r>
                <a:rPr lang="it-IT" sz="1000" dirty="0"/>
                <a:t>Starting from 2020, tools will be rolled-out month by month</a:t>
              </a:r>
            </a:p>
            <a:p>
              <a:endParaRPr lang="it-IT" sz="1000" dirty="0"/>
            </a:p>
            <a:p>
              <a:endParaRPr lang="it-IT" sz="1000" dirty="0"/>
            </a:p>
            <a:p>
              <a:r>
                <a:rPr lang="it-IT" sz="1000" dirty="0"/>
                <a:t>Git, Java, Maven, Gandalf Deploy</a:t>
              </a:r>
            </a:p>
          </p:txBody>
        </p:sp>
        <p:sp>
          <p:nvSpPr>
            <p:cNvPr id="9" name="Rectangle 8">
              <a:extLst>
                <a:ext uri="{FF2B5EF4-FFF2-40B4-BE49-F238E27FC236}">
                  <a16:creationId xmlns:a16="http://schemas.microsoft.com/office/drawing/2014/main" id="{9BE631E6-D120-4FB5-8062-72C0D0969771}"/>
                </a:ext>
              </a:extLst>
            </p:cNvPr>
            <p:cNvSpPr/>
            <p:nvPr/>
          </p:nvSpPr>
          <p:spPr>
            <a:xfrm>
              <a:off x="1733550" y="1459713"/>
              <a:ext cx="1419225" cy="463912"/>
            </a:xfrm>
            <a:prstGeom prst="round2Diag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013" b="1" dirty="0"/>
                <a:t>Self Onboarded</a:t>
              </a:r>
            </a:p>
          </p:txBody>
        </p:sp>
      </p:grpSp>
      <p:grpSp>
        <p:nvGrpSpPr>
          <p:cNvPr id="17" name="Group 16">
            <a:extLst>
              <a:ext uri="{FF2B5EF4-FFF2-40B4-BE49-F238E27FC236}">
                <a16:creationId xmlns:a16="http://schemas.microsoft.com/office/drawing/2014/main" id="{4CF4A1C1-A1C2-4D23-98B3-BDFBC9FD6CF4}"/>
              </a:ext>
            </a:extLst>
          </p:cNvPr>
          <p:cNvGrpSpPr/>
          <p:nvPr/>
        </p:nvGrpSpPr>
        <p:grpSpPr>
          <a:xfrm>
            <a:off x="6164224" y="913015"/>
            <a:ext cx="1522233" cy="3455360"/>
            <a:chOff x="4275906" y="1354275"/>
            <a:chExt cx="1610544" cy="4838700"/>
          </a:xfrm>
        </p:grpSpPr>
        <p:sp>
          <p:nvSpPr>
            <p:cNvPr id="6" name="Rectangle 5">
              <a:extLst>
                <a:ext uri="{FF2B5EF4-FFF2-40B4-BE49-F238E27FC236}">
                  <a16:creationId xmlns:a16="http://schemas.microsoft.com/office/drawing/2014/main" id="{4CC8FA9B-6602-481A-B1FA-DF123871DBD7}"/>
                </a:ext>
              </a:extLst>
            </p:cNvPr>
            <p:cNvSpPr/>
            <p:nvPr/>
          </p:nvSpPr>
          <p:spPr>
            <a:xfrm>
              <a:off x="4275906" y="1354275"/>
              <a:ext cx="1610544" cy="4838700"/>
            </a:xfrm>
            <a:prstGeom prst="round2DiagRect">
              <a:avLst>
                <a:gd name="adj1" fmla="val 5908"/>
                <a:gd name="adj2" fmla="val 0"/>
              </a:avLst>
            </a:prstGeom>
            <a:ln/>
          </p:spPr>
          <p:style>
            <a:lnRef idx="2">
              <a:schemeClr val="accent2"/>
            </a:lnRef>
            <a:fillRef idx="1">
              <a:schemeClr val="lt1"/>
            </a:fillRef>
            <a:effectRef idx="0">
              <a:schemeClr val="accent2"/>
            </a:effectRef>
            <a:fontRef idx="minor">
              <a:schemeClr val="dk1"/>
            </a:fontRef>
          </p:style>
          <p:txBody>
            <a:bodyPr tIns="684000" rtlCol="0" anchor="t" anchorCtr="0"/>
            <a:lstStyle/>
            <a:p>
              <a:r>
                <a:rPr lang="it-IT" sz="1000" dirty="0"/>
                <a:t>New application </a:t>
              </a:r>
              <a:r>
                <a:rPr lang="it-IT" sz="1000" dirty="0" err="1"/>
                <a:t>using</a:t>
              </a:r>
              <a:r>
                <a:rPr lang="it-IT" sz="1000" dirty="0"/>
                <a:t> to</a:t>
              </a:r>
              <a:r>
                <a:rPr lang="it-IT" sz="1000" b="1" dirty="0"/>
                <a:t> </a:t>
              </a:r>
              <a:r>
                <a:rPr lang="it-IT" sz="1000" dirty="0"/>
                <a:t>be UCS standards</a:t>
              </a:r>
            </a:p>
            <a:p>
              <a:endParaRPr lang="it-IT" sz="1000" dirty="0"/>
            </a:p>
            <a:p>
              <a:endParaRPr lang="it-IT" sz="1000" dirty="0"/>
            </a:p>
            <a:p>
              <a:endParaRPr lang="it-IT" sz="1000" dirty="0"/>
            </a:p>
            <a:p>
              <a:r>
                <a:rPr lang="it-IT" sz="1000" dirty="0"/>
                <a:t>Paid by the application</a:t>
              </a:r>
            </a:p>
            <a:p>
              <a:endParaRPr lang="it-IT" sz="1000" dirty="0"/>
            </a:p>
            <a:p>
              <a:endParaRPr lang="it-IT" sz="1000" dirty="0"/>
            </a:p>
            <a:p>
              <a:endParaRPr lang="it-IT" sz="1000" dirty="0"/>
            </a:p>
            <a:p>
              <a:r>
                <a:rPr lang="it-IT" sz="1000" dirty="0"/>
                <a:t>TBD, direct agreement with DevOps team</a:t>
              </a:r>
            </a:p>
            <a:p>
              <a:endParaRPr lang="it-IT" sz="1000" dirty="0"/>
            </a:p>
            <a:p>
              <a:endParaRPr lang="it-IT" sz="1000" dirty="0"/>
            </a:p>
            <a:p>
              <a:endParaRPr lang="it-IT" sz="1000" dirty="0"/>
            </a:p>
            <a:p>
              <a:r>
                <a:rPr lang="it-IT" sz="1000" dirty="0"/>
                <a:t>OK from Architecture on the tech stack</a:t>
              </a:r>
            </a:p>
          </p:txBody>
        </p:sp>
        <p:sp>
          <p:nvSpPr>
            <p:cNvPr id="13" name="Rectangle 12">
              <a:extLst>
                <a:ext uri="{FF2B5EF4-FFF2-40B4-BE49-F238E27FC236}">
                  <a16:creationId xmlns:a16="http://schemas.microsoft.com/office/drawing/2014/main" id="{D1AA2533-756B-4876-9B02-CE1985E3D393}"/>
                </a:ext>
              </a:extLst>
            </p:cNvPr>
            <p:cNvSpPr/>
            <p:nvPr/>
          </p:nvSpPr>
          <p:spPr>
            <a:xfrm>
              <a:off x="4371565" y="1459713"/>
              <a:ext cx="1419225" cy="463912"/>
            </a:xfrm>
            <a:prstGeom prst="round2Diag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013" b="1" dirty="0"/>
                <a:t>TOBE DevOps</a:t>
              </a:r>
            </a:p>
          </p:txBody>
        </p:sp>
      </p:grpSp>
      <p:grpSp>
        <p:nvGrpSpPr>
          <p:cNvPr id="18" name="Group 17">
            <a:extLst>
              <a:ext uri="{FF2B5EF4-FFF2-40B4-BE49-F238E27FC236}">
                <a16:creationId xmlns:a16="http://schemas.microsoft.com/office/drawing/2014/main" id="{89521721-C935-474D-8450-D9F48F308A1C}"/>
              </a:ext>
            </a:extLst>
          </p:cNvPr>
          <p:cNvGrpSpPr/>
          <p:nvPr/>
        </p:nvGrpSpPr>
        <p:grpSpPr>
          <a:xfrm>
            <a:off x="2490100" y="916616"/>
            <a:ext cx="1583757" cy="3455360"/>
            <a:chOff x="6666680" y="1354275"/>
            <a:chExt cx="1610544" cy="4838700"/>
          </a:xfrm>
        </p:grpSpPr>
        <p:sp>
          <p:nvSpPr>
            <p:cNvPr id="7" name="Rectangle 6">
              <a:extLst>
                <a:ext uri="{FF2B5EF4-FFF2-40B4-BE49-F238E27FC236}">
                  <a16:creationId xmlns:a16="http://schemas.microsoft.com/office/drawing/2014/main" id="{A10C9F96-52B5-4956-9ECF-FCDC88C232E1}"/>
                </a:ext>
              </a:extLst>
            </p:cNvPr>
            <p:cNvSpPr/>
            <p:nvPr/>
          </p:nvSpPr>
          <p:spPr>
            <a:xfrm>
              <a:off x="6666680" y="1354275"/>
              <a:ext cx="1610544" cy="4838700"/>
            </a:xfrm>
            <a:prstGeom prst="round2DiagRect">
              <a:avLst>
                <a:gd name="adj1" fmla="val 5460"/>
                <a:gd name="adj2" fmla="val 0"/>
              </a:avLst>
            </a:prstGeom>
            <a:ln/>
          </p:spPr>
          <p:style>
            <a:lnRef idx="2">
              <a:schemeClr val="accent2"/>
            </a:lnRef>
            <a:fillRef idx="1">
              <a:schemeClr val="lt1"/>
            </a:fillRef>
            <a:effectRef idx="0">
              <a:schemeClr val="accent2"/>
            </a:effectRef>
            <a:fontRef idx="minor">
              <a:schemeClr val="dk1"/>
            </a:fontRef>
          </p:style>
          <p:txBody>
            <a:bodyPr tIns="684000" rtlCol="0" anchor="t" anchorCtr="0"/>
            <a:lstStyle/>
            <a:p>
              <a:r>
                <a:rPr lang="it-IT" sz="1000" dirty="0"/>
                <a:t>Already running application</a:t>
              </a:r>
            </a:p>
            <a:p>
              <a:endParaRPr lang="it-IT" sz="1000" dirty="0"/>
            </a:p>
            <a:p>
              <a:endParaRPr lang="it-IT" sz="1000" dirty="0"/>
            </a:p>
            <a:p>
              <a:r>
                <a:rPr lang="it-IT" sz="1000" dirty="0"/>
                <a:t>Paid by DevOps BC, savings to be guaranteed by application</a:t>
              </a:r>
            </a:p>
            <a:p>
              <a:endParaRPr lang="it-IT" sz="1000" dirty="0"/>
            </a:p>
            <a:p>
              <a:endParaRPr lang="it-IT" sz="1000" dirty="0"/>
            </a:p>
            <a:p>
              <a:r>
                <a:rPr lang="it-IT" sz="1000" dirty="0"/>
                <a:t>Starting from Q1 2020, according to the onboarding plan</a:t>
              </a:r>
            </a:p>
            <a:p>
              <a:endParaRPr lang="it-IT" sz="1000" dirty="0"/>
            </a:p>
            <a:p>
              <a:endParaRPr lang="it-IT" sz="1000" dirty="0"/>
            </a:p>
            <a:p>
              <a:r>
                <a:rPr lang="it-IT" sz="1000" dirty="0"/>
                <a:t>Java, Maven, API enabled Deploy target</a:t>
              </a:r>
            </a:p>
          </p:txBody>
        </p:sp>
        <p:sp>
          <p:nvSpPr>
            <p:cNvPr id="15" name="Rectangle 14">
              <a:extLst>
                <a:ext uri="{FF2B5EF4-FFF2-40B4-BE49-F238E27FC236}">
                  <a16:creationId xmlns:a16="http://schemas.microsoft.com/office/drawing/2014/main" id="{C6C38BB3-D477-4EAA-9464-A3365462F067}"/>
                </a:ext>
              </a:extLst>
            </p:cNvPr>
            <p:cNvSpPr/>
            <p:nvPr/>
          </p:nvSpPr>
          <p:spPr>
            <a:xfrm>
              <a:off x="6762340" y="1459713"/>
              <a:ext cx="1419225" cy="463912"/>
            </a:xfrm>
            <a:prstGeom prst="round2Diag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013" b="1" dirty="0">
                  <a:solidFill>
                    <a:schemeClr val="tx1"/>
                  </a:solidFill>
                </a:rPr>
                <a:t>Brown Field</a:t>
              </a:r>
            </a:p>
          </p:txBody>
        </p:sp>
      </p:grpSp>
      <p:sp>
        <p:nvSpPr>
          <p:cNvPr id="4" name="Title 3">
            <a:extLst>
              <a:ext uri="{FF2B5EF4-FFF2-40B4-BE49-F238E27FC236}">
                <a16:creationId xmlns:a16="http://schemas.microsoft.com/office/drawing/2014/main" id="{54632427-3512-47BA-B319-279F4B9AC66D}"/>
              </a:ext>
            </a:extLst>
          </p:cNvPr>
          <p:cNvSpPr>
            <a:spLocks noGrp="1"/>
          </p:cNvSpPr>
          <p:nvPr>
            <p:ph type="title"/>
          </p:nvPr>
        </p:nvSpPr>
        <p:spPr/>
        <p:txBody>
          <a:bodyPr/>
          <a:lstStyle/>
          <a:p>
            <a:r>
              <a:rPr lang="en-GB" altLang="en-US" dirty="0">
                <a:cs typeface="Arial"/>
              </a:rPr>
              <a:t>DevOps – Onboarding options and constraints</a:t>
            </a:r>
            <a:endParaRPr lang="de-DE" dirty="0"/>
          </a:p>
        </p:txBody>
      </p:sp>
      <p:sp>
        <p:nvSpPr>
          <p:cNvPr id="21" name="Text Placeholder 20">
            <a:extLst>
              <a:ext uri="{FF2B5EF4-FFF2-40B4-BE49-F238E27FC236}">
                <a16:creationId xmlns:a16="http://schemas.microsoft.com/office/drawing/2014/main" id="{E8E78F61-CD8D-4F59-9063-34546491173C}"/>
              </a:ext>
            </a:extLst>
          </p:cNvPr>
          <p:cNvSpPr>
            <a:spLocks noGrp="1"/>
          </p:cNvSpPr>
          <p:nvPr>
            <p:ph type="body" sz="quarter" idx="15"/>
          </p:nvPr>
        </p:nvSpPr>
        <p:spPr/>
        <p:txBody>
          <a:bodyPr/>
          <a:lstStyle/>
          <a:p>
            <a:endParaRPr lang="de-DE" dirty="0"/>
          </a:p>
        </p:txBody>
      </p:sp>
      <p:sp>
        <p:nvSpPr>
          <p:cNvPr id="24" name="Slide Number Placeholder 3">
            <a:extLst>
              <a:ext uri="{FF2B5EF4-FFF2-40B4-BE49-F238E27FC236}">
                <a16:creationId xmlns:a16="http://schemas.microsoft.com/office/drawing/2014/main" id="{8B7FF8B9-BBBA-41B3-B63B-10F3743CD8C5}"/>
              </a:ext>
            </a:extLst>
          </p:cNvPr>
          <p:cNvSpPr>
            <a:spLocks noGrp="1"/>
          </p:cNvSpPr>
          <p:nvPr>
            <p:ph type="sldNum" sz="quarter" idx="11"/>
          </p:nvPr>
        </p:nvSpPr>
        <p:spPr>
          <a:xfrm>
            <a:off x="270000" y="4604400"/>
            <a:ext cx="270000" cy="360000"/>
          </a:xfrm>
        </p:spPr>
        <p:txBody>
          <a:bodyPr/>
          <a:lstStyle/>
          <a:p>
            <a:fld id="{9E8169F0-646E-455B-AF5A-6D6C02EAEAF6}" type="slidenum">
              <a:rPr lang="en-US" noProof="1" smtClean="0"/>
              <a:t>6</a:t>
            </a:fld>
            <a:endParaRPr lang="en-US" noProof="1"/>
          </a:p>
        </p:txBody>
      </p:sp>
    </p:spTree>
    <p:extLst>
      <p:ext uri="{BB962C8B-B14F-4D97-AF65-F5344CB8AC3E}">
        <p14:creationId xmlns:p14="http://schemas.microsoft.com/office/powerpoint/2010/main" val="187348993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232" name="think-cell Slide" r:id="rId10" imgW="395" imgH="394" progId="TCLayout.ActiveDocument.1">
                  <p:embed/>
                </p:oleObj>
              </mc:Choice>
              <mc:Fallback>
                <p:oleObj name="think-cell Slide" r:id="rId10" imgW="395" imgH="394" progId="TCLayout.ActiveDocument.1">
                  <p:embed/>
                  <p:pic>
                    <p:nvPicPr>
                      <p:cNvPr id="7" name="Object 6" hidden="1"/>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62" name="Rectangle 6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UniCredit" panose="02000506040000020004" pitchFamily="2" charset="0"/>
              <a:ea typeface="+mj-ea"/>
              <a:cs typeface="Arial" panose="020B0604020202020204" pitchFamily="34" charset="0"/>
              <a:sym typeface="UniCredit" panose="02000506040000020004" pitchFamily="2" charset="0"/>
            </a:endParaRPr>
          </a:p>
        </p:txBody>
      </p:sp>
      <p:sp>
        <p:nvSpPr>
          <p:cNvPr id="89" name="In progress">
            <a:extLst>
              <a:ext uri="{FF2B5EF4-FFF2-40B4-BE49-F238E27FC236}">
                <a16:creationId xmlns:a16="http://schemas.microsoft.com/office/drawing/2014/main" id="{A38100CB-437F-4D63-AC64-3F07C598B6C4}"/>
              </a:ext>
            </a:extLst>
          </p:cNvPr>
          <p:cNvSpPr/>
          <p:nvPr/>
        </p:nvSpPr>
        <p:spPr>
          <a:xfrm>
            <a:off x="3795966" y="1814930"/>
            <a:ext cx="5092040" cy="2051198"/>
          </a:xfrm>
          <a:custGeom>
            <a:avLst/>
            <a:gdLst>
              <a:gd name="connsiteX0" fmla="*/ 0 w 8248851"/>
              <a:gd name="connsiteY0" fmla="*/ 0 h 2445088"/>
              <a:gd name="connsiteX1" fmla="*/ 2030931 w 8248851"/>
              <a:gd name="connsiteY1" fmla="*/ 221382 h 2445088"/>
              <a:gd name="connsiteX2" fmla="*/ 1087655 w 8248851"/>
              <a:gd name="connsiteY2" fmla="*/ 779647 h 2445088"/>
              <a:gd name="connsiteX3" fmla="*/ 3676851 w 8248851"/>
              <a:gd name="connsiteY3" fmla="*/ 558266 h 2445088"/>
              <a:gd name="connsiteX4" fmla="*/ 3147461 w 8248851"/>
              <a:gd name="connsiteY4" fmla="*/ 2387066 h 2445088"/>
              <a:gd name="connsiteX5" fmla="*/ 5852160 w 8248851"/>
              <a:gd name="connsiteY5" fmla="*/ 2021306 h 2445088"/>
              <a:gd name="connsiteX6" fmla="*/ 8248851 w 8248851"/>
              <a:gd name="connsiteY6" fmla="*/ 2348565 h 2445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48851" h="2445088">
                <a:moveTo>
                  <a:pt x="0" y="0"/>
                </a:moveTo>
                <a:cubicBezTo>
                  <a:pt x="924827" y="45720"/>
                  <a:pt x="1849655" y="91441"/>
                  <a:pt x="2030931" y="221382"/>
                </a:cubicBezTo>
                <a:cubicBezTo>
                  <a:pt x="2212207" y="351323"/>
                  <a:pt x="813335" y="723500"/>
                  <a:pt x="1087655" y="779647"/>
                </a:cubicBezTo>
                <a:cubicBezTo>
                  <a:pt x="1361975" y="835794"/>
                  <a:pt x="3333550" y="290363"/>
                  <a:pt x="3676851" y="558266"/>
                </a:cubicBezTo>
                <a:cubicBezTo>
                  <a:pt x="4020152" y="826169"/>
                  <a:pt x="2784910" y="2143226"/>
                  <a:pt x="3147461" y="2387066"/>
                </a:cubicBezTo>
                <a:cubicBezTo>
                  <a:pt x="3510013" y="2630906"/>
                  <a:pt x="5001928" y="2027723"/>
                  <a:pt x="5852160" y="2021306"/>
                </a:cubicBezTo>
                <a:cubicBezTo>
                  <a:pt x="6702392" y="2014889"/>
                  <a:pt x="7475621" y="2181727"/>
                  <a:pt x="8248851" y="2348565"/>
                </a:cubicBezTo>
              </a:path>
            </a:pathLst>
          </a:custGeom>
          <a:noFill/>
          <a:ln w="76200">
            <a:solidFill>
              <a:schemeClr val="bg2"/>
            </a:solidFill>
            <a:tailEnd type="stealt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 name="Rechteck 28">
            <a:extLst>
              <a:ext uri="{FF2B5EF4-FFF2-40B4-BE49-F238E27FC236}">
                <a16:creationId xmlns:a16="http://schemas.microsoft.com/office/drawing/2014/main" id="{0A906E72-C338-481E-B5B6-3781424302CC}"/>
              </a:ext>
            </a:extLst>
          </p:cNvPr>
          <p:cNvSpPr/>
          <p:nvPr>
            <p:custDataLst>
              <p:tags r:id="rId4"/>
            </p:custDataLst>
          </p:nvPr>
        </p:nvSpPr>
        <p:spPr bwMode="gray">
          <a:xfrm>
            <a:off x="3367185" y="1924246"/>
            <a:ext cx="1525245" cy="400554"/>
          </a:xfrm>
          <a:prstGeom prst="rect">
            <a:avLst/>
          </a:prstGeom>
          <a:solidFill>
            <a:schemeClr val="bg1">
              <a:lumMod val="95000"/>
            </a:schemeClr>
          </a:solidFill>
          <a:ln w="19050">
            <a:solidFill>
              <a:schemeClr val="bg1">
                <a:lumMod val="95000"/>
              </a:schemeClr>
            </a:solidFill>
            <a:miter lim="800000"/>
          </a:ln>
          <a:effectLst/>
        </p:spPr>
        <p:txBody>
          <a:bodyPr wrap="square" lIns="36000" tIns="36000" rIns="0" bIns="0" numCol="1" spcCol="72000" rtlCol="0" anchor="t" anchorCtr="0">
            <a:spAutoFit/>
          </a:bodyPr>
          <a:lstStyle/>
          <a:p>
            <a:pPr marL="171450" indent="-171450">
              <a:spcBef>
                <a:spcPts val="200"/>
              </a:spcBef>
              <a:buFont typeface="Arial" panose="020B0604020202020204" pitchFamily="34" charset="0"/>
              <a:buChar char="•"/>
              <a:tabLst>
                <a:tab pos="941314" algn="r"/>
              </a:tabLst>
            </a:pPr>
            <a:r>
              <a:rPr lang="en-US" altLang="de-DE" sz="1100" dirty="0"/>
              <a:t>DevOps env. Setup</a:t>
            </a:r>
          </a:p>
          <a:p>
            <a:pPr marL="171450" indent="-171450">
              <a:spcBef>
                <a:spcPts val="200"/>
              </a:spcBef>
              <a:buFont typeface="Arial" panose="020B0604020202020204" pitchFamily="34" charset="0"/>
              <a:buChar char="•"/>
              <a:tabLst>
                <a:tab pos="941314" algn="r"/>
              </a:tabLst>
            </a:pPr>
            <a:r>
              <a:rPr lang="en-US" altLang="de-DE" sz="1100" dirty="0"/>
              <a:t>UB5 onboarding start</a:t>
            </a:r>
          </a:p>
        </p:txBody>
      </p:sp>
      <p:sp>
        <p:nvSpPr>
          <p:cNvPr id="90" name="Until today" hidden="1">
            <a:extLst>
              <a:ext uri="{FF2B5EF4-FFF2-40B4-BE49-F238E27FC236}">
                <a16:creationId xmlns:a16="http://schemas.microsoft.com/office/drawing/2014/main" id="{273D8B1A-BF34-42C2-8955-F24111586CEC}"/>
              </a:ext>
            </a:extLst>
          </p:cNvPr>
          <p:cNvSpPr/>
          <p:nvPr/>
        </p:nvSpPr>
        <p:spPr>
          <a:xfrm>
            <a:off x="3795966" y="1814930"/>
            <a:ext cx="5092040" cy="2051198"/>
          </a:xfrm>
          <a:custGeom>
            <a:avLst/>
            <a:gdLst>
              <a:gd name="connsiteX0" fmla="*/ 0 w 8248851"/>
              <a:gd name="connsiteY0" fmla="*/ 0 h 2445088"/>
              <a:gd name="connsiteX1" fmla="*/ 2030931 w 8248851"/>
              <a:gd name="connsiteY1" fmla="*/ 221382 h 2445088"/>
              <a:gd name="connsiteX2" fmla="*/ 1087655 w 8248851"/>
              <a:gd name="connsiteY2" fmla="*/ 779647 h 2445088"/>
              <a:gd name="connsiteX3" fmla="*/ 3676851 w 8248851"/>
              <a:gd name="connsiteY3" fmla="*/ 558266 h 2445088"/>
              <a:gd name="connsiteX4" fmla="*/ 3147461 w 8248851"/>
              <a:gd name="connsiteY4" fmla="*/ 2387066 h 2445088"/>
              <a:gd name="connsiteX5" fmla="*/ 5852160 w 8248851"/>
              <a:gd name="connsiteY5" fmla="*/ 2021306 h 2445088"/>
              <a:gd name="connsiteX6" fmla="*/ 8248851 w 8248851"/>
              <a:gd name="connsiteY6" fmla="*/ 2348565 h 2445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48851" h="2445088">
                <a:moveTo>
                  <a:pt x="0" y="0"/>
                </a:moveTo>
                <a:cubicBezTo>
                  <a:pt x="924827" y="45720"/>
                  <a:pt x="1849655" y="91441"/>
                  <a:pt x="2030931" y="221382"/>
                </a:cubicBezTo>
                <a:cubicBezTo>
                  <a:pt x="2212207" y="351323"/>
                  <a:pt x="813335" y="723500"/>
                  <a:pt x="1087655" y="779647"/>
                </a:cubicBezTo>
                <a:cubicBezTo>
                  <a:pt x="1361975" y="835794"/>
                  <a:pt x="3333550" y="290363"/>
                  <a:pt x="3676851" y="558266"/>
                </a:cubicBezTo>
                <a:cubicBezTo>
                  <a:pt x="4020152" y="826169"/>
                  <a:pt x="2784910" y="2143226"/>
                  <a:pt x="3147461" y="2387066"/>
                </a:cubicBezTo>
                <a:cubicBezTo>
                  <a:pt x="3510013" y="2630906"/>
                  <a:pt x="5001928" y="2027723"/>
                  <a:pt x="5852160" y="2021306"/>
                </a:cubicBezTo>
                <a:cubicBezTo>
                  <a:pt x="6702392" y="2014889"/>
                  <a:pt x="7475621" y="2181727"/>
                  <a:pt x="8248851" y="2348565"/>
                </a:cubicBezTo>
              </a:path>
            </a:pathLst>
          </a:custGeom>
          <a:noFill/>
          <a:ln w="76200">
            <a:solidFill>
              <a:schemeClr val="accent3">
                <a:lumMod val="20000"/>
                <a:lumOff val="80000"/>
              </a:schemeClr>
            </a:solidFill>
            <a:tailEnd type="stealt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white - to start" hidden="1">
            <a:extLst>
              <a:ext uri="{FF2B5EF4-FFF2-40B4-BE49-F238E27FC236}">
                <a16:creationId xmlns:a16="http://schemas.microsoft.com/office/drawing/2014/main" id="{E01244DE-63F1-4DDC-A688-52FF5C731294}"/>
              </a:ext>
            </a:extLst>
          </p:cNvPr>
          <p:cNvSpPr/>
          <p:nvPr/>
        </p:nvSpPr>
        <p:spPr>
          <a:xfrm>
            <a:off x="3367185" y="1329047"/>
            <a:ext cx="3858145" cy="19783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9" name="Completed" hidden="1"/>
          <p:cNvSpPr/>
          <p:nvPr/>
        </p:nvSpPr>
        <p:spPr>
          <a:xfrm>
            <a:off x="3795966" y="1814930"/>
            <a:ext cx="5092040" cy="2051198"/>
          </a:xfrm>
          <a:custGeom>
            <a:avLst/>
            <a:gdLst>
              <a:gd name="connsiteX0" fmla="*/ 0 w 8248851"/>
              <a:gd name="connsiteY0" fmla="*/ 0 h 2445088"/>
              <a:gd name="connsiteX1" fmla="*/ 2030931 w 8248851"/>
              <a:gd name="connsiteY1" fmla="*/ 221382 h 2445088"/>
              <a:gd name="connsiteX2" fmla="*/ 1087655 w 8248851"/>
              <a:gd name="connsiteY2" fmla="*/ 779647 h 2445088"/>
              <a:gd name="connsiteX3" fmla="*/ 3676851 w 8248851"/>
              <a:gd name="connsiteY3" fmla="*/ 558266 h 2445088"/>
              <a:gd name="connsiteX4" fmla="*/ 3147461 w 8248851"/>
              <a:gd name="connsiteY4" fmla="*/ 2387066 h 2445088"/>
              <a:gd name="connsiteX5" fmla="*/ 5852160 w 8248851"/>
              <a:gd name="connsiteY5" fmla="*/ 2021306 h 2445088"/>
              <a:gd name="connsiteX6" fmla="*/ 8248851 w 8248851"/>
              <a:gd name="connsiteY6" fmla="*/ 2348565 h 2445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48851" h="2445088">
                <a:moveTo>
                  <a:pt x="0" y="0"/>
                </a:moveTo>
                <a:cubicBezTo>
                  <a:pt x="924827" y="45720"/>
                  <a:pt x="1849655" y="91441"/>
                  <a:pt x="2030931" y="221382"/>
                </a:cubicBezTo>
                <a:cubicBezTo>
                  <a:pt x="2212207" y="351323"/>
                  <a:pt x="813335" y="723500"/>
                  <a:pt x="1087655" y="779647"/>
                </a:cubicBezTo>
                <a:cubicBezTo>
                  <a:pt x="1361975" y="835794"/>
                  <a:pt x="3333550" y="290363"/>
                  <a:pt x="3676851" y="558266"/>
                </a:cubicBezTo>
                <a:cubicBezTo>
                  <a:pt x="4020152" y="826169"/>
                  <a:pt x="2784910" y="2143226"/>
                  <a:pt x="3147461" y="2387066"/>
                </a:cubicBezTo>
                <a:cubicBezTo>
                  <a:pt x="3510013" y="2630906"/>
                  <a:pt x="5001928" y="2027723"/>
                  <a:pt x="5852160" y="2021306"/>
                </a:cubicBezTo>
                <a:cubicBezTo>
                  <a:pt x="6702392" y="2014889"/>
                  <a:pt x="7475621" y="2181727"/>
                  <a:pt x="8248851" y="2348565"/>
                </a:cubicBezTo>
              </a:path>
            </a:pathLst>
          </a:custGeom>
          <a:noFill/>
          <a:ln w="76200">
            <a:solidFill>
              <a:schemeClr val="accent3">
                <a:lumMod val="75000"/>
              </a:schemeClr>
            </a:solidFill>
            <a:tailEnd type="stealt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1" name="white - future" hidden="1">
            <a:extLst>
              <a:ext uri="{FF2B5EF4-FFF2-40B4-BE49-F238E27FC236}">
                <a16:creationId xmlns:a16="http://schemas.microsoft.com/office/drawing/2014/main" id="{610338EB-5797-4478-B589-31874D14B843}"/>
              </a:ext>
            </a:extLst>
          </p:cNvPr>
          <p:cNvSpPr/>
          <p:nvPr/>
        </p:nvSpPr>
        <p:spPr>
          <a:xfrm>
            <a:off x="5345723" y="3313723"/>
            <a:ext cx="3596203" cy="10135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1"/>
          </p:nvPr>
        </p:nvSpPr>
        <p:spPr/>
        <p:txBody>
          <a:bodyPr/>
          <a:lstStyle/>
          <a:p>
            <a:fld id="{9E8169F0-646E-455B-AF5A-6D6C02EAEAF6}" type="slidenum">
              <a:rPr lang="en-US" noProof="1" smtClean="0"/>
              <a:t>7</a:t>
            </a:fld>
            <a:endParaRPr lang="en-US" noProof="1"/>
          </a:p>
        </p:txBody>
      </p:sp>
      <p:sp>
        <p:nvSpPr>
          <p:cNvPr id="9" name="Speech Bubble: Rectangle 7">
            <a:extLst>
              <a:ext uri="{FF2B5EF4-FFF2-40B4-BE49-F238E27FC236}">
                <a16:creationId xmlns:a16="http://schemas.microsoft.com/office/drawing/2014/main" id="{FC0AE853-B231-4D8B-99ED-2CF5823787EB}"/>
              </a:ext>
            </a:extLst>
          </p:cNvPr>
          <p:cNvSpPr/>
          <p:nvPr/>
        </p:nvSpPr>
        <p:spPr>
          <a:xfrm>
            <a:off x="250825" y="950913"/>
            <a:ext cx="3004355" cy="326579"/>
          </a:xfrm>
          <a:prstGeom prst="round2DiagRect">
            <a:avLst/>
          </a:prstGeom>
          <a:gradFill flip="none" rotWithShape="1">
            <a:gsLst>
              <a:gs pos="1000">
                <a:schemeClr val="accent2"/>
              </a:gs>
              <a:gs pos="26000">
                <a:schemeClr val="accent1"/>
              </a:gs>
            </a:gsLst>
            <a:lin ang="0" scaled="1"/>
            <a:tileRect/>
          </a:gradFill>
          <a:ln w="25400" cap="flat" cmpd="sng" algn="ctr">
            <a:noFill/>
            <a:prstDash val="solid"/>
          </a:ln>
          <a:effectLst/>
        </p:spPr>
        <p:txBody>
          <a:bodyPr anchor="ctr"/>
          <a:lstStyle/>
          <a:p>
            <a:pPr algn="ctr"/>
            <a:r>
              <a:rPr lang="en-US" b="1" kern="0" dirty="0">
                <a:solidFill>
                  <a:schemeClr val="bg1"/>
                </a:solidFill>
              </a:rPr>
              <a:t>DevOps Onboarding</a:t>
            </a:r>
          </a:p>
        </p:txBody>
      </p:sp>
      <p:sp>
        <p:nvSpPr>
          <p:cNvPr id="34" name="Round Diagonal Corner Rectangle 33"/>
          <p:cNvSpPr/>
          <p:nvPr/>
        </p:nvSpPr>
        <p:spPr>
          <a:xfrm>
            <a:off x="3367343" y="950913"/>
            <a:ext cx="5523436" cy="323175"/>
          </a:xfrm>
          <a:prstGeom prst="round2DiagRect">
            <a:avLst>
              <a:gd name="adj1" fmla="val 23605"/>
              <a:gd name="adj2"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b="1" dirty="0">
                <a:solidFill>
                  <a:schemeClr val="tx1"/>
                </a:solidFill>
              </a:rPr>
              <a:t>DevOps adoption on Credit Origination ICT assets</a:t>
            </a:r>
          </a:p>
        </p:txBody>
      </p:sp>
      <p:sp>
        <p:nvSpPr>
          <p:cNvPr id="37" name="Arc 36"/>
          <p:cNvSpPr/>
          <p:nvPr/>
        </p:nvSpPr>
        <p:spPr>
          <a:xfrm rot="12531563">
            <a:off x="3672702" y="1452280"/>
            <a:ext cx="798217" cy="315607"/>
          </a:xfrm>
          <a:prstGeom prst="arc">
            <a:avLst>
              <a:gd name="adj1" fmla="val 16200000"/>
              <a:gd name="adj2" fmla="val 21047230"/>
            </a:avLst>
          </a:prstGeom>
          <a:noFill/>
          <a:ln w="76200">
            <a:solidFill>
              <a:schemeClr val="bg1">
                <a:lumMod val="85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lt1"/>
              </a:solidFill>
            </a:endParaRPr>
          </a:p>
        </p:txBody>
      </p:sp>
      <p:sp>
        <p:nvSpPr>
          <p:cNvPr id="40" name="Rettangolo con angoli arrotondati in diagonale 102"/>
          <p:cNvSpPr/>
          <p:nvPr/>
        </p:nvSpPr>
        <p:spPr>
          <a:xfrm>
            <a:off x="3795966" y="1717575"/>
            <a:ext cx="712536" cy="212925"/>
          </a:xfrm>
          <a:prstGeom prst="rect">
            <a:avLst/>
          </a:prstGeom>
          <a:solidFill>
            <a:srgbClr val="E2001A"/>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nchorCtr="0"/>
          <a:lstStyle/>
          <a:p>
            <a:r>
              <a:rPr lang="en-US" altLang="de-DE" sz="1100" b="1" dirty="0">
                <a:ea typeface="Arial Unicode MS"/>
              </a:rPr>
              <a:t>May ‘20</a:t>
            </a:r>
            <a:endParaRPr lang="en-US" altLang="de-DE" sz="1100" dirty="0">
              <a:ea typeface="Arial Unicode MS"/>
            </a:endParaRPr>
          </a:p>
        </p:txBody>
      </p:sp>
      <p:sp>
        <p:nvSpPr>
          <p:cNvPr id="41" name="Oval 40"/>
          <p:cNvSpPr/>
          <p:nvPr/>
        </p:nvSpPr>
        <p:spPr>
          <a:xfrm>
            <a:off x="4456463" y="1712420"/>
            <a:ext cx="223532" cy="223532"/>
          </a:xfrm>
          <a:prstGeom prst="ellipse">
            <a:avLst/>
          </a:prstGeom>
          <a:solidFill>
            <a:srgbClr val="FFFFFF"/>
          </a:solidFill>
          <a:ln w="57150">
            <a:solidFill>
              <a:srgbClr val="E2001A"/>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600" b="1" dirty="0">
              <a:solidFill>
                <a:schemeClr val="accent1"/>
              </a:solidFill>
            </a:endParaRPr>
          </a:p>
        </p:txBody>
      </p:sp>
      <p:sp>
        <p:nvSpPr>
          <p:cNvPr id="44" name="Rettangolo con angoli arrotondati in diagonale 102"/>
          <p:cNvSpPr/>
          <p:nvPr/>
        </p:nvSpPr>
        <p:spPr>
          <a:xfrm>
            <a:off x="4758615" y="3148975"/>
            <a:ext cx="1049830" cy="212925"/>
          </a:xfrm>
          <a:prstGeom prst="rect">
            <a:avLst/>
          </a:prstGeom>
          <a:solidFill>
            <a:srgbClr val="E2001A"/>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nchorCtr="0"/>
          <a:lstStyle/>
          <a:p>
            <a:r>
              <a:rPr lang="en-US" sz="1200" b="1" dirty="0">
                <a:solidFill>
                  <a:schemeClr val="bg1"/>
                </a:solidFill>
              </a:rPr>
              <a:t>November ‘20</a:t>
            </a:r>
          </a:p>
        </p:txBody>
      </p:sp>
      <p:sp>
        <p:nvSpPr>
          <p:cNvPr id="45" name="Oval 44"/>
          <p:cNvSpPr/>
          <p:nvPr/>
        </p:nvSpPr>
        <p:spPr>
          <a:xfrm>
            <a:off x="5701242" y="3138368"/>
            <a:ext cx="223532" cy="223532"/>
          </a:xfrm>
          <a:prstGeom prst="ellipse">
            <a:avLst/>
          </a:prstGeom>
          <a:solidFill>
            <a:srgbClr val="FFFFFF"/>
          </a:solidFill>
          <a:ln w="57150">
            <a:solidFill>
              <a:srgbClr val="E2001A"/>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600" b="1" dirty="0">
              <a:solidFill>
                <a:schemeClr val="accent1"/>
              </a:solidFill>
            </a:endParaRPr>
          </a:p>
        </p:txBody>
      </p:sp>
      <p:sp>
        <p:nvSpPr>
          <p:cNvPr id="52" name="Rettangolo con angoli arrotondati in diagonale 102"/>
          <p:cNvSpPr/>
          <p:nvPr/>
        </p:nvSpPr>
        <p:spPr>
          <a:xfrm>
            <a:off x="5610163" y="2159125"/>
            <a:ext cx="664193" cy="212925"/>
          </a:xfrm>
          <a:prstGeom prst="rect">
            <a:avLst/>
          </a:prstGeom>
          <a:solidFill>
            <a:srgbClr val="E2001A"/>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nchorCtr="0"/>
          <a:lstStyle/>
          <a:p>
            <a:pPr algn="r"/>
            <a:r>
              <a:rPr lang="en-US" altLang="de-DE" sz="1200" b="1" dirty="0">
                <a:ea typeface="Arial Unicode MS"/>
              </a:rPr>
              <a:t>July ‘20</a:t>
            </a:r>
            <a:endParaRPr lang="en-US" altLang="de-DE" sz="1200" dirty="0">
              <a:ea typeface="Arial Unicode MS"/>
            </a:endParaRPr>
          </a:p>
        </p:txBody>
      </p:sp>
      <p:sp>
        <p:nvSpPr>
          <p:cNvPr id="61" name="Title 5"/>
          <p:cNvSpPr>
            <a:spLocks noGrp="1"/>
          </p:cNvSpPr>
          <p:nvPr>
            <p:ph type="title"/>
          </p:nvPr>
        </p:nvSpPr>
        <p:spPr>
          <a:xfrm>
            <a:off x="270000" y="0"/>
            <a:ext cx="8874000" cy="702000"/>
          </a:xfrm>
        </p:spPr>
        <p:txBody>
          <a:bodyPr vert="horz" lIns="0" tIns="0" rIns="0" bIns="0" rtlCol="0" anchor="ctr">
            <a:noAutofit/>
          </a:bodyPr>
          <a:lstStyle/>
          <a:p>
            <a:r>
              <a:rPr lang="en-US" dirty="0">
                <a:cs typeface="Arial"/>
              </a:rPr>
              <a:t>MyCredit 2020 road map for brown field DevOps onboardings</a:t>
            </a:r>
          </a:p>
        </p:txBody>
      </p:sp>
      <p:cxnSp>
        <p:nvCxnSpPr>
          <p:cNvPr id="67" name="Straight Connector 66"/>
          <p:cNvCxnSpPr/>
          <p:nvPr/>
        </p:nvCxnSpPr>
        <p:spPr>
          <a:xfrm flipH="1">
            <a:off x="3239681" y="1068528"/>
            <a:ext cx="0" cy="3330281"/>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pic>
        <p:nvPicPr>
          <p:cNvPr id="57" name="Immagine 133" descr="Sustainability circle-01.png"/>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95068" y="889846"/>
            <a:ext cx="439200" cy="439200"/>
          </a:xfrm>
          <a:prstGeom prst="ellipse">
            <a:avLst/>
          </a:prstGeom>
          <a:solidFill>
            <a:srgbClr val="E2001A"/>
          </a:solidFill>
          <a:ln w="19050">
            <a:solidFill>
              <a:schemeClr val="bg1"/>
            </a:solidFill>
          </a:ln>
        </p:spPr>
      </p:pic>
      <p:sp>
        <p:nvSpPr>
          <p:cNvPr id="63" name="Rechteck 28">
            <a:extLst>
              <a:ext uri="{FF2B5EF4-FFF2-40B4-BE49-F238E27FC236}">
                <a16:creationId xmlns:a16="http://schemas.microsoft.com/office/drawing/2014/main" id="{42DF5C1C-F972-452A-848B-91855FFFAE6C}"/>
              </a:ext>
            </a:extLst>
          </p:cNvPr>
          <p:cNvSpPr/>
          <p:nvPr>
            <p:custDataLst>
              <p:tags r:id="rId5"/>
            </p:custDataLst>
          </p:nvPr>
        </p:nvSpPr>
        <p:spPr bwMode="gray">
          <a:xfrm>
            <a:off x="5607754" y="2379138"/>
            <a:ext cx="1457628" cy="205629"/>
          </a:xfrm>
          <a:prstGeom prst="rect">
            <a:avLst/>
          </a:prstGeom>
          <a:solidFill>
            <a:schemeClr val="bg1">
              <a:lumMod val="95000"/>
            </a:schemeClr>
          </a:solidFill>
          <a:ln w="19050">
            <a:solidFill>
              <a:schemeClr val="bg1">
                <a:lumMod val="95000"/>
              </a:schemeClr>
            </a:solidFill>
            <a:miter lim="800000"/>
          </a:ln>
          <a:effectLst/>
        </p:spPr>
        <p:txBody>
          <a:bodyPr wrap="square" lIns="36000" tIns="36000" rIns="0" bIns="0" numCol="1" spcCol="72000" rtlCol="0" anchor="t" anchorCtr="0">
            <a:spAutoFit/>
          </a:bodyPr>
          <a:lstStyle/>
          <a:p>
            <a:pPr marL="171450" indent="-171450">
              <a:spcBef>
                <a:spcPts val="200"/>
              </a:spcBef>
              <a:buFont typeface="Arial" panose="020B0604020202020204" pitchFamily="34" charset="0"/>
              <a:buChar char="•"/>
              <a:tabLst>
                <a:tab pos="941314" algn="r"/>
              </a:tabLst>
              <a:defRPr/>
            </a:pPr>
            <a:r>
              <a:rPr lang="en-US" sz="1100" dirty="0"/>
              <a:t>UB4 onboarding start</a:t>
            </a:r>
            <a:endParaRPr lang="en-US" altLang="de-DE" sz="1100" dirty="0">
              <a:latin typeface="+mj-lt"/>
              <a:ea typeface="Arial Unicode MS"/>
            </a:endParaRPr>
          </a:p>
        </p:txBody>
      </p:sp>
      <p:sp>
        <p:nvSpPr>
          <p:cNvPr id="53" name="Oval 52"/>
          <p:cNvSpPr/>
          <p:nvPr/>
        </p:nvSpPr>
        <p:spPr>
          <a:xfrm>
            <a:off x="5413518" y="2157054"/>
            <a:ext cx="223532" cy="223532"/>
          </a:xfrm>
          <a:prstGeom prst="ellipse">
            <a:avLst/>
          </a:prstGeom>
          <a:solidFill>
            <a:srgbClr val="FFFFFF"/>
          </a:solidFill>
          <a:ln w="57150">
            <a:solidFill>
              <a:srgbClr val="E2001A"/>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600" b="1" dirty="0">
              <a:solidFill>
                <a:schemeClr val="accent1"/>
              </a:solidFill>
            </a:endParaRPr>
          </a:p>
        </p:txBody>
      </p:sp>
      <p:sp>
        <p:nvSpPr>
          <p:cNvPr id="64" name="Rechteck 28">
            <a:extLst>
              <a:ext uri="{FF2B5EF4-FFF2-40B4-BE49-F238E27FC236}">
                <a16:creationId xmlns:a16="http://schemas.microsoft.com/office/drawing/2014/main" id="{FDED6618-0692-4A1F-9B91-99F14F4A7759}"/>
              </a:ext>
            </a:extLst>
          </p:cNvPr>
          <p:cNvSpPr/>
          <p:nvPr>
            <p:custDataLst>
              <p:tags r:id="rId6"/>
            </p:custDataLst>
          </p:nvPr>
        </p:nvSpPr>
        <p:spPr bwMode="gray">
          <a:xfrm>
            <a:off x="4778524" y="3366929"/>
            <a:ext cx="1561498" cy="205629"/>
          </a:xfrm>
          <a:prstGeom prst="rect">
            <a:avLst/>
          </a:prstGeom>
          <a:solidFill>
            <a:schemeClr val="bg1">
              <a:lumMod val="95000"/>
            </a:schemeClr>
          </a:solidFill>
          <a:ln w="19050">
            <a:solidFill>
              <a:schemeClr val="bg1">
                <a:lumMod val="95000"/>
              </a:schemeClr>
            </a:solidFill>
            <a:miter lim="800000"/>
          </a:ln>
          <a:effectLst/>
        </p:spPr>
        <p:txBody>
          <a:bodyPr wrap="square" lIns="36000" tIns="36000" rIns="0" bIns="0" numCol="1" spcCol="72000" rtlCol="0" anchor="t" anchorCtr="0">
            <a:spAutoFit/>
          </a:bodyPr>
          <a:lstStyle/>
          <a:p>
            <a:pPr marL="171450" indent="-171450" defTabSz="685800" eaLnBrk="1" fontAlgn="auto" hangingPunct="1">
              <a:spcBef>
                <a:spcPts val="200"/>
              </a:spcBef>
              <a:spcAft>
                <a:spcPts val="0"/>
              </a:spcAft>
              <a:buFont typeface="Arial" panose="020B0604020202020204" pitchFamily="34" charset="0"/>
              <a:buChar char="•"/>
              <a:tabLst>
                <a:tab pos="941314" algn="r"/>
              </a:tabLst>
              <a:defRPr/>
            </a:pPr>
            <a:r>
              <a:rPr lang="en-US" altLang="de-DE" sz="1100" dirty="0">
                <a:latin typeface="+mj-lt"/>
                <a:ea typeface="Arial Unicode MS"/>
              </a:rPr>
              <a:t>UB1 onboarding start</a:t>
            </a:r>
          </a:p>
        </p:txBody>
      </p:sp>
      <p:sp>
        <p:nvSpPr>
          <p:cNvPr id="2" name="Oval 1">
            <a:extLst>
              <a:ext uri="{FF2B5EF4-FFF2-40B4-BE49-F238E27FC236}">
                <a16:creationId xmlns:a16="http://schemas.microsoft.com/office/drawing/2014/main" id="{098BA5C5-166D-4675-BF7D-A1A5ED75FEEC}"/>
              </a:ext>
            </a:extLst>
          </p:cNvPr>
          <p:cNvSpPr/>
          <p:nvPr/>
        </p:nvSpPr>
        <p:spPr>
          <a:xfrm>
            <a:off x="5870259" y="2853714"/>
            <a:ext cx="144000" cy="144000"/>
          </a:xfrm>
          <a:prstGeom prst="ellipse">
            <a:avLst/>
          </a:prstGeom>
          <a:solidFill>
            <a:srgbClr val="E2001A"/>
          </a:solidFill>
          <a:ln>
            <a:solidFill>
              <a:srgbClr val="E2001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Rechteck 28">
            <a:extLst>
              <a:ext uri="{FF2B5EF4-FFF2-40B4-BE49-F238E27FC236}">
                <a16:creationId xmlns:a16="http://schemas.microsoft.com/office/drawing/2014/main" id="{6F652EC3-7163-4A46-B28D-F1393D080848}"/>
              </a:ext>
            </a:extLst>
          </p:cNvPr>
          <p:cNvSpPr/>
          <p:nvPr>
            <p:custDataLst>
              <p:tags r:id="rId7"/>
            </p:custDataLst>
          </p:nvPr>
        </p:nvSpPr>
        <p:spPr bwMode="gray">
          <a:xfrm flipH="1">
            <a:off x="6014809" y="2820818"/>
            <a:ext cx="650426" cy="216000"/>
          </a:xfrm>
          <a:prstGeom prst="homePlate">
            <a:avLst/>
          </a:prstGeom>
          <a:solidFill>
            <a:schemeClr val="accent2"/>
          </a:solidFill>
          <a:ln w="19050">
            <a:solidFill>
              <a:schemeClr val="accent2"/>
            </a:solidFill>
            <a:miter lim="800000"/>
          </a:ln>
          <a:effectLst/>
        </p:spPr>
        <p:txBody>
          <a:bodyPr wrap="square" lIns="0" tIns="0" rIns="0" bIns="0" numCol="1" spcCol="72000" rtlCol="0" anchor="ctr" anchorCtr="0">
            <a:noAutofit/>
          </a:bodyPr>
          <a:lstStyle/>
          <a:p>
            <a:pPr algn="ctr">
              <a:spcBef>
                <a:spcPts val="200"/>
              </a:spcBef>
              <a:tabLst>
                <a:tab pos="941314" algn="r"/>
              </a:tabLst>
              <a:defRPr/>
            </a:pPr>
            <a:r>
              <a:rPr lang="en-US" sz="1100" b="1" dirty="0"/>
              <a:t>Today</a:t>
            </a:r>
            <a:endParaRPr lang="en-US" altLang="de-DE" sz="1100" b="1" dirty="0">
              <a:latin typeface="+mj-lt"/>
              <a:ea typeface="Arial Unicode MS"/>
            </a:endParaRPr>
          </a:p>
        </p:txBody>
      </p:sp>
      <p:sp>
        <p:nvSpPr>
          <p:cNvPr id="43" name="Content Placeholder 4">
            <a:extLst>
              <a:ext uri="{FF2B5EF4-FFF2-40B4-BE49-F238E27FC236}">
                <a16:creationId xmlns:a16="http://schemas.microsoft.com/office/drawing/2014/main" id="{E3A627CA-6355-41CA-A810-7AFF41107539}"/>
              </a:ext>
            </a:extLst>
          </p:cNvPr>
          <p:cNvSpPr>
            <a:spLocks noGrp="1"/>
          </p:cNvSpPr>
          <p:nvPr>
            <p:ph sz="quarter" idx="15"/>
          </p:nvPr>
        </p:nvSpPr>
        <p:spPr>
          <a:xfrm>
            <a:off x="269875" y="1577958"/>
            <a:ext cx="2744729" cy="2680841"/>
          </a:xfrm>
        </p:spPr>
        <p:txBody>
          <a:bodyPr>
            <a:normAutofit fontScale="85000" lnSpcReduction="10000"/>
          </a:bodyPr>
          <a:lstStyle/>
          <a:p>
            <a:pPr>
              <a:spcBef>
                <a:spcPts val="1200"/>
              </a:spcBef>
            </a:pPr>
            <a:r>
              <a:rPr lang="en-US" dirty="0"/>
              <a:t>At the beginning of May 2020 </a:t>
            </a:r>
            <a:r>
              <a:rPr lang="en-US" b="1" dirty="0"/>
              <a:t>UB5 “Easy Loan”</a:t>
            </a:r>
            <a:r>
              <a:rPr lang="en-US" dirty="0"/>
              <a:t> onboarding started alongside the setup of the environments for automation testing and the design of the pipelines and </a:t>
            </a:r>
            <a:r>
              <a:rPr lang="en-US" dirty="0" err="1"/>
              <a:t>framewoks</a:t>
            </a:r>
            <a:endParaRPr lang="en-US" dirty="0"/>
          </a:p>
          <a:p>
            <a:pPr>
              <a:spcBef>
                <a:spcPts val="1200"/>
              </a:spcBef>
            </a:pPr>
            <a:r>
              <a:rPr lang="en-US" dirty="0"/>
              <a:t>We’re currently in the 3</a:t>
            </a:r>
            <a:r>
              <a:rPr lang="en-US" baseline="30000" dirty="0"/>
              <a:t>rd</a:t>
            </a:r>
            <a:r>
              <a:rPr lang="en-US" dirty="0"/>
              <a:t> sprint of the onboarding of the second application </a:t>
            </a:r>
            <a:r>
              <a:rPr lang="en-US" b="1" dirty="0"/>
              <a:t>UB4 MyCredit Small Business</a:t>
            </a:r>
          </a:p>
          <a:p>
            <a:pPr>
              <a:spcBef>
                <a:spcPts val="1200"/>
              </a:spcBef>
            </a:pPr>
            <a:r>
              <a:rPr lang="en-US" dirty="0"/>
              <a:t>Next we’ll onboard </a:t>
            </a:r>
            <a:r>
              <a:rPr lang="en-US" b="1" dirty="0"/>
              <a:t>UB1</a:t>
            </a:r>
            <a:r>
              <a:rPr lang="en-US" dirty="0"/>
              <a:t>, the common part of MyCredit, from beginning of November</a:t>
            </a:r>
          </a:p>
          <a:p>
            <a:pPr>
              <a:spcBef>
                <a:spcPts val="1200"/>
              </a:spcBef>
            </a:pPr>
            <a:endParaRPr lang="en-US" dirty="0"/>
          </a:p>
          <a:p>
            <a:pPr marL="0" indent="0">
              <a:spcBef>
                <a:spcPts val="1200"/>
              </a:spcBef>
              <a:buNone/>
            </a:pPr>
            <a:endParaRPr lang="en-US" dirty="0"/>
          </a:p>
        </p:txBody>
      </p:sp>
    </p:spTree>
    <p:extLst>
      <p:ext uri="{BB962C8B-B14F-4D97-AF65-F5344CB8AC3E}">
        <p14:creationId xmlns:p14="http://schemas.microsoft.com/office/powerpoint/2010/main" val="403999968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Object 34" hidden="1">
            <a:extLst>
              <a:ext uri="{FF2B5EF4-FFF2-40B4-BE49-F238E27FC236}">
                <a16:creationId xmlns:a16="http://schemas.microsoft.com/office/drawing/2014/main" id="{4C781002-2313-4803-A01A-071A6AB2FB9B}"/>
              </a:ext>
            </a:extLst>
          </p:cNvPr>
          <p:cNvGraphicFramePr>
            <a:graphicFrameLocks noChangeAspect="1"/>
          </p:cNvGraphicFramePr>
          <p:nvPr>
            <p:custDataLst>
              <p:tags r:id="rId2"/>
            </p:custDataLst>
            <p:extLst>
              <p:ext uri="{D42A27DB-BD31-4B8C-83A1-F6EECF244321}">
                <p14:modId xmlns:p14="http://schemas.microsoft.com/office/powerpoint/2010/main" val="15354908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977"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6" name="Rectangle 35" hidden="1">
            <a:extLst>
              <a:ext uri="{FF2B5EF4-FFF2-40B4-BE49-F238E27FC236}">
                <a16:creationId xmlns:a16="http://schemas.microsoft.com/office/drawing/2014/main" id="{1F08D6A1-39DF-43FB-878F-188581D16D3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UniCredit" panose="02000506040000020004" pitchFamily="2" charset="0"/>
              <a:ea typeface="+mj-ea"/>
              <a:cs typeface="Arial" panose="020B0604020202020204" pitchFamily="34" charset="0"/>
              <a:sym typeface="UniCredit" panose="02000506040000020004" pitchFamily="2" charset="0"/>
            </a:endParaRPr>
          </a:p>
        </p:txBody>
      </p:sp>
      <p:sp>
        <p:nvSpPr>
          <p:cNvPr id="2" name="Text Placeholder 1">
            <a:extLst>
              <a:ext uri="{FF2B5EF4-FFF2-40B4-BE49-F238E27FC236}">
                <a16:creationId xmlns:a16="http://schemas.microsoft.com/office/drawing/2014/main" id="{37C31D72-88E7-4CA4-97CC-DF95C6596AE8}"/>
              </a:ext>
            </a:extLst>
          </p:cNvPr>
          <p:cNvSpPr>
            <a:spLocks noGrp="1"/>
          </p:cNvSpPr>
          <p:nvPr>
            <p:ph type="body" sz="quarter" idx="12"/>
          </p:nvPr>
        </p:nvSpPr>
        <p:spPr/>
        <p:txBody>
          <a:bodyPr/>
          <a:lstStyle/>
          <a:p>
            <a:endParaRPr lang="en-US"/>
          </a:p>
        </p:txBody>
      </p:sp>
      <p:sp>
        <p:nvSpPr>
          <p:cNvPr id="3" name="Text Placeholder 2">
            <a:extLst>
              <a:ext uri="{FF2B5EF4-FFF2-40B4-BE49-F238E27FC236}">
                <a16:creationId xmlns:a16="http://schemas.microsoft.com/office/drawing/2014/main" id="{EBBD6DAB-6B2B-42CC-9A99-3EDE6EF054BF}"/>
              </a:ext>
            </a:extLst>
          </p:cNvPr>
          <p:cNvSpPr>
            <a:spLocks noGrp="1"/>
          </p:cNvSpPr>
          <p:nvPr>
            <p:ph type="body" sz="quarter" idx="16"/>
          </p:nvPr>
        </p:nvSpPr>
        <p:spPr/>
        <p:txBody>
          <a:bodyPr/>
          <a:lstStyle/>
          <a:p>
            <a:endParaRPr lang="en-US"/>
          </a:p>
        </p:txBody>
      </p:sp>
      <p:sp>
        <p:nvSpPr>
          <p:cNvPr id="4" name="Slide Number Placeholder 3">
            <a:extLst>
              <a:ext uri="{FF2B5EF4-FFF2-40B4-BE49-F238E27FC236}">
                <a16:creationId xmlns:a16="http://schemas.microsoft.com/office/drawing/2014/main" id="{82835AA4-731A-42C0-9605-CE5C097D862B}"/>
              </a:ext>
            </a:extLst>
          </p:cNvPr>
          <p:cNvSpPr>
            <a:spLocks noGrp="1"/>
          </p:cNvSpPr>
          <p:nvPr>
            <p:ph type="sldNum" sz="quarter" idx="11"/>
          </p:nvPr>
        </p:nvSpPr>
        <p:spPr/>
        <p:txBody>
          <a:bodyPr/>
          <a:lstStyle/>
          <a:p>
            <a:fld id="{9E8169F0-646E-455B-AF5A-6D6C02EAEAF6}" type="slidenum">
              <a:rPr lang="en-GB" noProof="1" smtClean="0"/>
              <a:t>8</a:t>
            </a:fld>
            <a:endParaRPr lang="en-GB" noProof="1"/>
          </a:p>
        </p:txBody>
      </p:sp>
      <p:graphicFrame>
        <p:nvGraphicFramePr>
          <p:cNvPr id="7" name="Content Placeholder 6">
            <a:extLst>
              <a:ext uri="{FF2B5EF4-FFF2-40B4-BE49-F238E27FC236}">
                <a16:creationId xmlns:a16="http://schemas.microsoft.com/office/drawing/2014/main" id="{B213A504-AF0B-4DEB-B8A6-057B0B9F9935}"/>
              </a:ext>
            </a:extLst>
          </p:cNvPr>
          <p:cNvGraphicFramePr>
            <a:graphicFrameLocks noGrp="1"/>
          </p:cNvGraphicFramePr>
          <p:nvPr>
            <p:ph sz="quarter" idx="15"/>
            <p:extLst>
              <p:ext uri="{D42A27DB-BD31-4B8C-83A1-F6EECF244321}">
                <p14:modId xmlns:p14="http://schemas.microsoft.com/office/powerpoint/2010/main" val="2440819571"/>
              </p:ext>
            </p:extLst>
          </p:nvPr>
        </p:nvGraphicFramePr>
        <p:xfrm>
          <a:off x="232568" y="1662658"/>
          <a:ext cx="8678863" cy="793939"/>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6" name="Title 5">
            <a:extLst>
              <a:ext uri="{FF2B5EF4-FFF2-40B4-BE49-F238E27FC236}">
                <a16:creationId xmlns:a16="http://schemas.microsoft.com/office/drawing/2014/main" id="{4CEBBF5F-7584-4FE7-8A89-E5F2743DBDC0}"/>
              </a:ext>
            </a:extLst>
          </p:cNvPr>
          <p:cNvSpPr>
            <a:spLocks noGrp="1"/>
          </p:cNvSpPr>
          <p:nvPr>
            <p:ph type="title"/>
          </p:nvPr>
        </p:nvSpPr>
        <p:spPr/>
        <p:txBody>
          <a:bodyPr/>
          <a:lstStyle/>
          <a:p>
            <a:r>
              <a:rPr lang="en-US" dirty="0"/>
              <a:t>We’ll use our pipeline to guide the presentation </a:t>
            </a:r>
          </a:p>
        </p:txBody>
      </p:sp>
      <p:graphicFrame>
        <p:nvGraphicFramePr>
          <p:cNvPr id="8" name="Content Placeholder 6">
            <a:extLst>
              <a:ext uri="{FF2B5EF4-FFF2-40B4-BE49-F238E27FC236}">
                <a16:creationId xmlns:a16="http://schemas.microsoft.com/office/drawing/2014/main" id="{4012480D-4ACF-46ED-A5BC-A161DB9452BD}"/>
              </a:ext>
            </a:extLst>
          </p:cNvPr>
          <p:cNvGraphicFramePr>
            <a:graphicFrameLocks/>
          </p:cNvGraphicFramePr>
          <p:nvPr>
            <p:extLst>
              <p:ext uri="{D42A27DB-BD31-4B8C-83A1-F6EECF244321}">
                <p14:modId xmlns:p14="http://schemas.microsoft.com/office/powerpoint/2010/main" val="3522541911"/>
              </p:ext>
            </p:extLst>
          </p:nvPr>
        </p:nvGraphicFramePr>
        <p:xfrm>
          <a:off x="1958454" y="1330658"/>
          <a:ext cx="6121021" cy="416256"/>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grpSp>
        <p:nvGrpSpPr>
          <p:cNvPr id="12" name="Gruppo 57">
            <a:extLst>
              <a:ext uri="{FF2B5EF4-FFF2-40B4-BE49-F238E27FC236}">
                <a16:creationId xmlns:a16="http://schemas.microsoft.com/office/drawing/2014/main" id="{96E0BE94-53DC-4071-8828-0459313D9456}"/>
              </a:ext>
            </a:extLst>
          </p:cNvPr>
          <p:cNvGrpSpPr/>
          <p:nvPr/>
        </p:nvGrpSpPr>
        <p:grpSpPr>
          <a:xfrm>
            <a:off x="5508245" y="2405035"/>
            <a:ext cx="529106" cy="366887"/>
            <a:chOff x="6946025" y="2094577"/>
            <a:chExt cx="723806" cy="478077"/>
          </a:xfrm>
        </p:grpSpPr>
        <p:pic>
          <p:nvPicPr>
            <p:cNvPr id="25" name="Grafik 143">
              <a:extLst>
                <a:ext uri="{FF2B5EF4-FFF2-40B4-BE49-F238E27FC236}">
                  <a16:creationId xmlns:a16="http://schemas.microsoft.com/office/drawing/2014/main" id="{DEFF508D-9999-4AA0-A2B0-59E721894D31}"/>
                </a:ext>
              </a:extLst>
            </p:cNvPr>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6946025" y="2122512"/>
              <a:ext cx="723806" cy="450142"/>
            </a:xfrm>
            <a:prstGeom prst="rect">
              <a:avLst/>
            </a:prstGeom>
          </p:spPr>
        </p:pic>
        <p:sp>
          <p:nvSpPr>
            <p:cNvPr id="26" name="CasellaDiTesto 59">
              <a:extLst>
                <a:ext uri="{FF2B5EF4-FFF2-40B4-BE49-F238E27FC236}">
                  <a16:creationId xmlns:a16="http://schemas.microsoft.com/office/drawing/2014/main" id="{EF7AC9F6-CBEE-498A-B32B-FECA87197DA1}"/>
                </a:ext>
              </a:extLst>
            </p:cNvPr>
            <p:cNvSpPr txBox="1"/>
            <p:nvPr/>
          </p:nvSpPr>
          <p:spPr>
            <a:xfrm>
              <a:off x="7225224" y="2094577"/>
              <a:ext cx="434106" cy="158833"/>
            </a:xfrm>
            <a:prstGeom prst="rect">
              <a:avLst/>
            </a:prstGeom>
            <a:solidFill>
              <a:sysClr val="window" lastClr="FFFFFF"/>
            </a:solid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1" i="1" u="none" strike="noStrike" kern="0" cap="none" spc="0" normalizeH="0" baseline="0" noProof="0" dirty="0">
                  <a:ln>
                    <a:noFill/>
                  </a:ln>
                  <a:solidFill>
                    <a:srgbClr val="999999"/>
                  </a:solidFill>
                  <a:effectLst/>
                  <a:uLnTx/>
                  <a:uFillTx/>
                  <a:latin typeface="UniCredit"/>
                  <a:cs typeface="Arial" charset="0"/>
                </a:rPr>
                <a:t>DEPLOY</a:t>
              </a:r>
              <a:endParaRPr kumimoji="0" lang="en-US" sz="1400" b="1" i="1" u="none" strike="noStrike" kern="0" cap="none" spc="0" normalizeH="0" baseline="0" noProof="0" dirty="0">
                <a:ln>
                  <a:noFill/>
                </a:ln>
                <a:solidFill>
                  <a:srgbClr val="999999"/>
                </a:solidFill>
                <a:effectLst/>
                <a:uLnTx/>
                <a:uFillTx/>
                <a:latin typeface="UniCredit"/>
                <a:cs typeface="Arial" charset="0"/>
              </a:endParaRPr>
            </a:p>
          </p:txBody>
        </p:sp>
      </p:grpSp>
      <p:pic>
        <p:nvPicPr>
          <p:cNvPr id="13" name="Immagine 68">
            <a:extLst>
              <a:ext uri="{FF2B5EF4-FFF2-40B4-BE49-F238E27FC236}">
                <a16:creationId xmlns:a16="http://schemas.microsoft.com/office/drawing/2014/main" id="{0141B9BC-946F-47F8-B222-7B5FB3E42FAB}"/>
              </a:ext>
            </a:extLst>
          </p:cNvPr>
          <p:cNvPicPr>
            <a:picLocks noChangeAspect="1"/>
          </p:cNvPicPr>
          <p:nvPr/>
        </p:nvPicPr>
        <p:blipFill>
          <a:blip r:embed="rId18" cstate="email">
            <a:extLst>
              <a:ext uri="{28A0092B-C50C-407E-A947-70E740481C1C}">
                <a14:useLocalDpi xmlns:a14="http://schemas.microsoft.com/office/drawing/2010/main"/>
              </a:ext>
            </a:extLst>
          </a:blip>
          <a:stretch>
            <a:fillRect/>
          </a:stretch>
        </p:blipFill>
        <p:spPr>
          <a:xfrm>
            <a:off x="4988808" y="937660"/>
            <a:ext cx="527698" cy="316419"/>
          </a:xfrm>
          <a:prstGeom prst="rect">
            <a:avLst/>
          </a:prstGeom>
        </p:spPr>
      </p:pic>
      <p:pic>
        <p:nvPicPr>
          <p:cNvPr id="14" name="Immagine 90">
            <a:extLst>
              <a:ext uri="{FF2B5EF4-FFF2-40B4-BE49-F238E27FC236}">
                <a16:creationId xmlns:a16="http://schemas.microsoft.com/office/drawing/2014/main" id="{1F6956C0-6AD7-42B3-8A6D-229457FA84E4}"/>
              </a:ext>
            </a:extLst>
          </p:cNvPr>
          <p:cNvPicPr>
            <a:picLocks noChangeAspect="1"/>
          </p:cNvPicPr>
          <p:nvPr/>
        </p:nvPicPr>
        <p:blipFill>
          <a:blip r:embed="rId19" cstate="email">
            <a:extLst>
              <a:ext uri="{28A0092B-C50C-407E-A947-70E740481C1C}">
                <a14:useLocalDpi xmlns:a14="http://schemas.microsoft.com/office/drawing/2010/main"/>
              </a:ext>
            </a:extLst>
          </a:blip>
          <a:stretch>
            <a:fillRect/>
          </a:stretch>
        </p:blipFill>
        <p:spPr>
          <a:xfrm>
            <a:off x="6322667" y="2477700"/>
            <a:ext cx="622008" cy="197186"/>
          </a:xfrm>
          <a:prstGeom prst="rect">
            <a:avLst/>
          </a:prstGeom>
        </p:spPr>
      </p:pic>
      <p:pic>
        <p:nvPicPr>
          <p:cNvPr id="15" name="Immagine 92">
            <a:extLst>
              <a:ext uri="{FF2B5EF4-FFF2-40B4-BE49-F238E27FC236}">
                <a16:creationId xmlns:a16="http://schemas.microsoft.com/office/drawing/2014/main" id="{5A757FDC-EB77-47F4-9B34-CA7FB43E3E65}"/>
              </a:ext>
            </a:extLst>
          </p:cNvPr>
          <p:cNvPicPr>
            <a:picLocks noChangeAspect="1"/>
          </p:cNvPicPr>
          <p:nvPr/>
        </p:nvPicPr>
        <p:blipFill>
          <a:blip r:embed="rId20" cstate="email">
            <a:extLst>
              <a:ext uri="{28A0092B-C50C-407E-A947-70E740481C1C}">
                <a14:useLocalDpi xmlns:a14="http://schemas.microsoft.com/office/drawing/2010/main"/>
              </a:ext>
            </a:extLst>
          </a:blip>
          <a:stretch>
            <a:fillRect/>
          </a:stretch>
        </p:blipFill>
        <p:spPr>
          <a:xfrm>
            <a:off x="7222315" y="2370242"/>
            <a:ext cx="576113" cy="376123"/>
          </a:xfrm>
          <a:prstGeom prst="rect">
            <a:avLst/>
          </a:prstGeom>
        </p:spPr>
      </p:pic>
      <p:pic>
        <p:nvPicPr>
          <p:cNvPr id="17" name="Immagine 124">
            <a:extLst>
              <a:ext uri="{FF2B5EF4-FFF2-40B4-BE49-F238E27FC236}">
                <a16:creationId xmlns:a16="http://schemas.microsoft.com/office/drawing/2014/main" id="{0D3D192C-F36A-401A-BDC0-CD9B1DF67085}"/>
              </a:ext>
            </a:extLst>
          </p:cNvPr>
          <p:cNvPicPr>
            <a:picLocks noChangeAspect="1"/>
          </p:cNvPicPr>
          <p:nvPr/>
        </p:nvPicPr>
        <p:blipFill>
          <a:blip r:embed="rId21" cstate="email">
            <a:extLst>
              <a:ext uri="{28A0092B-C50C-407E-A947-70E740481C1C}">
                <a14:useLocalDpi xmlns:a14="http://schemas.microsoft.com/office/drawing/2010/main"/>
              </a:ext>
            </a:extLst>
          </a:blip>
          <a:stretch>
            <a:fillRect/>
          </a:stretch>
        </p:blipFill>
        <p:spPr>
          <a:xfrm>
            <a:off x="3576062" y="2400916"/>
            <a:ext cx="1045724" cy="402234"/>
          </a:xfrm>
          <a:prstGeom prst="rect">
            <a:avLst/>
          </a:prstGeom>
        </p:spPr>
      </p:pic>
      <p:pic>
        <p:nvPicPr>
          <p:cNvPr id="18" name="Picture 4" descr="JUnit – About">
            <a:extLst>
              <a:ext uri="{FF2B5EF4-FFF2-40B4-BE49-F238E27FC236}">
                <a16:creationId xmlns:a16="http://schemas.microsoft.com/office/drawing/2014/main" id="{43D69F85-738D-4488-A255-E84FECD44BE3}"/>
              </a:ext>
            </a:extLst>
          </p:cNvPr>
          <p:cNvPicPr>
            <a:picLocks noChangeAspect="1" noChangeArrowheads="1"/>
          </p:cNvPicPr>
          <p:nvPr/>
        </p:nvPicPr>
        <p:blipFill>
          <a:blip r:embed="rId22" cstate="email">
            <a:extLst>
              <a:ext uri="{28A0092B-C50C-407E-A947-70E740481C1C}">
                <a14:useLocalDpi xmlns:a14="http://schemas.microsoft.com/office/drawing/2010/main"/>
              </a:ext>
            </a:extLst>
          </a:blip>
          <a:srcRect/>
          <a:stretch>
            <a:fillRect/>
          </a:stretch>
        </p:blipFill>
        <p:spPr bwMode="auto">
          <a:xfrm>
            <a:off x="3006688" y="2496035"/>
            <a:ext cx="493019" cy="155210"/>
          </a:xfrm>
          <a:prstGeom prst="rect">
            <a:avLst/>
          </a:prstGeom>
          <a:noFill/>
          <a:extLst>
            <a:ext uri="{909E8E84-426E-40DD-AFC4-6F175D3DCCD1}">
              <a14:hiddenFill xmlns:a14="http://schemas.microsoft.com/office/drawing/2010/main">
                <a:solidFill>
                  <a:srgbClr val="FFFFFF"/>
                </a:solidFill>
              </a14:hiddenFill>
            </a:ext>
          </a:extLst>
        </p:spPr>
      </p:pic>
      <p:grpSp>
        <p:nvGrpSpPr>
          <p:cNvPr id="19" name="Gruppo 12">
            <a:extLst>
              <a:ext uri="{FF2B5EF4-FFF2-40B4-BE49-F238E27FC236}">
                <a16:creationId xmlns:a16="http://schemas.microsoft.com/office/drawing/2014/main" id="{F3DC3895-2715-40DE-8A2B-A4D3871C6BC2}"/>
              </a:ext>
            </a:extLst>
          </p:cNvPr>
          <p:cNvGrpSpPr/>
          <p:nvPr/>
        </p:nvGrpSpPr>
        <p:grpSpPr>
          <a:xfrm>
            <a:off x="4708823" y="2238895"/>
            <a:ext cx="547002" cy="457094"/>
            <a:chOff x="8284888" y="2480464"/>
            <a:chExt cx="569212" cy="461665"/>
          </a:xfrm>
        </p:grpSpPr>
        <p:pic>
          <p:nvPicPr>
            <p:cNvPr id="23" name="Immagine 40">
              <a:extLst>
                <a:ext uri="{FF2B5EF4-FFF2-40B4-BE49-F238E27FC236}">
                  <a16:creationId xmlns:a16="http://schemas.microsoft.com/office/drawing/2014/main" id="{8C31A6CE-D9F6-4E08-9C3F-2EAD7378E351}"/>
                </a:ext>
              </a:extLst>
            </p:cNvPr>
            <p:cNvPicPr>
              <a:picLocks noChangeAspect="1"/>
            </p:cNvPicPr>
            <p:nvPr/>
          </p:nvPicPr>
          <p:blipFill>
            <a:blip r:embed="rId23" cstate="email">
              <a:extLst>
                <a:ext uri="{28A0092B-C50C-407E-A947-70E740481C1C}">
                  <a14:useLocalDpi xmlns:a14="http://schemas.microsoft.com/office/drawing/2010/main"/>
                </a:ext>
              </a:extLst>
            </a:blip>
            <a:stretch>
              <a:fillRect/>
            </a:stretch>
          </p:blipFill>
          <p:spPr>
            <a:xfrm>
              <a:off x="8284888" y="2711297"/>
              <a:ext cx="490862" cy="197995"/>
            </a:xfrm>
            <a:prstGeom prst="rect">
              <a:avLst/>
            </a:prstGeom>
            <a:solidFill>
              <a:sysClr val="window" lastClr="FFFFFF"/>
            </a:solidFill>
          </p:spPr>
        </p:pic>
        <p:sp>
          <p:nvSpPr>
            <p:cNvPr id="24" name="CasellaDiTesto 81">
              <a:extLst>
                <a:ext uri="{FF2B5EF4-FFF2-40B4-BE49-F238E27FC236}">
                  <a16:creationId xmlns:a16="http://schemas.microsoft.com/office/drawing/2014/main" id="{6B613A88-89B7-47B0-8A52-A599BD41CADB}"/>
                </a:ext>
              </a:extLst>
            </p:cNvPr>
            <p:cNvSpPr txBox="1"/>
            <p:nvPr/>
          </p:nvSpPr>
          <p:spPr>
            <a:xfrm>
              <a:off x="8669369" y="2480464"/>
              <a:ext cx="184731" cy="461665"/>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dirty="0">
                <a:ln>
                  <a:noFill/>
                </a:ln>
                <a:solidFill>
                  <a:srgbClr val="999999"/>
                </a:solidFill>
                <a:effectLst/>
                <a:uLnTx/>
                <a:uFillTx/>
                <a:latin typeface="UniCredit"/>
                <a:cs typeface="Arial" charset="0"/>
              </a:endParaRPr>
            </a:p>
          </p:txBody>
        </p:sp>
      </p:grpSp>
      <p:pic>
        <p:nvPicPr>
          <p:cNvPr id="20" name="Graphic 19">
            <a:extLst>
              <a:ext uri="{FF2B5EF4-FFF2-40B4-BE49-F238E27FC236}">
                <a16:creationId xmlns:a16="http://schemas.microsoft.com/office/drawing/2014/main" id="{F78FA946-A515-477A-9B6D-1F2533606B92}"/>
              </a:ext>
            </a:extLst>
          </p:cNvPr>
          <p:cNvPicPr>
            <a:picLocks noChangeAspect="1"/>
          </p:cNvPicPr>
          <p:nvPr/>
        </p:nvPicPr>
        <p:blipFill>
          <a:blip r:embed="rId24" cstate="email">
            <a:extLst>
              <a:ext uri="{28A0092B-C50C-407E-A947-70E740481C1C}">
                <a14:useLocalDpi xmlns:a14="http://schemas.microsoft.com/office/drawing/2010/main"/>
              </a:ext>
              <a:ext uri="{96DAC541-7B7A-43D3-8B79-37D633B846F1}">
                <asvg:svgBlip xmlns:asvg="http://schemas.microsoft.com/office/drawing/2016/SVG/main" r:embed="rId25"/>
              </a:ext>
            </a:extLst>
          </a:blip>
          <a:stretch>
            <a:fillRect/>
          </a:stretch>
        </p:blipFill>
        <p:spPr>
          <a:xfrm>
            <a:off x="502979" y="2794878"/>
            <a:ext cx="527698" cy="281008"/>
          </a:xfrm>
          <a:prstGeom prst="rect">
            <a:avLst/>
          </a:prstGeom>
        </p:spPr>
      </p:pic>
      <p:pic>
        <p:nvPicPr>
          <p:cNvPr id="21" name="Picture 6" descr="Jira - Logo">
            <a:extLst>
              <a:ext uri="{FF2B5EF4-FFF2-40B4-BE49-F238E27FC236}">
                <a16:creationId xmlns:a16="http://schemas.microsoft.com/office/drawing/2014/main" id="{46421F2C-80A9-4993-A330-F72A33680620}"/>
              </a:ext>
            </a:extLst>
          </p:cNvPr>
          <p:cNvPicPr>
            <a:picLocks noChangeAspect="1" noChangeArrowheads="1"/>
          </p:cNvPicPr>
          <p:nvPr/>
        </p:nvPicPr>
        <p:blipFill>
          <a:blip r:embed="rId26" cstate="email">
            <a:extLst>
              <a:ext uri="{28A0092B-C50C-407E-A947-70E740481C1C}">
                <a14:useLocalDpi xmlns:a14="http://schemas.microsoft.com/office/drawing/2010/main"/>
              </a:ext>
            </a:extLst>
          </a:blip>
          <a:srcRect/>
          <a:stretch>
            <a:fillRect/>
          </a:stretch>
        </p:blipFill>
        <p:spPr bwMode="auto">
          <a:xfrm>
            <a:off x="473623" y="2466704"/>
            <a:ext cx="475044" cy="212178"/>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6">
            <a:extLst>
              <a:ext uri="{FF2B5EF4-FFF2-40B4-BE49-F238E27FC236}">
                <a16:creationId xmlns:a16="http://schemas.microsoft.com/office/drawing/2014/main" id="{8E43D0E3-532C-4C39-99C9-20721793742D}"/>
              </a:ext>
            </a:extLst>
          </p:cNvPr>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a:off x="3117583" y="3230769"/>
            <a:ext cx="271228" cy="291643"/>
          </a:xfrm>
          <a:prstGeom prst="rect">
            <a:avLst/>
          </a:prstGeom>
        </p:spPr>
      </p:pic>
      <p:grpSp>
        <p:nvGrpSpPr>
          <p:cNvPr id="30" name="Gruppo 57">
            <a:extLst>
              <a:ext uri="{FF2B5EF4-FFF2-40B4-BE49-F238E27FC236}">
                <a16:creationId xmlns:a16="http://schemas.microsoft.com/office/drawing/2014/main" id="{DE5DFB16-D2CA-496C-BD55-F2D48342B748}"/>
              </a:ext>
            </a:extLst>
          </p:cNvPr>
          <p:cNvGrpSpPr/>
          <p:nvPr/>
        </p:nvGrpSpPr>
        <p:grpSpPr>
          <a:xfrm>
            <a:off x="8076068" y="2412332"/>
            <a:ext cx="529106" cy="366887"/>
            <a:chOff x="6946025" y="2094577"/>
            <a:chExt cx="723806" cy="478077"/>
          </a:xfrm>
        </p:grpSpPr>
        <p:pic>
          <p:nvPicPr>
            <p:cNvPr id="31" name="Grafik 143">
              <a:extLst>
                <a:ext uri="{FF2B5EF4-FFF2-40B4-BE49-F238E27FC236}">
                  <a16:creationId xmlns:a16="http://schemas.microsoft.com/office/drawing/2014/main" id="{C74DA0A2-E42C-419D-A1E6-613AA6E5A8E6}"/>
                </a:ext>
              </a:extLst>
            </p:cNvPr>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6946025" y="2122512"/>
              <a:ext cx="723806" cy="450142"/>
            </a:xfrm>
            <a:prstGeom prst="rect">
              <a:avLst/>
            </a:prstGeom>
          </p:spPr>
        </p:pic>
        <p:sp>
          <p:nvSpPr>
            <p:cNvPr id="32" name="CasellaDiTesto 59">
              <a:extLst>
                <a:ext uri="{FF2B5EF4-FFF2-40B4-BE49-F238E27FC236}">
                  <a16:creationId xmlns:a16="http://schemas.microsoft.com/office/drawing/2014/main" id="{C6BE75B0-EEDD-42DA-8834-701850B9CB36}"/>
                </a:ext>
              </a:extLst>
            </p:cNvPr>
            <p:cNvSpPr txBox="1"/>
            <p:nvPr/>
          </p:nvSpPr>
          <p:spPr>
            <a:xfrm>
              <a:off x="7225224" y="2094577"/>
              <a:ext cx="434106" cy="158833"/>
            </a:xfrm>
            <a:prstGeom prst="rect">
              <a:avLst/>
            </a:prstGeom>
            <a:solidFill>
              <a:sysClr val="window" lastClr="FFFFFF"/>
            </a:solid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1" i="1" u="none" strike="noStrike" kern="0" cap="none" spc="0" normalizeH="0" baseline="0" noProof="0" dirty="0">
                  <a:ln>
                    <a:noFill/>
                  </a:ln>
                  <a:solidFill>
                    <a:srgbClr val="999999"/>
                  </a:solidFill>
                  <a:effectLst/>
                  <a:uLnTx/>
                  <a:uFillTx/>
                  <a:latin typeface="UniCredit"/>
                  <a:cs typeface="Arial" charset="0"/>
                </a:rPr>
                <a:t>DEPLOY</a:t>
              </a:r>
              <a:endParaRPr kumimoji="0" lang="en-US" sz="1400" b="1" i="1" u="none" strike="noStrike" kern="0" cap="none" spc="0" normalizeH="0" baseline="0" noProof="0" dirty="0">
                <a:ln>
                  <a:noFill/>
                </a:ln>
                <a:solidFill>
                  <a:srgbClr val="999999"/>
                </a:solidFill>
                <a:effectLst/>
                <a:uLnTx/>
                <a:uFillTx/>
                <a:latin typeface="UniCredit"/>
                <a:cs typeface="Arial" charset="0"/>
              </a:endParaRPr>
            </a:p>
          </p:txBody>
        </p:sp>
      </p:grpSp>
      <p:pic>
        <p:nvPicPr>
          <p:cNvPr id="33" name="Picture 28" descr="WireMock for Java Developers | Udemy">
            <a:extLst>
              <a:ext uri="{FF2B5EF4-FFF2-40B4-BE49-F238E27FC236}">
                <a16:creationId xmlns:a16="http://schemas.microsoft.com/office/drawing/2014/main" id="{24A9A257-90C9-4533-934C-7A70205C7E26}"/>
              </a:ext>
            </a:extLst>
          </p:cNvPr>
          <p:cNvPicPr>
            <a:picLocks noChangeAspect="1" noChangeArrowheads="1"/>
          </p:cNvPicPr>
          <p:nvPr/>
        </p:nvPicPr>
        <p:blipFill>
          <a:blip r:embed="rId28" cstate="print">
            <a:extLst>
              <a:ext uri="{28A0092B-C50C-407E-A947-70E740481C1C}">
                <a14:useLocalDpi xmlns:a14="http://schemas.microsoft.com/office/drawing/2010/main"/>
              </a:ext>
            </a:extLst>
          </a:blip>
          <a:srcRect/>
          <a:stretch>
            <a:fillRect/>
          </a:stretch>
        </p:blipFill>
        <p:spPr bwMode="auto">
          <a:xfrm>
            <a:off x="6806341" y="2862878"/>
            <a:ext cx="518476" cy="291643"/>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20" descr="Liquibase | Database CI/CD &amp; Automation | Database DevOps">
            <a:extLst>
              <a:ext uri="{FF2B5EF4-FFF2-40B4-BE49-F238E27FC236}">
                <a16:creationId xmlns:a16="http://schemas.microsoft.com/office/drawing/2014/main" id="{98ABEE39-4DFB-4526-B645-77E5F85F754A}"/>
              </a:ext>
            </a:extLst>
          </p:cNvPr>
          <p:cNvPicPr>
            <a:picLocks noChangeAspect="1" noChangeArrowheads="1"/>
          </p:cNvPicPr>
          <p:nvPr/>
        </p:nvPicPr>
        <p:blipFill>
          <a:blip r:embed="rId29" cstate="print">
            <a:extLst>
              <a:ext uri="{28A0092B-C50C-407E-A947-70E740481C1C}">
                <a14:useLocalDpi xmlns:a14="http://schemas.microsoft.com/office/drawing/2010/main" val="0"/>
              </a:ext>
            </a:extLst>
          </a:blip>
          <a:srcRect/>
          <a:stretch>
            <a:fillRect/>
          </a:stretch>
        </p:blipFill>
        <p:spPr bwMode="auto">
          <a:xfrm>
            <a:off x="5871008" y="2901167"/>
            <a:ext cx="545935" cy="360000"/>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10" descr="Flyway (software) - Wikipedia">
            <a:extLst>
              <a:ext uri="{FF2B5EF4-FFF2-40B4-BE49-F238E27FC236}">
                <a16:creationId xmlns:a16="http://schemas.microsoft.com/office/drawing/2014/main" id="{C8C05ECE-D2ED-4084-89F3-5DB603C030C3}"/>
              </a:ext>
            </a:extLst>
          </p:cNvPr>
          <p:cNvPicPr>
            <a:picLocks noChangeAspect="1" noChangeArrowheads="1"/>
          </p:cNvPicPr>
          <p:nvPr/>
        </p:nvPicPr>
        <p:blipFill>
          <a:blip r:embed="rId30" cstate="print">
            <a:extLst>
              <a:ext uri="{28A0092B-C50C-407E-A947-70E740481C1C}">
                <a14:useLocalDpi xmlns:a14="http://schemas.microsoft.com/office/drawing/2010/main" val="0"/>
              </a:ext>
            </a:extLst>
          </a:blip>
          <a:srcRect/>
          <a:stretch>
            <a:fillRect/>
          </a:stretch>
        </p:blipFill>
        <p:spPr bwMode="auto">
          <a:xfrm>
            <a:off x="5359763" y="2871407"/>
            <a:ext cx="511245" cy="406440"/>
          </a:xfrm>
          <a:prstGeom prst="rect">
            <a:avLst/>
          </a:prstGeom>
          <a:noFill/>
          <a:extLst>
            <a:ext uri="{909E8E84-426E-40DD-AFC4-6F175D3DCCD1}">
              <a14:hiddenFill xmlns:a14="http://schemas.microsoft.com/office/drawing/2010/main">
                <a:solidFill>
                  <a:srgbClr val="FFFFFF"/>
                </a:solidFill>
              </a14:hiddenFill>
            </a:ext>
          </a:extLst>
        </p:spPr>
      </p:pic>
      <p:pic>
        <p:nvPicPr>
          <p:cNvPr id="37894" name="Picture 6" descr="Branding Guidelines (Draft WIP) | OWASP">
            <a:extLst>
              <a:ext uri="{FF2B5EF4-FFF2-40B4-BE49-F238E27FC236}">
                <a16:creationId xmlns:a16="http://schemas.microsoft.com/office/drawing/2014/main" id="{ECA8E031-C4DE-49C3-98F8-336E375E2F06}"/>
              </a:ext>
            </a:extLst>
          </p:cNvPr>
          <p:cNvPicPr>
            <a:picLocks noChangeAspect="1" noChangeArrowheads="1"/>
          </p:cNvPicPr>
          <p:nvPr/>
        </p:nvPicPr>
        <p:blipFill>
          <a:blip r:embed="rId31" cstate="print">
            <a:extLst>
              <a:ext uri="{28A0092B-C50C-407E-A947-70E740481C1C}">
                <a14:useLocalDpi xmlns:a14="http://schemas.microsoft.com/office/drawing/2010/main" val="0"/>
              </a:ext>
            </a:extLst>
          </a:blip>
          <a:srcRect/>
          <a:stretch>
            <a:fillRect/>
          </a:stretch>
        </p:blipFill>
        <p:spPr bwMode="auto">
          <a:xfrm>
            <a:off x="3710231" y="2855669"/>
            <a:ext cx="725763" cy="252505"/>
          </a:xfrm>
          <a:prstGeom prst="rect">
            <a:avLst/>
          </a:prstGeom>
          <a:noFill/>
          <a:extLst>
            <a:ext uri="{909E8E84-426E-40DD-AFC4-6F175D3DCCD1}">
              <a14:hiddenFill xmlns:a14="http://schemas.microsoft.com/office/drawing/2010/main">
                <a:solidFill>
                  <a:srgbClr val="FFFFFF"/>
                </a:solidFill>
              </a14:hiddenFill>
            </a:ext>
          </a:extLst>
        </p:spPr>
      </p:pic>
      <p:pic>
        <p:nvPicPr>
          <p:cNvPr id="37896" name="Picture 8">
            <a:extLst>
              <a:ext uri="{FF2B5EF4-FFF2-40B4-BE49-F238E27FC236}">
                <a16:creationId xmlns:a16="http://schemas.microsoft.com/office/drawing/2014/main" id="{B7DD6AF4-1615-4535-807F-237487883906}"/>
              </a:ext>
            </a:extLst>
          </p:cNvPr>
          <p:cNvPicPr>
            <a:picLocks noChangeAspect="1" noChangeArrowheads="1"/>
          </p:cNvPicPr>
          <p:nvPr/>
        </p:nvPicPr>
        <p:blipFill>
          <a:blip r:embed="rId32" cstate="print">
            <a:extLst>
              <a:ext uri="{28A0092B-C50C-407E-A947-70E740481C1C}">
                <a14:useLocalDpi xmlns:a14="http://schemas.microsoft.com/office/drawing/2010/main" val="0"/>
              </a:ext>
            </a:extLst>
          </a:blip>
          <a:srcRect/>
          <a:stretch>
            <a:fillRect/>
          </a:stretch>
        </p:blipFill>
        <p:spPr bwMode="auto">
          <a:xfrm>
            <a:off x="2133631" y="2494295"/>
            <a:ext cx="661499" cy="167442"/>
          </a:xfrm>
          <a:prstGeom prst="rect">
            <a:avLst/>
          </a:prstGeom>
          <a:noFill/>
          <a:extLst>
            <a:ext uri="{909E8E84-426E-40DD-AFC4-6F175D3DCCD1}">
              <a14:hiddenFill xmlns:a14="http://schemas.microsoft.com/office/drawing/2010/main">
                <a:solidFill>
                  <a:srgbClr val="FFFFFF"/>
                </a:solidFill>
              </a14:hiddenFill>
            </a:ext>
          </a:extLst>
        </p:spPr>
      </p:pic>
      <p:pic>
        <p:nvPicPr>
          <p:cNvPr id="37898" name="Picture 10" descr="Press Kit | Atlassian">
            <a:extLst>
              <a:ext uri="{FF2B5EF4-FFF2-40B4-BE49-F238E27FC236}">
                <a16:creationId xmlns:a16="http://schemas.microsoft.com/office/drawing/2014/main" id="{9ECAA01F-D03E-4060-B5BB-87503731390E}"/>
              </a:ext>
            </a:extLst>
          </p:cNvPr>
          <p:cNvPicPr>
            <a:picLocks noChangeAspect="1" noChangeArrowheads="1"/>
          </p:cNvPicPr>
          <p:nvPr/>
        </p:nvPicPr>
        <p:blipFill>
          <a:blip r:embed="rId33" cstate="print">
            <a:extLst>
              <a:ext uri="{28A0092B-C50C-407E-A947-70E740481C1C}">
                <a14:useLocalDpi xmlns:a14="http://schemas.microsoft.com/office/drawing/2010/main" val="0"/>
              </a:ext>
            </a:extLst>
          </a:blip>
          <a:srcRect/>
          <a:stretch>
            <a:fillRect/>
          </a:stretch>
        </p:blipFill>
        <p:spPr bwMode="auto">
          <a:xfrm>
            <a:off x="1148118" y="2517890"/>
            <a:ext cx="810336" cy="116805"/>
          </a:xfrm>
          <a:prstGeom prst="rect">
            <a:avLst/>
          </a:prstGeom>
          <a:noFill/>
          <a:extLst>
            <a:ext uri="{909E8E84-426E-40DD-AFC4-6F175D3DCCD1}">
              <a14:hiddenFill xmlns:a14="http://schemas.microsoft.com/office/drawing/2010/main">
                <a:solidFill>
                  <a:srgbClr val="FFFFFF"/>
                </a:solidFill>
              </a14:hiddenFill>
            </a:ext>
          </a:extLst>
        </p:spPr>
      </p:pic>
      <p:pic>
        <p:nvPicPr>
          <p:cNvPr id="37903" name="Picture 15" descr="How to install Node.js 7 and NPM 4 on CentOS 6/7, Debian 8 and Ubuntu 16">
            <a:extLst>
              <a:ext uri="{FF2B5EF4-FFF2-40B4-BE49-F238E27FC236}">
                <a16:creationId xmlns:a16="http://schemas.microsoft.com/office/drawing/2014/main" id="{7873FB91-1337-4A7F-8995-6F82AEF761CD}"/>
              </a:ext>
            </a:extLst>
          </p:cNvPr>
          <p:cNvPicPr>
            <a:picLocks noChangeAspect="1" noChangeArrowheads="1"/>
          </p:cNvPicPr>
          <p:nvPr/>
        </p:nvPicPr>
        <p:blipFill>
          <a:blip r:embed="rId34" cstate="print">
            <a:extLst>
              <a:ext uri="{28A0092B-C50C-407E-A947-70E740481C1C}">
                <a14:useLocalDpi xmlns:a14="http://schemas.microsoft.com/office/drawing/2010/main" val="0"/>
              </a:ext>
            </a:extLst>
          </a:blip>
          <a:srcRect/>
          <a:stretch>
            <a:fillRect/>
          </a:stretch>
        </p:blipFill>
        <p:spPr bwMode="auto">
          <a:xfrm>
            <a:off x="1992296" y="2803150"/>
            <a:ext cx="926045" cy="360000"/>
          </a:xfrm>
          <a:prstGeom prst="rect">
            <a:avLst/>
          </a:prstGeom>
          <a:noFill/>
          <a:extLst>
            <a:ext uri="{909E8E84-426E-40DD-AFC4-6F175D3DCCD1}">
              <a14:hiddenFill xmlns:a14="http://schemas.microsoft.com/office/drawing/2010/main">
                <a:solidFill>
                  <a:srgbClr val="FFFFFF"/>
                </a:solidFill>
              </a14:hiddenFill>
            </a:ext>
          </a:extLst>
        </p:spPr>
      </p:pic>
      <p:pic>
        <p:nvPicPr>
          <p:cNvPr id="37905" name="Picture 17" descr="PowerMock (Android). Often, in order to write unit tests… | by Gioacchino  Lonardo | Medium">
            <a:extLst>
              <a:ext uri="{FF2B5EF4-FFF2-40B4-BE49-F238E27FC236}">
                <a16:creationId xmlns:a16="http://schemas.microsoft.com/office/drawing/2014/main" id="{D068A2D2-A3E1-43A2-9A0A-99C002C43726}"/>
              </a:ext>
            </a:extLst>
          </p:cNvPr>
          <p:cNvPicPr>
            <a:picLocks noChangeAspect="1" noChangeArrowheads="1"/>
          </p:cNvPicPr>
          <p:nvPr/>
        </p:nvPicPr>
        <p:blipFill>
          <a:blip r:embed="rId35" cstate="print">
            <a:extLst>
              <a:ext uri="{28A0092B-C50C-407E-A947-70E740481C1C}">
                <a14:useLocalDpi xmlns:a14="http://schemas.microsoft.com/office/drawing/2010/main" val="0"/>
              </a:ext>
            </a:extLst>
          </a:blip>
          <a:srcRect/>
          <a:stretch>
            <a:fillRect/>
          </a:stretch>
        </p:blipFill>
        <p:spPr bwMode="auto">
          <a:xfrm>
            <a:off x="3024516" y="2835505"/>
            <a:ext cx="493019" cy="2473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730680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797C85F-5F7D-47C4-A6BB-EA86ED90E6E3}"/>
              </a:ext>
            </a:extLst>
          </p:cNvPr>
          <p:cNvGraphicFramePr>
            <a:graphicFrameLocks noChangeAspect="1"/>
          </p:cNvGraphicFramePr>
          <p:nvPr>
            <p:custDataLst>
              <p:tags r:id="rId2"/>
            </p:custDataLst>
            <p:extLst>
              <p:ext uri="{D42A27DB-BD31-4B8C-83A1-F6EECF244321}">
                <p14:modId xmlns:p14="http://schemas.microsoft.com/office/powerpoint/2010/main" val="366412584"/>
              </p:ext>
            </p:extLst>
          </p:nvPr>
        </p:nvGraphicFramePr>
        <p:xfrm>
          <a:off x="1283" y="1216"/>
          <a:ext cx="1215" cy="1215"/>
        </p:xfrm>
        <a:graphic>
          <a:graphicData uri="http://schemas.openxmlformats.org/presentationml/2006/ole">
            <mc:AlternateContent xmlns:mc="http://schemas.openxmlformats.org/markup-compatibility/2006">
              <mc:Choice xmlns:v="urn:schemas-microsoft-com:vml" Requires="v">
                <p:oleObj spid="_x0000_s30809" name="think-cell Slide" r:id="rId5" imgW="526" imgH="526" progId="TCLayout.ActiveDocument.1">
                  <p:embed/>
                </p:oleObj>
              </mc:Choice>
              <mc:Fallback>
                <p:oleObj name="think-cell Slide" r:id="rId5" imgW="526" imgH="526" progId="TCLayout.ActiveDocument.1">
                  <p:embed/>
                  <p:pic>
                    <p:nvPicPr>
                      <p:cNvPr id="6" name="Object 5" hidden="1">
                        <a:extLst>
                          <a:ext uri="{FF2B5EF4-FFF2-40B4-BE49-F238E27FC236}">
                            <a16:creationId xmlns:a16="http://schemas.microsoft.com/office/drawing/2014/main" id="{E797C85F-5F7D-47C4-A6BB-EA86ED90E6E3}"/>
                          </a:ext>
                        </a:extLst>
                      </p:cNvPr>
                      <p:cNvPicPr/>
                      <p:nvPr/>
                    </p:nvPicPr>
                    <p:blipFill>
                      <a:blip r:embed="rId6"/>
                      <a:stretch>
                        <a:fillRect/>
                      </a:stretch>
                    </p:blipFill>
                    <p:spPr>
                      <a:xfrm>
                        <a:off x="1283" y="1216"/>
                        <a:ext cx="1215" cy="1215"/>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F4D3B36-5E6E-429A-AAAA-8BA081EE939D}"/>
              </a:ext>
            </a:extLst>
          </p:cNvPr>
          <p:cNvSpPr/>
          <p:nvPr>
            <p:custDataLst>
              <p:tags r:id="rId3"/>
            </p:custDataLst>
          </p:nvPr>
        </p:nvSpPr>
        <p:spPr>
          <a:xfrm>
            <a:off x="68" y="0"/>
            <a:ext cx="121481" cy="121481"/>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it-IT" sz="2400" b="1" dirty="0" err="1">
              <a:solidFill>
                <a:schemeClr val="tx1"/>
              </a:solidFill>
              <a:latin typeface="UniCredit" panose="02000506040000020004" pitchFamily="2" charset="0"/>
              <a:ea typeface="+mj-ea"/>
              <a:cs typeface="Arial" panose="020B0604020202020204" pitchFamily="34" charset="0"/>
              <a:sym typeface="UniCredit" panose="02000506040000020004" pitchFamily="2" charset="0"/>
            </a:endParaRPr>
          </a:p>
        </p:txBody>
      </p:sp>
      <p:sp>
        <p:nvSpPr>
          <p:cNvPr id="2" name="Title 1">
            <a:extLst>
              <a:ext uri="{FF2B5EF4-FFF2-40B4-BE49-F238E27FC236}">
                <a16:creationId xmlns:a16="http://schemas.microsoft.com/office/drawing/2014/main" id="{F6500C3B-6935-4D85-8BF8-7EE95618F84A}"/>
              </a:ext>
            </a:extLst>
          </p:cNvPr>
          <p:cNvSpPr>
            <a:spLocks noGrp="1"/>
          </p:cNvSpPr>
          <p:nvPr>
            <p:ph type="title"/>
          </p:nvPr>
        </p:nvSpPr>
        <p:spPr>
          <a:xfrm>
            <a:off x="269437" y="247765"/>
            <a:ext cx="8260630" cy="235521"/>
          </a:xfrm>
        </p:spPr>
        <p:txBody>
          <a:bodyPr/>
          <a:lstStyle/>
          <a:p>
            <a:r>
              <a:rPr lang="it-IT" dirty="0"/>
              <a:t>Agile </a:t>
            </a:r>
            <a:r>
              <a:rPr lang="en-US" dirty="0"/>
              <a:t>methodology</a:t>
            </a:r>
            <a:r>
              <a:rPr lang="it-IT" dirty="0"/>
              <a:t>: 4 sprints for the on boarding</a:t>
            </a:r>
            <a:endParaRPr lang="ru-RU" dirty="0">
              <a:solidFill>
                <a:srgbClr val="FF0000"/>
              </a:solidFill>
            </a:endParaRPr>
          </a:p>
        </p:txBody>
      </p:sp>
      <p:sp>
        <p:nvSpPr>
          <p:cNvPr id="47" name="Rectangle: Diagonal Corners Rounded 46">
            <a:extLst>
              <a:ext uri="{FF2B5EF4-FFF2-40B4-BE49-F238E27FC236}">
                <a16:creationId xmlns:a16="http://schemas.microsoft.com/office/drawing/2014/main" id="{AADF1838-537F-4B38-B8DF-D3B1D0F6BE58}"/>
              </a:ext>
            </a:extLst>
          </p:cNvPr>
          <p:cNvSpPr/>
          <p:nvPr/>
        </p:nvSpPr>
        <p:spPr>
          <a:xfrm>
            <a:off x="884233" y="4399559"/>
            <a:ext cx="7923597" cy="177886"/>
          </a:xfrm>
          <a:prstGeom prst="round2DiagRect">
            <a:avLst/>
          </a:prstGeom>
          <a:solidFill>
            <a:schemeClr val="bg1"/>
          </a:solidFill>
          <a:ln w="190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18" b="1" dirty="0">
                <a:solidFill>
                  <a:schemeClr val="tx1"/>
                </a:solidFill>
                <a:latin typeface="+mj-lt"/>
              </a:rPr>
              <a:t>SYNCHRONIZE WITH CIO CUSTOMER PROJECT MILESTONES</a:t>
            </a:r>
          </a:p>
        </p:txBody>
      </p:sp>
      <p:sp>
        <p:nvSpPr>
          <p:cNvPr id="11" name="TextBox 10">
            <a:extLst>
              <a:ext uri="{FF2B5EF4-FFF2-40B4-BE49-F238E27FC236}">
                <a16:creationId xmlns:a16="http://schemas.microsoft.com/office/drawing/2014/main" id="{6FFCEBE9-AAEC-45C2-B7F9-A19B268A67E3}"/>
              </a:ext>
            </a:extLst>
          </p:cNvPr>
          <p:cNvSpPr txBox="1"/>
          <p:nvPr/>
        </p:nvSpPr>
        <p:spPr>
          <a:xfrm>
            <a:off x="269437" y="1812716"/>
            <a:ext cx="467179" cy="1033584"/>
          </a:xfrm>
          <a:prstGeom prst="rect">
            <a:avLst/>
          </a:prstGeom>
          <a:noFill/>
        </p:spPr>
        <p:txBody>
          <a:bodyPr vert="vert270" wrap="square" rtlCol="0">
            <a:spAutoFit/>
          </a:bodyPr>
          <a:lstStyle/>
          <a:p>
            <a:pPr algn="ctr"/>
            <a:r>
              <a:rPr lang="en-US" sz="918" b="1" dirty="0">
                <a:latin typeface="+mj-lt"/>
              </a:rPr>
              <a:t>DEVOPS </a:t>
            </a:r>
          </a:p>
          <a:p>
            <a:pPr algn="ctr"/>
            <a:r>
              <a:rPr lang="en-US" sz="918" b="1" dirty="0">
                <a:latin typeface="+mj-lt"/>
              </a:rPr>
              <a:t>TEAM</a:t>
            </a:r>
          </a:p>
        </p:txBody>
      </p:sp>
      <p:sp>
        <p:nvSpPr>
          <p:cNvPr id="33" name="TextBox 32">
            <a:extLst>
              <a:ext uri="{FF2B5EF4-FFF2-40B4-BE49-F238E27FC236}">
                <a16:creationId xmlns:a16="http://schemas.microsoft.com/office/drawing/2014/main" id="{5D02CB21-05CC-4B98-995F-88FA70E78371}"/>
              </a:ext>
            </a:extLst>
          </p:cNvPr>
          <p:cNvSpPr txBox="1"/>
          <p:nvPr/>
        </p:nvSpPr>
        <p:spPr>
          <a:xfrm>
            <a:off x="269437" y="3143612"/>
            <a:ext cx="467179" cy="1033584"/>
          </a:xfrm>
          <a:prstGeom prst="rect">
            <a:avLst/>
          </a:prstGeom>
          <a:noFill/>
        </p:spPr>
        <p:txBody>
          <a:bodyPr vert="vert270" wrap="square" rtlCol="0">
            <a:spAutoFit/>
          </a:bodyPr>
          <a:lstStyle/>
          <a:p>
            <a:pPr algn="ctr"/>
            <a:r>
              <a:rPr lang="en-US" sz="918" b="1" dirty="0">
                <a:latin typeface="+mj-lt"/>
              </a:rPr>
              <a:t>APPLICAYION </a:t>
            </a:r>
          </a:p>
          <a:p>
            <a:pPr algn="ctr"/>
            <a:r>
              <a:rPr lang="en-US" sz="918" b="1" dirty="0">
                <a:latin typeface="+mj-lt"/>
              </a:rPr>
              <a:t>TEAM</a:t>
            </a:r>
          </a:p>
        </p:txBody>
      </p:sp>
      <p:sp>
        <p:nvSpPr>
          <p:cNvPr id="14" name="Rectangle 13">
            <a:extLst>
              <a:ext uri="{FF2B5EF4-FFF2-40B4-BE49-F238E27FC236}">
                <a16:creationId xmlns:a16="http://schemas.microsoft.com/office/drawing/2014/main" id="{C111FDEC-1457-440E-A9F9-90BD36661978}"/>
              </a:ext>
            </a:extLst>
          </p:cNvPr>
          <p:cNvSpPr/>
          <p:nvPr/>
        </p:nvSpPr>
        <p:spPr>
          <a:xfrm>
            <a:off x="831756" y="1941151"/>
            <a:ext cx="1531808" cy="721480"/>
          </a:xfrm>
          <a:prstGeom prst="rect">
            <a:avLst/>
          </a:prstGeom>
        </p:spPr>
        <p:txBody>
          <a:bodyPr wrap="square">
            <a:spAutoFit/>
          </a:bodyPr>
          <a:lstStyle/>
          <a:p>
            <a:pPr marL="131194" indent="-131194" defTabSz="524735">
              <a:spcAft>
                <a:spcPts val="459"/>
              </a:spcAft>
              <a:buClr>
                <a:srgbClr val="C00000"/>
              </a:buClr>
              <a:buFont typeface="Arial" panose="020B0604020202020204" pitchFamily="34" charset="0"/>
              <a:buChar char="•"/>
              <a:defRPr/>
            </a:pPr>
            <a:r>
              <a:rPr lang="en-US" sz="918" dirty="0">
                <a:latin typeface="+mj-lt"/>
              </a:rPr>
              <a:t>Appoint </a:t>
            </a:r>
            <a:r>
              <a:rPr lang="en-US" sz="918" dirty="0" err="1">
                <a:latin typeface="+mj-lt"/>
              </a:rPr>
              <a:t>devops</a:t>
            </a:r>
            <a:r>
              <a:rPr lang="en-US" sz="918" dirty="0">
                <a:latin typeface="+mj-lt"/>
              </a:rPr>
              <a:t> onboarding leader in </a:t>
            </a:r>
            <a:r>
              <a:rPr lang="en-US" sz="918" dirty="0" err="1">
                <a:latin typeface="+mj-lt"/>
              </a:rPr>
              <a:t>devops_team</a:t>
            </a:r>
            <a:endParaRPr lang="en-US" sz="918" dirty="0">
              <a:latin typeface="+mj-lt"/>
            </a:endParaRPr>
          </a:p>
          <a:p>
            <a:pPr marL="131194" indent="-131194" defTabSz="524735">
              <a:spcAft>
                <a:spcPts val="459"/>
              </a:spcAft>
              <a:buClr>
                <a:srgbClr val="C00000"/>
              </a:buClr>
              <a:buFont typeface="Arial" panose="020B0604020202020204" pitchFamily="34" charset="0"/>
              <a:buChar char="•"/>
              <a:defRPr/>
            </a:pPr>
            <a:r>
              <a:rPr lang="en-US" sz="918" dirty="0">
                <a:latin typeface="+mj-lt"/>
              </a:rPr>
              <a:t>Sizing of the application</a:t>
            </a:r>
          </a:p>
        </p:txBody>
      </p:sp>
      <p:sp>
        <p:nvSpPr>
          <p:cNvPr id="37" name="Rectangle 36">
            <a:extLst>
              <a:ext uri="{FF2B5EF4-FFF2-40B4-BE49-F238E27FC236}">
                <a16:creationId xmlns:a16="http://schemas.microsoft.com/office/drawing/2014/main" id="{50A53A46-E8C7-47BD-9FB9-E47142B9D05D}"/>
              </a:ext>
            </a:extLst>
          </p:cNvPr>
          <p:cNvSpPr/>
          <p:nvPr/>
        </p:nvSpPr>
        <p:spPr>
          <a:xfrm>
            <a:off x="2412611" y="1941151"/>
            <a:ext cx="1531808" cy="926857"/>
          </a:xfrm>
          <a:prstGeom prst="rect">
            <a:avLst/>
          </a:prstGeom>
        </p:spPr>
        <p:txBody>
          <a:bodyPr wrap="square">
            <a:spAutoFit/>
          </a:bodyPr>
          <a:lstStyle/>
          <a:p>
            <a:pPr marL="131194" indent="-131194" defTabSz="524735">
              <a:spcAft>
                <a:spcPts val="459"/>
              </a:spcAft>
              <a:buClr>
                <a:srgbClr val="C00000"/>
              </a:buClr>
              <a:buFont typeface="Arial" panose="020B0604020202020204" pitchFamily="34" charset="0"/>
              <a:buChar char="•"/>
              <a:defRPr/>
            </a:pPr>
            <a:r>
              <a:rPr lang="en-US" sz="918" dirty="0">
                <a:latin typeface="+mj-lt"/>
              </a:rPr>
              <a:t>Branching strategy configuration</a:t>
            </a:r>
          </a:p>
          <a:p>
            <a:pPr marL="131194" indent="-131194" defTabSz="524735">
              <a:spcAft>
                <a:spcPts val="459"/>
              </a:spcAft>
              <a:buClr>
                <a:srgbClr val="C00000"/>
              </a:buClr>
              <a:buFont typeface="Arial" panose="020B0604020202020204" pitchFamily="34" charset="0"/>
              <a:buChar char="•"/>
              <a:defRPr/>
            </a:pPr>
            <a:r>
              <a:rPr lang="en-US" sz="918" dirty="0">
                <a:latin typeface="+mj-lt"/>
              </a:rPr>
              <a:t>Pipeline design</a:t>
            </a:r>
          </a:p>
          <a:p>
            <a:pPr marL="131194" indent="-131194" defTabSz="524735">
              <a:spcAft>
                <a:spcPts val="459"/>
              </a:spcAft>
              <a:buClr>
                <a:srgbClr val="C00000"/>
              </a:buClr>
              <a:buFont typeface="Arial" panose="020B0604020202020204" pitchFamily="34" charset="0"/>
              <a:buChar char="•"/>
              <a:defRPr/>
            </a:pPr>
            <a:r>
              <a:rPr lang="en-US" sz="918" dirty="0">
                <a:latin typeface="+mj-lt"/>
              </a:rPr>
              <a:t>DevOps tools provisioning &amp; configurations</a:t>
            </a:r>
          </a:p>
        </p:txBody>
      </p:sp>
      <p:sp>
        <p:nvSpPr>
          <p:cNvPr id="38" name="Rectangle 37">
            <a:extLst>
              <a:ext uri="{FF2B5EF4-FFF2-40B4-BE49-F238E27FC236}">
                <a16:creationId xmlns:a16="http://schemas.microsoft.com/office/drawing/2014/main" id="{E437EB4A-BF3D-4051-A1B3-C5F3765A1AAC}"/>
              </a:ext>
            </a:extLst>
          </p:cNvPr>
          <p:cNvSpPr/>
          <p:nvPr/>
        </p:nvSpPr>
        <p:spPr>
          <a:xfrm>
            <a:off x="3993626" y="1940965"/>
            <a:ext cx="1531808" cy="721480"/>
          </a:xfrm>
          <a:prstGeom prst="rect">
            <a:avLst/>
          </a:prstGeom>
        </p:spPr>
        <p:txBody>
          <a:bodyPr wrap="square">
            <a:spAutoFit/>
          </a:bodyPr>
          <a:lstStyle/>
          <a:p>
            <a:pPr marL="131194" indent="-131194" defTabSz="524735">
              <a:spcAft>
                <a:spcPts val="459"/>
              </a:spcAft>
              <a:buClr>
                <a:srgbClr val="C00000"/>
              </a:buClr>
              <a:buFont typeface="Arial" panose="020B0604020202020204" pitchFamily="34" charset="0"/>
              <a:buChar char="•"/>
              <a:defRPr/>
            </a:pPr>
            <a:r>
              <a:rPr lang="en-US" sz="918">
                <a:latin typeface="+mj-lt"/>
              </a:rPr>
              <a:t>Pipeline implementation CI part</a:t>
            </a:r>
          </a:p>
          <a:p>
            <a:pPr marL="131194" indent="-131194" defTabSz="524735">
              <a:spcAft>
                <a:spcPts val="459"/>
              </a:spcAft>
              <a:buClr>
                <a:srgbClr val="C00000"/>
              </a:buClr>
              <a:buFont typeface="Arial" panose="020B0604020202020204" pitchFamily="34" charset="0"/>
              <a:buChar char="•"/>
              <a:defRPr/>
            </a:pPr>
            <a:r>
              <a:rPr lang="en-US" sz="918">
                <a:latin typeface="+mj-lt"/>
              </a:rPr>
              <a:t>DevOps framework and services integration CI part</a:t>
            </a:r>
          </a:p>
        </p:txBody>
      </p:sp>
      <p:sp>
        <p:nvSpPr>
          <p:cNvPr id="39" name="Rectangle 38">
            <a:extLst>
              <a:ext uri="{FF2B5EF4-FFF2-40B4-BE49-F238E27FC236}">
                <a16:creationId xmlns:a16="http://schemas.microsoft.com/office/drawing/2014/main" id="{B530AC0F-9AA2-4B7E-BF8D-210ADA9975E9}"/>
              </a:ext>
            </a:extLst>
          </p:cNvPr>
          <p:cNvSpPr/>
          <p:nvPr/>
        </p:nvSpPr>
        <p:spPr>
          <a:xfrm>
            <a:off x="5589884" y="1940965"/>
            <a:ext cx="1531808" cy="721480"/>
          </a:xfrm>
          <a:prstGeom prst="rect">
            <a:avLst/>
          </a:prstGeom>
        </p:spPr>
        <p:txBody>
          <a:bodyPr wrap="square">
            <a:spAutoFit/>
          </a:bodyPr>
          <a:lstStyle/>
          <a:p>
            <a:pPr marL="131194" indent="-131194" defTabSz="524735">
              <a:spcAft>
                <a:spcPts val="459"/>
              </a:spcAft>
              <a:buClr>
                <a:srgbClr val="C00000"/>
              </a:buClr>
              <a:buFont typeface="Arial" panose="020B0604020202020204" pitchFamily="34" charset="0"/>
              <a:buChar char="•"/>
              <a:defRPr/>
            </a:pPr>
            <a:r>
              <a:rPr lang="en-US" sz="918">
                <a:latin typeface="+mj-lt"/>
              </a:rPr>
              <a:t>Pipeline implementation CD part</a:t>
            </a:r>
          </a:p>
          <a:p>
            <a:pPr marL="131194" indent="-131194" defTabSz="524735">
              <a:spcAft>
                <a:spcPts val="459"/>
              </a:spcAft>
              <a:buClr>
                <a:srgbClr val="C00000"/>
              </a:buClr>
              <a:buFont typeface="Arial" panose="020B0604020202020204" pitchFamily="34" charset="0"/>
              <a:buChar char="•"/>
              <a:defRPr/>
            </a:pPr>
            <a:r>
              <a:rPr lang="en-US" sz="918">
                <a:latin typeface="+mj-lt"/>
              </a:rPr>
              <a:t>Framework integrations CD part </a:t>
            </a:r>
          </a:p>
        </p:txBody>
      </p:sp>
      <p:sp>
        <p:nvSpPr>
          <p:cNvPr id="40" name="Rectangle 39">
            <a:extLst>
              <a:ext uri="{FF2B5EF4-FFF2-40B4-BE49-F238E27FC236}">
                <a16:creationId xmlns:a16="http://schemas.microsoft.com/office/drawing/2014/main" id="{F1CF7710-2B4E-4E3C-B05F-568A9DF790AC}"/>
              </a:ext>
            </a:extLst>
          </p:cNvPr>
          <p:cNvSpPr/>
          <p:nvPr/>
        </p:nvSpPr>
        <p:spPr>
          <a:xfrm>
            <a:off x="7308624" y="1939750"/>
            <a:ext cx="1531808" cy="516103"/>
          </a:xfrm>
          <a:prstGeom prst="rect">
            <a:avLst/>
          </a:prstGeom>
        </p:spPr>
        <p:txBody>
          <a:bodyPr wrap="square">
            <a:spAutoFit/>
          </a:bodyPr>
          <a:lstStyle/>
          <a:p>
            <a:pPr marL="131194" indent="-131194" defTabSz="524735">
              <a:spcAft>
                <a:spcPts val="459"/>
              </a:spcAft>
              <a:buClr>
                <a:srgbClr val="C00000"/>
              </a:buClr>
              <a:buFont typeface="Arial" panose="020B0604020202020204" pitchFamily="34" charset="0"/>
              <a:buChar char="•"/>
              <a:defRPr/>
            </a:pPr>
            <a:r>
              <a:rPr lang="en-US" sz="918">
                <a:latin typeface="+mj-lt"/>
              </a:rPr>
              <a:t>Integration and e2e tests coverage targets verification</a:t>
            </a:r>
          </a:p>
        </p:txBody>
      </p:sp>
      <p:cxnSp>
        <p:nvCxnSpPr>
          <p:cNvPr id="4" name="Straight Connector 3">
            <a:extLst>
              <a:ext uri="{FF2B5EF4-FFF2-40B4-BE49-F238E27FC236}">
                <a16:creationId xmlns:a16="http://schemas.microsoft.com/office/drawing/2014/main" id="{22C614B1-8863-49E5-A379-AB43B796E44E}"/>
              </a:ext>
            </a:extLst>
          </p:cNvPr>
          <p:cNvCxnSpPr>
            <a:cxnSpLocks/>
          </p:cNvCxnSpPr>
          <p:nvPr/>
        </p:nvCxnSpPr>
        <p:spPr>
          <a:xfrm>
            <a:off x="813981" y="2904614"/>
            <a:ext cx="7718887" cy="0"/>
          </a:xfrm>
          <a:prstGeom prst="line">
            <a:avLst/>
          </a:prstGeom>
          <a:ln w="12700">
            <a:solidFill>
              <a:schemeClr val="bg1">
                <a:lumMod val="50000"/>
              </a:schemeClr>
            </a:solidFill>
            <a:prstDash val="lgDash"/>
          </a:ln>
        </p:spPr>
        <p:style>
          <a:lnRef idx="1">
            <a:schemeClr val="accent1"/>
          </a:lnRef>
          <a:fillRef idx="0">
            <a:schemeClr val="accent1"/>
          </a:fillRef>
          <a:effectRef idx="0">
            <a:schemeClr val="accent1"/>
          </a:effectRef>
          <a:fontRef idx="minor">
            <a:schemeClr val="tx1"/>
          </a:fontRef>
        </p:style>
      </p:cxnSp>
      <p:sp>
        <p:nvSpPr>
          <p:cNvPr id="41" name="Rectangle 40">
            <a:extLst>
              <a:ext uri="{FF2B5EF4-FFF2-40B4-BE49-F238E27FC236}">
                <a16:creationId xmlns:a16="http://schemas.microsoft.com/office/drawing/2014/main" id="{C557C6BC-60BB-4C2A-A1FA-DBF34F579E4A}"/>
              </a:ext>
            </a:extLst>
          </p:cNvPr>
          <p:cNvSpPr/>
          <p:nvPr/>
        </p:nvSpPr>
        <p:spPr>
          <a:xfrm>
            <a:off x="831756" y="2980160"/>
            <a:ext cx="1531808" cy="1068113"/>
          </a:xfrm>
          <a:prstGeom prst="rect">
            <a:avLst/>
          </a:prstGeom>
        </p:spPr>
        <p:txBody>
          <a:bodyPr wrap="square">
            <a:spAutoFit/>
          </a:bodyPr>
          <a:lstStyle/>
          <a:p>
            <a:pPr marL="131194" indent="-131194" defTabSz="524735">
              <a:spcAft>
                <a:spcPts val="459"/>
              </a:spcAft>
              <a:buClr>
                <a:srgbClr val="C00000"/>
              </a:buClr>
              <a:buFont typeface="Arial" panose="020B0604020202020204" pitchFamily="34" charset="0"/>
              <a:buChar char="•"/>
              <a:defRPr/>
            </a:pPr>
            <a:r>
              <a:rPr lang="en-US" sz="918" dirty="0">
                <a:latin typeface="+mj-lt"/>
              </a:rPr>
              <a:t>Define timeline and </a:t>
            </a:r>
            <a:r>
              <a:rPr lang="en-US" sz="918" b="1" dirty="0">
                <a:latin typeface="+mj-lt"/>
              </a:rPr>
              <a:t>goals</a:t>
            </a:r>
            <a:r>
              <a:rPr lang="en-US" sz="918" dirty="0">
                <a:latin typeface="+mj-lt"/>
              </a:rPr>
              <a:t> for each sprint</a:t>
            </a:r>
          </a:p>
          <a:p>
            <a:pPr marL="131194" indent="-131194" defTabSz="524735">
              <a:spcAft>
                <a:spcPts val="459"/>
              </a:spcAft>
              <a:buClr>
                <a:srgbClr val="C00000"/>
              </a:buClr>
              <a:buFont typeface="Arial" panose="020B0604020202020204" pitchFamily="34" charset="0"/>
              <a:buChar char="•"/>
              <a:defRPr/>
            </a:pPr>
            <a:r>
              <a:rPr lang="en-US" sz="918" dirty="0"/>
              <a:t>Definition of integration and e2e tests </a:t>
            </a:r>
            <a:r>
              <a:rPr lang="en-US" sz="918" b="1" dirty="0"/>
              <a:t>coverage targets</a:t>
            </a:r>
          </a:p>
          <a:p>
            <a:pPr marL="131194" indent="-131194" defTabSz="524735">
              <a:spcAft>
                <a:spcPts val="459"/>
              </a:spcAft>
              <a:buClr>
                <a:srgbClr val="C00000"/>
              </a:buClr>
              <a:buFont typeface="Arial" panose="020B0604020202020204" pitchFamily="34" charset="0"/>
              <a:buChar char="•"/>
              <a:defRPr/>
            </a:pPr>
            <a:endParaRPr lang="en-US" sz="918" dirty="0">
              <a:latin typeface="+mj-lt"/>
            </a:endParaRPr>
          </a:p>
        </p:txBody>
      </p:sp>
      <p:sp>
        <p:nvSpPr>
          <p:cNvPr id="42" name="Rectangle 41">
            <a:extLst>
              <a:ext uri="{FF2B5EF4-FFF2-40B4-BE49-F238E27FC236}">
                <a16:creationId xmlns:a16="http://schemas.microsoft.com/office/drawing/2014/main" id="{B71E48B0-A468-46BE-A81F-47DB329837F0}"/>
              </a:ext>
            </a:extLst>
          </p:cNvPr>
          <p:cNvSpPr/>
          <p:nvPr/>
        </p:nvSpPr>
        <p:spPr>
          <a:xfrm>
            <a:off x="2412610" y="2980159"/>
            <a:ext cx="1720570" cy="1337610"/>
          </a:xfrm>
          <a:prstGeom prst="rect">
            <a:avLst/>
          </a:prstGeom>
        </p:spPr>
        <p:txBody>
          <a:bodyPr wrap="square">
            <a:spAutoFit/>
          </a:bodyPr>
          <a:lstStyle/>
          <a:p>
            <a:pPr marL="131194" indent="-131194" defTabSz="524735">
              <a:spcAft>
                <a:spcPts val="459"/>
              </a:spcAft>
              <a:buClr>
                <a:srgbClr val="C00000"/>
              </a:buClr>
              <a:buFont typeface="Arial" panose="020B0604020202020204" pitchFamily="34" charset="0"/>
              <a:buChar char="•"/>
              <a:defRPr/>
            </a:pPr>
            <a:r>
              <a:rPr lang="en-US" sz="918" dirty="0">
                <a:latin typeface="+mj-lt"/>
              </a:rPr>
              <a:t>SVN to </a:t>
            </a:r>
            <a:r>
              <a:rPr lang="en-US" sz="918" b="1" dirty="0">
                <a:latin typeface="+mj-lt"/>
              </a:rPr>
              <a:t>GIT</a:t>
            </a:r>
            <a:r>
              <a:rPr lang="en-US" sz="918" dirty="0">
                <a:latin typeface="+mj-lt"/>
              </a:rPr>
              <a:t> Migration and branching strategy def.</a:t>
            </a:r>
          </a:p>
          <a:p>
            <a:pPr marL="131194" indent="-131194" defTabSz="524735">
              <a:spcAft>
                <a:spcPts val="459"/>
              </a:spcAft>
              <a:buClr>
                <a:srgbClr val="C00000"/>
              </a:buClr>
              <a:buFont typeface="Arial" panose="020B0604020202020204" pitchFamily="34" charset="0"/>
              <a:buChar char="•"/>
              <a:defRPr/>
            </a:pPr>
            <a:r>
              <a:rPr lang="en-US" sz="918" b="1" dirty="0" err="1">
                <a:latin typeface="+mj-lt"/>
              </a:rPr>
              <a:t>Testbook</a:t>
            </a:r>
            <a:r>
              <a:rPr lang="en-US" sz="918" dirty="0">
                <a:latin typeface="+mj-lt"/>
              </a:rPr>
              <a:t> design</a:t>
            </a:r>
          </a:p>
          <a:p>
            <a:pPr marL="131194" indent="-131194" defTabSz="524735">
              <a:spcAft>
                <a:spcPts val="459"/>
              </a:spcAft>
              <a:buClr>
                <a:srgbClr val="C00000"/>
              </a:buClr>
              <a:buFont typeface="Arial" panose="020B0604020202020204" pitchFamily="34" charset="0"/>
              <a:buChar char="•"/>
              <a:defRPr/>
            </a:pPr>
            <a:r>
              <a:rPr lang="en-US" sz="918" dirty="0">
                <a:latin typeface="+mj-lt"/>
              </a:rPr>
              <a:t>Testing </a:t>
            </a:r>
            <a:r>
              <a:rPr lang="en-US" sz="918" b="1" dirty="0">
                <a:latin typeface="+mj-lt"/>
              </a:rPr>
              <a:t>frameworks</a:t>
            </a:r>
            <a:r>
              <a:rPr lang="en-US" sz="918" dirty="0">
                <a:latin typeface="+mj-lt"/>
              </a:rPr>
              <a:t> and </a:t>
            </a:r>
            <a:r>
              <a:rPr lang="en-US" sz="918" b="1" dirty="0">
                <a:latin typeface="+mj-lt"/>
              </a:rPr>
              <a:t>service virtualization</a:t>
            </a:r>
            <a:r>
              <a:rPr lang="en-US" sz="918" dirty="0">
                <a:latin typeface="+mj-lt"/>
              </a:rPr>
              <a:t>* setup</a:t>
            </a:r>
          </a:p>
          <a:p>
            <a:pPr marL="131194" indent="-131194" defTabSz="524735">
              <a:spcAft>
                <a:spcPts val="459"/>
              </a:spcAft>
              <a:buClr>
                <a:srgbClr val="C00000"/>
              </a:buClr>
              <a:buFont typeface="Arial" panose="020B0604020202020204" pitchFamily="34" charset="0"/>
              <a:buChar char="•"/>
              <a:defRPr/>
            </a:pPr>
            <a:r>
              <a:rPr lang="en-US" sz="918" b="1" dirty="0">
                <a:latin typeface="+mj-lt"/>
              </a:rPr>
              <a:t>Environments</a:t>
            </a:r>
            <a:r>
              <a:rPr lang="en-US" sz="918" dirty="0">
                <a:latin typeface="+mj-lt"/>
              </a:rPr>
              <a:t> setup *</a:t>
            </a:r>
          </a:p>
          <a:p>
            <a:pPr marL="131194" indent="-131194" defTabSz="524735">
              <a:spcAft>
                <a:spcPts val="459"/>
              </a:spcAft>
              <a:buClr>
                <a:srgbClr val="C00000"/>
              </a:buClr>
              <a:buFont typeface="Arial" panose="020B0604020202020204" pitchFamily="34" charset="0"/>
              <a:buChar char="•"/>
              <a:defRPr/>
            </a:pPr>
            <a:r>
              <a:rPr lang="en-US" sz="918" b="1" dirty="0">
                <a:latin typeface="+mj-lt"/>
              </a:rPr>
              <a:t>Feature Flag </a:t>
            </a:r>
            <a:r>
              <a:rPr lang="en-US" sz="918" dirty="0">
                <a:latin typeface="+mj-lt"/>
              </a:rPr>
              <a:t>approach *</a:t>
            </a:r>
          </a:p>
        </p:txBody>
      </p:sp>
      <p:sp>
        <p:nvSpPr>
          <p:cNvPr id="43" name="Rectangle 42">
            <a:extLst>
              <a:ext uri="{FF2B5EF4-FFF2-40B4-BE49-F238E27FC236}">
                <a16:creationId xmlns:a16="http://schemas.microsoft.com/office/drawing/2014/main" id="{E4FE5058-8EDF-4186-A317-B02C40F6D733}"/>
              </a:ext>
            </a:extLst>
          </p:cNvPr>
          <p:cNvSpPr/>
          <p:nvPr/>
        </p:nvSpPr>
        <p:spPr>
          <a:xfrm>
            <a:off x="3993626" y="2979973"/>
            <a:ext cx="1531808" cy="1478866"/>
          </a:xfrm>
          <a:prstGeom prst="rect">
            <a:avLst/>
          </a:prstGeom>
        </p:spPr>
        <p:txBody>
          <a:bodyPr wrap="square">
            <a:spAutoFit/>
          </a:bodyPr>
          <a:lstStyle/>
          <a:p>
            <a:pPr marL="131194" indent="-131194" defTabSz="524735">
              <a:spcAft>
                <a:spcPts val="459"/>
              </a:spcAft>
              <a:buClr>
                <a:srgbClr val="C00000"/>
              </a:buClr>
              <a:buFont typeface="Arial" panose="020B0604020202020204" pitchFamily="34" charset="0"/>
              <a:buChar char="•"/>
              <a:defRPr/>
            </a:pPr>
            <a:r>
              <a:rPr lang="en-US" sz="918" dirty="0"/>
              <a:t>Resolution of blockers, critical </a:t>
            </a:r>
            <a:r>
              <a:rPr lang="en-US" sz="918" b="1" dirty="0"/>
              <a:t>bugs</a:t>
            </a:r>
            <a:r>
              <a:rPr lang="en-US" sz="918" dirty="0"/>
              <a:t> and </a:t>
            </a:r>
            <a:r>
              <a:rPr lang="en-US" sz="918" b="1" dirty="0"/>
              <a:t>vulnerabilities</a:t>
            </a:r>
          </a:p>
          <a:p>
            <a:pPr marL="131194" indent="-131194" defTabSz="524735">
              <a:spcAft>
                <a:spcPts val="459"/>
              </a:spcAft>
              <a:buClr>
                <a:srgbClr val="C00000"/>
              </a:buClr>
              <a:buFont typeface="Arial" panose="020B0604020202020204" pitchFamily="34" charset="0"/>
              <a:buChar char="•"/>
              <a:defRPr/>
            </a:pPr>
            <a:r>
              <a:rPr lang="en-US" sz="918" b="1" dirty="0">
                <a:latin typeface="+mj-lt"/>
              </a:rPr>
              <a:t>Unit Test quality gate </a:t>
            </a:r>
            <a:r>
              <a:rPr lang="en-US" sz="918" dirty="0">
                <a:latin typeface="+mj-lt"/>
              </a:rPr>
              <a:t>activation for new code</a:t>
            </a:r>
          </a:p>
          <a:p>
            <a:pPr marL="131194" indent="-131194" defTabSz="524735">
              <a:spcAft>
                <a:spcPts val="459"/>
              </a:spcAft>
              <a:buClr>
                <a:srgbClr val="C00000"/>
              </a:buClr>
              <a:buFont typeface="Arial" panose="020B0604020202020204" pitchFamily="34" charset="0"/>
              <a:buChar char="•"/>
              <a:defRPr/>
            </a:pPr>
            <a:r>
              <a:rPr lang="en-US" sz="918" b="1" dirty="0">
                <a:latin typeface="+mj-lt"/>
              </a:rPr>
              <a:t>Integration</a:t>
            </a:r>
            <a:r>
              <a:rPr lang="en-US" sz="918" dirty="0">
                <a:latin typeface="+mj-lt"/>
              </a:rPr>
              <a:t> test </a:t>
            </a:r>
            <a:r>
              <a:rPr lang="en-US" sz="918" dirty="0" err="1">
                <a:latin typeface="+mj-lt"/>
              </a:rPr>
              <a:t>cov</a:t>
            </a:r>
            <a:r>
              <a:rPr lang="en-US" sz="918" dirty="0">
                <a:latin typeface="+mj-lt"/>
              </a:rPr>
              <a:t>. 20% </a:t>
            </a:r>
          </a:p>
          <a:p>
            <a:pPr marL="131194" indent="-131194" defTabSz="524735">
              <a:spcAft>
                <a:spcPts val="459"/>
              </a:spcAft>
              <a:buClr>
                <a:srgbClr val="C00000"/>
              </a:buClr>
              <a:buFont typeface="Arial" panose="020B0604020202020204" pitchFamily="34" charset="0"/>
              <a:buChar char="•"/>
              <a:defRPr/>
            </a:pPr>
            <a:r>
              <a:rPr lang="en-US" sz="918" b="1" dirty="0">
                <a:latin typeface="+mj-lt"/>
              </a:rPr>
              <a:t>Selenium</a:t>
            </a:r>
            <a:r>
              <a:rPr lang="en-US" sz="918" dirty="0">
                <a:latin typeface="+mj-lt"/>
              </a:rPr>
              <a:t> coverage 20%</a:t>
            </a:r>
          </a:p>
          <a:p>
            <a:pPr marL="131194" indent="-131194" defTabSz="524735">
              <a:spcAft>
                <a:spcPts val="459"/>
              </a:spcAft>
              <a:buClr>
                <a:srgbClr val="C00000"/>
              </a:buClr>
              <a:buFont typeface="Arial" panose="020B0604020202020204" pitchFamily="34" charset="0"/>
              <a:buChar char="•"/>
              <a:defRPr/>
            </a:pPr>
            <a:endParaRPr lang="en-US" sz="918" dirty="0">
              <a:latin typeface="+mj-lt"/>
            </a:endParaRPr>
          </a:p>
        </p:txBody>
      </p:sp>
      <p:sp>
        <p:nvSpPr>
          <p:cNvPr id="44" name="Rectangle 43">
            <a:extLst>
              <a:ext uri="{FF2B5EF4-FFF2-40B4-BE49-F238E27FC236}">
                <a16:creationId xmlns:a16="http://schemas.microsoft.com/office/drawing/2014/main" id="{C4E22A04-DCDB-46FE-876B-7981FC819D25}"/>
              </a:ext>
            </a:extLst>
          </p:cNvPr>
          <p:cNvSpPr/>
          <p:nvPr/>
        </p:nvSpPr>
        <p:spPr>
          <a:xfrm>
            <a:off x="5589884" y="2979972"/>
            <a:ext cx="1531808" cy="1055097"/>
          </a:xfrm>
          <a:prstGeom prst="rect">
            <a:avLst/>
          </a:prstGeom>
        </p:spPr>
        <p:txBody>
          <a:bodyPr wrap="square">
            <a:spAutoFit/>
          </a:bodyPr>
          <a:lstStyle/>
          <a:p>
            <a:pPr marL="131194" indent="-131194" defTabSz="524735">
              <a:spcAft>
                <a:spcPts val="459"/>
              </a:spcAft>
              <a:buClr>
                <a:srgbClr val="C00000"/>
              </a:buClr>
              <a:buFont typeface="Arial" panose="020B0604020202020204" pitchFamily="34" charset="0"/>
              <a:buChar char="•"/>
              <a:defRPr/>
            </a:pPr>
            <a:r>
              <a:rPr lang="en-US" sz="918" dirty="0">
                <a:latin typeface="+mj-lt"/>
              </a:rPr>
              <a:t>CD pipeline setup</a:t>
            </a:r>
          </a:p>
          <a:p>
            <a:pPr marL="131194" indent="-131194" defTabSz="524735">
              <a:spcAft>
                <a:spcPts val="459"/>
              </a:spcAft>
              <a:buClr>
                <a:srgbClr val="C00000"/>
              </a:buClr>
              <a:buFont typeface="Arial" panose="020B0604020202020204" pitchFamily="34" charset="0"/>
              <a:buChar char="•"/>
              <a:defRPr/>
            </a:pPr>
            <a:r>
              <a:rPr lang="en-US" sz="918" b="1" dirty="0">
                <a:latin typeface="+mj-lt"/>
              </a:rPr>
              <a:t>Integration</a:t>
            </a:r>
            <a:r>
              <a:rPr lang="en-US" sz="918" dirty="0">
                <a:latin typeface="+mj-lt"/>
              </a:rPr>
              <a:t> test </a:t>
            </a:r>
            <a:r>
              <a:rPr lang="en-US" sz="918" dirty="0" err="1">
                <a:latin typeface="+mj-lt"/>
              </a:rPr>
              <a:t>cov</a:t>
            </a:r>
            <a:r>
              <a:rPr lang="en-US" sz="918" dirty="0">
                <a:latin typeface="+mj-lt"/>
              </a:rPr>
              <a:t>. 40%</a:t>
            </a:r>
          </a:p>
          <a:p>
            <a:pPr marL="131194" indent="-131194" defTabSz="524735">
              <a:spcAft>
                <a:spcPts val="459"/>
              </a:spcAft>
              <a:buClr>
                <a:srgbClr val="C00000"/>
              </a:buClr>
              <a:buFont typeface="Arial" panose="020B0604020202020204" pitchFamily="34" charset="0"/>
              <a:buChar char="•"/>
              <a:defRPr/>
            </a:pPr>
            <a:r>
              <a:rPr lang="en-US" sz="918" b="1" dirty="0">
                <a:latin typeface="+mj-lt"/>
              </a:rPr>
              <a:t>Selenium</a:t>
            </a:r>
            <a:r>
              <a:rPr lang="en-US" sz="918" dirty="0">
                <a:latin typeface="+mj-lt"/>
              </a:rPr>
              <a:t> coverage 40%</a:t>
            </a:r>
          </a:p>
          <a:p>
            <a:pPr marL="131194" indent="-131194" defTabSz="524735">
              <a:spcAft>
                <a:spcPts val="459"/>
              </a:spcAft>
              <a:buClr>
                <a:srgbClr val="C00000"/>
              </a:buClr>
              <a:buFont typeface="Arial" panose="020B0604020202020204" pitchFamily="34" charset="0"/>
              <a:buChar char="•"/>
              <a:defRPr/>
            </a:pPr>
            <a:r>
              <a:rPr lang="en-US" sz="918" b="1" dirty="0">
                <a:latin typeface="+mj-lt"/>
              </a:rPr>
              <a:t>DB script automation *</a:t>
            </a:r>
          </a:p>
          <a:p>
            <a:pPr marL="131194" indent="-131194" defTabSz="524735">
              <a:spcAft>
                <a:spcPts val="459"/>
              </a:spcAft>
              <a:buClr>
                <a:srgbClr val="C00000"/>
              </a:buClr>
              <a:buFont typeface="Arial" panose="020B0604020202020204" pitchFamily="34" charset="0"/>
              <a:buChar char="•"/>
              <a:defRPr/>
            </a:pPr>
            <a:endParaRPr lang="en-US" sz="918" dirty="0">
              <a:latin typeface="+mj-lt"/>
            </a:endParaRPr>
          </a:p>
        </p:txBody>
      </p:sp>
      <p:sp>
        <p:nvSpPr>
          <p:cNvPr id="45" name="Rectangle 44">
            <a:extLst>
              <a:ext uri="{FF2B5EF4-FFF2-40B4-BE49-F238E27FC236}">
                <a16:creationId xmlns:a16="http://schemas.microsoft.com/office/drawing/2014/main" id="{41141886-8D61-4B67-9CB8-8AB141797B1A}"/>
              </a:ext>
            </a:extLst>
          </p:cNvPr>
          <p:cNvSpPr/>
          <p:nvPr/>
        </p:nvSpPr>
        <p:spPr>
          <a:xfrm>
            <a:off x="7308624" y="2978759"/>
            <a:ext cx="1531808" cy="438966"/>
          </a:xfrm>
          <a:prstGeom prst="rect">
            <a:avLst/>
          </a:prstGeom>
        </p:spPr>
        <p:txBody>
          <a:bodyPr wrap="square">
            <a:spAutoFit/>
          </a:bodyPr>
          <a:lstStyle/>
          <a:p>
            <a:pPr marL="131194" indent="-131194" defTabSz="524735">
              <a:spcAft>
                <a:spcPts val="459"/>
              </a:spcAft>
              <a:buClr>
                <a:srgbClr val="C00000"/>
              </a:buClr>
              <a:buFont typeface="Arial" panose="020B0604020202020204" pitchFamily="34" charset="0"/>
              <a:buChar char="•"/>
              <a:defRPr/>
            </a:pPr>
            <a:r>
              <a:rPr lang="en-US" sz="918" b="1" dirty="0">
                <a:latin typeface="+mj-lt"/>
              </a:rPr>
              <a:t>Integration</a:t>
            </a:r>
            <a:r>
              <a:rPr lang="en-US" sz="918" dirty="0">
                <a:latin typeface="+mj-lt"/>
              </a:rPr>
              <a:t> test </a:t>
            </a:r>
            <a:r>
              <a:rPr lang="en-US" sz="918" dirty="0" err="1">
                <a:latin typeface="+mj-lt"/>
              </a:rPr>
              <a:t>cov</a:t>
            </a:r>
            <a:r>
              <a:rPr lang="en-US" sz="918" dirty="0">
                <a:latin typeface="+mj-lt"/>
              </a:rPr>
              <a:t>. 60%</a:t>
            </a:r>
          </a:p>
          <a:p>
            <a:pPr marL="131194" indent="-131194" defTabSz="524735">
              <a:spcAft>
                <a:spcPts val="459"/>
              </a:spcAft>
              <a:buClr>
                <a:srgbClr val="C00000"/>
              </a:buClr>
              <a:buFont typeface="Arial" panose="020B0604020202020204" pitchFamily="34" charset="0"/>
              <a:buChar char="•"/>
              <a:defRPr/>
            </a:pPr>
            <a:r>
              <a:rPr lang="en-US" sz="918" b="1" dirty="0">
                <a:latin typeface="+mj-lt"/>
              </a:rPr>
              <a:t>Selenium</a:t>
            </a:r>
            <a:r>
              <a:rPr lang="en-US" sz="918" dirty="0">
                <a:latin typeface="+mj-lt"/>
              </a:rPr>
              <a:t> test </a:t>
            </a:r>
            <a:r>
              <a:rPr lang="en-US" sz="918" dirty="0" err="1">
                <a:latin typeface="+mj-lt"/>
              </a:rPr>
              <a:t>cov</a:t>
            </a:r>
            <a:r>
              <a:rPr lang="en-US" sz="918" dirty="0">
                <a:latin typeface="+mj-lt"/>
              </a:rPr>
              <a:t>. 60% </a:t>
            </a:r>
          </a:p>
        </p:txBody>
      </p:sp>
      <p:cxnSp>
        <p:nvCxnSpPr>
          <p:cNvPr id="8" name="Straight Connector 7">
            <a:extLst>
              <a:ext uri="{FF2B5EF4-FFF2-40B4-BE49-F238E27FC236}">
                <a16:creationId xmlns:a16="http://schemas.microsoft.com/office/drawing/2014/main" id="{18A6DC26-5A28-4AE0-AC02-A658585F889B}"/>
              </a:ext>
            </a:extLst>
          </p:cNvPr>
          <p:cNvCxnSpPr>
            <a:cxnSpLocks/>
          </p:cNvCxnSpPr>
          <p:nvPr/>
        </p:nvCxnSpPr>
        <p:spPr>
          <a:xfrm>
            <a:off x="813982" y="1679578"/>
            <a:ext cx="159862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C591C399-E5D9-42A3-A8A7-568A4572B036}"/>
              </a:ext>
            </a:extLst>
          </p:cNvPr>
          <p:cNvSpPr txBox="1"/>
          <p:nvPr/>
        </p:nvSpPr>
        <p:spPr>
          <a:xfrm rot="5400000">
            <a:off x="1450334" y="1430207"/>
            <a:ext cx="325923" cy="483737"/>
          </a:xfrm>
          <a:prstGeom prst="rect">
            <a:avLst/>
          </a:prstGeom>
          <a:solidFill>
            <a:schemeClr val="bg1"/>
          </a:solidFill>
        </p:spPr>
        <p:txBody>
          <a:bodyPr vert="vert270" wrap="square" rtlCol="0">
            <a:spAutoFit/>
          </a:bodyPr>
          <a:lstStyle/>
          <a:p>
            <a:pPr algn="ctr"/>
            <a:r>
              <a:rPr lang="en-US" sz="918" b="1" dirty="0">
                <a:latin typeface="+mj-lt"/>
              </a:rPr>
              <a:t>1 Week</a:t>
            </a:r>
          </a:p>
        </p:txBody>
      </p:sp>
      <p:grpSp>
        <p:nvGrpSpPr>
          <p:cNvPr id="52" name="Group 51">
            <a:extLst>
              <a:ext uri="{FF2B5EF4-FFF2-40B4-BE49-F238E27FC236}">
                <a16:creationId xmlns:a16="http://schemas.microsoft.com/office/drawing/2014/main" id="{5B501243-661D-432E-B8DC-F6CF0C69D7DA}"/>
              </a:ext>
            </a:extLst>
          </p:cNvPr>
          <p:cNvGrpSpPr/>
          <p:nvPr/>
        </p:nvGrpSpPr>
        <p:grpSpPr>
          <a:xfrm>
            <a:off x="7133964" y="1423442"/>
            <a:ext cx="1598629" cy="467179"/>
            <a:chOff x="215203" y="1953017"/>
            <a:chExt cx="2318761" cy="693696"/>
          </a:xfrm>
        </p:grpSpPr>
        <p:cxnSp>
          <p:nvCxnSpPr>
            <p:cNvPr id="53" name="Straight Connector 52">
              <a:extLst>
                <a:ext uri="{FF2B5EF4-FFF2-40B4-BE49-F238E27FC236}">
                  <a16:creationId xmlns:a16="http://schemas.microsoft.com/office/drawing/2014/main" id="{1F2FE4FC-F448-43FF-90B8-156484DCD7D3}"/>
                </a:ext>
              </a:extLst>
            </p:cNvPr>
            <p:cNvCxnSpPr>
              <a:cxnSpLocks/>
            </p:cNvCxnSpPr>
            <p:nvPr/>
          </p:nvCxnSpPr>
          <p:spPr>
            <a:xfrm>
              <a:off x="215203" y="2333350"/>
              <a:ext cx="2318761"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54" name="TextBox 53">
              <a:extLst>
                <a:ext uri="{FF2B5EF4-FFF2-40B4-BE49-F238E27FC236}">
                  <a16:creationId xmlns:a16="http://schemas.microsoft.com/office/drawing/2014/main" id="{8BF0466A-CF39-4881-B1AD-587A768A3657}"/>
                </a:ext>
              </a:extLst>
            </p:cNvPr>
            <p:cNvSpPr txBox="1"/>
            <p:nvPr/>
          </p:nvSpPr>
          <p:spPr>
            <a:xfrm rot="5400000">
              <a:off x="1027736" y="1949042"/>
              <a:ext cx="693696" cy="701645"/>
            </a:xfrm>
            <a:prstGeom prst="rect">
              <a:avLst/>
            </a:prstGeom>
            <a:solidFill>
              <a:schemeClr val="bg1"/>
            </a:solidFill>
          </p:spPr>
          <p:txBody>
            <a:bodyPr vert="vert270" wrap="square" rtlCol="0">
              <a:spAutoFit/>
            </a:bodyPr>
            <a:lstStyle/>
            <a:p>
              <a:pPr algn="ctr"/>
              <a:r>
                <a:rPr lang="en-US" sz="918" b="1" dirty="0">
                  <a:latin typeface="+mj-lt"/>
                </a:rPr>
                <a:t>3 Weeks</a:t>
              </a:r>
            </a:p>
          </p:txBody>
        </p:sp>
      </p:grpSp>
      <p:grpSp>
        <p:nvGrpSpPr>
          <p:cNvPr id="55" name="Group 54">
            <a:extLst>
              <a:ext uri="{FF2B5EF4-FFF2-40B4-BE49-F238E27FC236}">
                <a16:creationId xmlns:a16="http://schemas.microsoft.com/office/drawing/2014/main" id="{D904EFD8-7119-4B59-8043-0B6350A5B743}"/>
              </a:ext>
            </a:extLst>
          </p:cNvPr>
          <p:cNvGrpSpPr/>
          <p:nvPr/>
        </p:nvGrpSpPr>
        <p:grpSpPr>
          <a:xfrm>
            <a:off x="2394916" y="1423442"/>
            <a:ext cx="1598629" cy="467179"/>
            <a:chOff x="215203" y="1953017"/>
            <a:chExt cx="2318761" cy="693696"/>
          </a:xfrm>
        </p:grpSpPr>
        <p:cxnSp>
          <p:nvCxnSpPr>
            <p:cNvPr id="56" name="Straight Connector 55">
              <a:extLst>
                <a:ext uri="{FF2B5EF4-FFF2-40B4-BE49-F238E27FC236}">
                  <a16:creationId xmlns:a16="http://schemas.microsoft.com/office/drawing/2014/main" id="{7E61536E-70EC-4BF0-BA87-48E4EB1D0FF0}"/>
                </a:ext>
              </a:extLst>
            </p:cNvPr>
            <p:cNvCxnSpPr>
              <a:cxnSpLocks/>
            </p:cNvCxnSpPr>
            <p:nvPr/>
          </p:nvCxnSpPr>
          <p:spPr>
            <a:xfrm>
              <a:off x="215203" y="2333350"/>
              <a:ext cx="2318761"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83FC0FB6-E9E0-4441-8246-7108D270D49E}"/>
                </a:ext>
              </a:extLst>
            </p:cNvPr>
            <p:cNvSpPr txBox="1"/>
            <p:nvPr/>
          </p:nvSpPr>
          <p:spPr>
            <a:xfrm rot="5400000">
              <a:off x="1027736" y="1949042"/>
              <a:ext cx="693696" cy="701645"/>
            </a:xfrm>
            <a:prstGeom prst="rect">
              <a:avLst/>
            </a:prstGeom>
            <a:solidFill>
              <a:schemeClr val="bg1"/>
            </a:solidFill>
          </p:spPr>
          <p:txBody>
            <a:bodyPr vert="vert270" wrap="square" rtlCol="0">
              <a:spAutoFit/>
            </a:bodyPr>
            <a:lstStyle/>
            <a:p>
              <a:pPr algn="ctr"/>
              <a:r>
                <a:rPr lang="en-US" sz="918" b="1" dirty="0">
                  <a:latin typeface="+mj-lt"/>
                </a:rPr>
                <a:t>3 Weeks</a:t>
              </a:r>
            </a:p>
          </p:txBody>
        </p:sp>
      </p:grpSp>
      <p:grpSp>
        <p:nvGrpSpPr>
          <p:cNvPr id="58" name="Group 57">
            <a:extLst>
              <a:ext uri="{FF2B5EF4-FFF2-40B4-BE49-F238E27FC236}">
                <a16:creationId xmlns:a16="http://schemas.microsoft.com/office/drawing/2014/main" id="{31C9957D-19F2-49F3-BFCB-09296FAFA358}"/>
              </a:ext>
            </a:extLst>
          </p:cNvPr>
          <p:cNvGrpSpPr/>
          <p:nvPr/>
        </p:nvGrpSpPr>
        <p:grpSpPr>
          <a:xfrm>
            <a:off x="3975852" y="1423442"/>
            <a:ext cx="1598629" cy="467179"/>
            <a:chOff x="215203" y="1953017"/>
            <a:chExt cx="2318761" cy="693696"/>
          </a:xfrm>
        </p:grpSpPr>
        <p:cxnSp>
          <p:nvCxnSpPr>
            <p:cNvPr id="59" name="Straight Connector 58">
              <a:extLst>
                <a:ext uri="{FF2B5EF4-FFF2-40B4-BE49-F238E27FC236}">
                  <a16:creationId xmlns:a16="http://schemas.microsoft.com/office/drawing/2014/main" id="{53253059-6065-4727-966C-91E1D06CBBB2}"/>
                </a:ext>
              </a:extLst>
            </p:cNvPr>
            <p:cNvCxnSpPr>
              <a:cxnSpLocks/>
            </p:cNvCxnSpPr>
            <p:nvPr/>
          </p:nvCxnSpPr>
          <p:spPr>
            <a:xfrm>
              <a:off x="215203" y="2333350"/>
              <a:ext cx="2318761"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60" name="TextBox 59">
              <a:extLst>
                <a:ext uri="{FF2B5EF4-FFF2-40B4-BE49-F238E27FC236}">
                  <a16:creationId xmlns:a16="http://schemas.microsoft.com/office/drawing/2014/main" id="{9D641985-5125-48F7-89A7-12A05F5D9EE3}"/>
                </a:ext>
              </a:extLst>
            </p:cNvPr>
            <p:cNvSpPr txBox="1"/>
            <p:nvPr/>
          </p:nvSpPr>
          <p:spPr>
            <a:xfrm rot="5400000">
              <a:off x="1027736" y="1949042"/>
              <a:ext cx="693696" cy="701645"/>
            </a:xfrm>
            <a:prstGeom prst="rect">
              <a:avLst/>
            </a:prstGeom>
            <a:solidFill>
              <a:schemeClr val="bg1"/>
            </a:solidFill>
          </p:spPr>
          <p:txBody>
            <a:bodyPr vert="vert270" wrap="square" rtlCol="0">
              <a:spAutoFit/>
            </a:bodyPr>
            <a:lstStyle/>
            <a:p>
              <a:pPr algn="ctr"/>
              <a:r>
                <a:rPr lang="en-US" sz="918" b="1" dirty="0">
                  <a:latin typeface="+mj-lt"/>
                </a:rPr>
                <a:t>3 Weeks</a:t>
              </a:r>
            </a:p>
          </p:txBody>
        </p:sp>
      </p:grpSp>
      <p:grpSp>
        <p:nvGrpSpPr>
          <p:cNvPr id="61" name="Group 60">
            <a:extLst>
              <a:ext uri="{FF2B5EF4-FFF2-40B4-BE49-F238E27FC236}">
                <a16:creationId xmlns:a16="http://schemas.microsoft.com/office/drawing/2014/main" id="{B8A35D22-122B-47A8-BFE2-E5A7F89C3A00}"/>
              </a:ext>
            </a:extLst>
          </p:cNvPr>
          <p:cNvGrpSpPr/>
          <p:nvPr/>
        </p:nvGrpSpPr>
        <p:grpSpPr>
          <a:xfrm>
            <a:off x="5556788" y="1423442"/>
            <a:ext cx="1598629" cy="467179"/>
            <a:chOff x="215203" y="1953017"/>
            <a:chExt cx="2318761" cy="693696"/>
          </a:xfrm>
        </p:grpSpPr>
        <p:cxnSp>
          <p:nvCxnSpPr>
            <p:cNvPr id="62" name="Straight Connector 61">
              <a:extLst>
                <a:ext uri="{FF2B5EF4-FFF2-40B4-BE49-F238E27FC236}">
                  <a16:creationId xmlns:a16="http://schemas.microsoft.com/office/drawing/2014/main" id="{5E4CCC21-6ECF-4FE1-919C-1CB2EBBFF705}"/>
                </a:ext>
              </a:extLst>
            </p:cNvPr>
            <p:cNvCxnSpPr>
              <a:cxnSpLocks/>
            </p:cNvCxnSpPr>
            <p:nvPr/>
          </p:nvCxnSpPr>
          <p:spPr>
            <a:xfrm>
              <a:off x="215203" y="2333350"/>
              <a:ext cx="2318761"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63" name="TextBox 62">
              <a:extLst>
                <a:ext uri="{FF2B5EF4-FFF2-40B4-BE49-F238E27FC236}">
                  <a16:creationId xmlns:a16="http://schemas.microsoft.com/office/drawing/2014/main" id="{9D691179-1B9B-42EC-AE00-073AD5EB3D15}"/>
                </a:ext>
              </a:extLst>
            </p:cNvPr>
            <p:cNvSpPr txBox="1"/>
            <p:nvPr/>
          </p:nvSpPr>
          <p:spPr>
            <a:xfrm rot="5400000">
              <a:off x="1027736" y="1949042"/>
              <a:ext cx="693696" cy="701645"/>
            </a:xfrm>
            <a:prstGeom prst="rect">
              <a:avLst/>
            </a:prstGeom>
            <a:solidFill>
              <a:schemeClr val="bg1"/>
            </a:solidFill>
          </p:spPr>
          <p:txBody>
            <a:bodyPr vert="vert270" wrap="square" rtlCol="0">
              <a:spAutoFit/>
            </a:bodyPr>
            <a:lstStyle/>
            <a:p>
              <a:pPr algn="ctr"/>
              <a:r>
                <a:rPr lang="en-US" sz="918" b="1" dirty="0">
                  <a:latin typeface="+mj-lt"/>
                </a:rPr>
                <a:t>3 Weeks</a:t>
              </a:r>
            </a:p>
          </p:txBody>
        </p:sp>
      </p:grpSp>
      <p:sp>
        <p:nvSpPr>
          <p:cNvPr id="64" name="Rectangle: Diagonal Corners Rounded 63">
            <a:extLst>
              <a:ext uri="{FF2B5EF4-FFF2-40B4-BE49-F238E27FC236}">
                <a16:creationId xmlns:a16="http://schemas.microsoft.com/office/drawing/2014/main" id="{952B73D3-777F-4AC0-B162-85CC451FF7A6}"/>
              </a:ext>
            </a:extLst>
          </p:cNvPr>
          <p:cNvSpPr/>
          <p:nvPr/>
        </p:nvSpPr>
        <p:spPr>
          <a:xfrm>
            <a:off x="2394916" y="708919"/>
            <a:ext cx="6290712" cy="162582"/>
          </a:xfrm>
          <a:prstGeom prst="round2DiagRect">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18" b="1" dirty="0">
                <a:solidFill>
                  <a:schemeClr val="tx1"/>
                </a:solidFill>
                <a:latin typeface="+mj-lt"/>
              </a:rPr>
              <a:t>APPLICATION ON BOARDING</a:t>
            </a:r>
          </a:p>
        </p:txBody>
      </p:sp>
      <p:cxnSp>
        <p:nvCxnSpPr>
          <p:cNvPr id="70" name="Straight Connector 69">
            <a:extLst>
              <a:ext uri="{FF2B5EF4-FFF2-40B4-BE49-F238E27FC236}">
                <a16:creationId xmlns:a16="http://schemas.microsoft.com/office/drawing/2014/main" id="{3E12A511-2939-40F7-B13F-EF675E16686D}"/>
              </a:ext>
            </a:extLst>
          </p:cNvPr>
          <p:cNvCxnSpPr>
            <a:cxnSpLocks/>
          </p:cNvCxnSpPr>
          <p:nvPr/>
        </p:nvCxnSpPr>
        <p:spPr>
          <a:xfrm>
            <a:off x="2424118" y="1840868"/>
            <a:ext cx="6304171"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71" name="TextBox 70">
            <a:extLst>
              <a:ext uri="{FF2B5EF4-FFF2-40B4-BE49-F238E27FC236}">
                <a16:creationId xmlns:a16="http://schemas.microsoft.com/office/drawing/2014/main" id="{B1925F3D-3A8A-4B9C-B187-67FE4F2A9879}"/>
              </a:ext>
            </a:extLst>
          </p:cNvPr>
          <p:cNvSpPr txBox="1"/>
          <p:nvPr/>
        </p:nvSpPr>
        <p:spPr>
          <a:xfrm rot="5400000">
            <a:off x="5413241" y="1374140"/>
            <a:ext cx="325923" cy="963591"/>
          </a:xfrm>
          <a:prstGeom prst="rect">
            <a:avLst/>
          </a:prstGeom>
          <a:solidFill>
            <a:schemeClr val="bg1"/>
          </a:solidFill>
        </p:spPr>
        <p:txBody>
          <a:bodyPr vert="vert270" wrap="square" rtlCol="0">
            <a:spAutoFit/>
          </a:bodyPr>
          <a:lstStyle/>
          <a:p>
            <a:pPr algn="ctr"/>
            <a:r>
              <a:rPr lang="en-US" sz="918" b="1" dirty="0">
                <a:latin typeface="+mj-lt"/>
              </a:rPr>
              <a:t>3 MONTHS</a:t>
            </a:r>
          </a:p>
        </p:txBody>
      </p:sp>
      <p:sp>
        <p:nvSpPr>
          <p:cNvPr id="82" name="TextBox 81">
            <a:extLst>
              <a:ext uri="{FF2B5EF4-FFF2-40B4-BE49-F238E27FC236}">
                <a16:creationId xmlns:a16="http://schemas.microsoft.com/office/drawing/2014/main" id="{5C2E6A12-A0FF-4E19-8DA6-3C635C84DAD5}"/>
              </a:ext>
            </a:extLst>
          </p:cNvPr>
          <p:cNvSpPr txBox="1"/>
          <p:nvPr/>
        </p:nvSpPr>
        <p:spPr>
          <a:xfrm>
            <a:off x="269437" y="716387"/>
            <a:ext cx="467179" cy="1154638"/>
          </a:xfrm>
          <a:prstGeom prst="rect">
            <a:avLst/>
          </a:prstGeom>
          <a:noFill/>
        </p:spPr>
        <p:txBody>
          <a:bodyPr vert="vert270" wrap="square" rtlCol="0">
            <a:spAutoFit/>
          </a:bodyPr>
          <a:lstStyle/>
          <a:p>
            <a:pPr algn="ctr"/>
            <a:r>
              <a:rPr lang="en-US" sz="918" b="1" dirty="0">
                <a:latin typeface="+mj-lt"/>
              </a:rPr>
              <a:t>PHASE &amp;</a:t>
            </a:r>
          </a:p>
          <a:p>
            <a:pPr algn="ctr"/>
            <a:r>
              <a:rPr lang="en-US" sz="918" b="1" dirty="0">
                <a:latin typeface="+mj-lt"/>
              </a:rPr>
              <a:t>TIMING</a:t>
            </a:r>
          </a:p>
        </p:txBody>
      </p:sp>
      <p:sp>
        <p:nvSpPr>
          <p:cNvPr id="83" name="Rectangle: Diagonal Corners Rounded 82">
            <a:extLst>
              <a:ext uri="{FF2B5EF4-FFF2-40B4-BE49-F238E27FC236}">
                <a16:creationId xmlns:a16="http://schemas.microsoft.com/office/drawing/2014/main" id="{D393F3ED-AB1D-49D1-BDE9-1BC7C69012BC}"/>
              </a:ext>
            </a:extLst>
          </p:cNvPr>
          <p:cNvSpPr/>
          <p:nvPr/>
        </p:nvSpPr>
        <p:spPr>
          <a:xfrm>
            <a:off x="2465088" y="4627413"/>
            <a:ext cx="6342742" cy="161531"/>
          </a:xfrm>
          <a:prstGeom prst="round2DiagRect">
            <a:avLst/>
          </a:prstGeom>
          <a:solidFill>
            <a:schemeClr val="bg1"/>
          </a:solidFill>
          <a:ln w="190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18" b="1" dirty="0">
                <a:solidFill>
                  <a:schemeClr val="tx1"/>
                </a:solidFill>
                <a:latin typeface="+mj-lt"/>
              </a:rPr>
              <a:t>INVOLVE CUSTOMER FOR E2E TEST</a:t>
            </a:r>
          </a:p>
        </p:txBody>
      </p:sp>
      <p:sp>
        <p:nvSpPr>
          <p:cNvPr id="84" name="Freeform 91">
            <a:extLst>
              <a:ext uri="{FF2B5EF4-FFF2-40B4-BE49-F238E27FC236}">
                <a16:creationId xmlns:a16="http://schemas.microsoft.com/office/drawing/2014/main" id="{05B3E7FD-5E69-4DCC-83A2-B4B5B6C84E6B}"/>
              </a:ext>
            </a:extLst>
          </p:cNvPr>
          <p:cNvSpPr>
            <a:spLocks noChangeAspect="1" noEditPoints="1"/>
          </p:cNvSpPr>
          <p:nvPr/>
        </p:nvSpPr>
        <p:spPr bwMode="auto">
          <a:xfrm>
            <a:off x="342517" y="2566648"/>
            <a:ext cx="294467" cy="207684"/>
          </a:xfrm>
          <a:custGeom>
            <a:avLst/>
            <a:gdLst>
              <a:gd name="T0" fmla="*/ 1497 w 3968"/>
              <a:gd name="T1" fmla="*/ 1591 h 2799"/>
              <a:gd name="T2" fmla="*/ 1365 w 3968"/>
              <a:gd name="T3" fmla="*/ 1650 h 2799"/>
              <a:gd name="T4" fmla="*/ 1221 w 3968"/>
              <a:gd name="T5" fmla="*/ 1637 h 2799"/>
              <a:gd name="T6" fmla="*/ 948 w 3968"/>
              <a:gd name="T7" fmla="*/ 1412 h 2799"/>
              <a:gd name="T8" fmla="*/ 1000 w 3968"/>
              <a:gd name="T9" fmla="*/ 1726 h 2799"/>
              <a:gd name="T10" fmla="*/ 1141 w 3968"/>
              <a:gd name="T11" fmla="*/ 2003 h 2799"/>
              <a:gd name="T12" fmla="*/ 1355 w 3968"/>
              <a:gd name="T13" fmla="*/ 2226 h 2799"/>
              <a:gd name="T14" fmla="*/ 1634 w 3968"/>
              <a:gd name="T15" fmla="*/ 2376 h 2799"/>
              <a:gd name="T16" fmla="*/ 1944 w 3968"/>
              <a:gd name="T17" fmla="*/ 2437 h 2799"/>
              <a:gd name="T18" fmla="*/ 2247 w 3968"/>
              <a:gd name="T19" fmla="*/ 2405 h 2799"/>
              <a:gd name="T20" fmla="*/ 2526 w 3968"/>
              <a:gd name="T21" fmla="*/ 2286 h 2799"/>
              <a:gd name="T22" fmla="*/ 2762 w 3968"/>
              <a:gd name="T23" fmla="*/ 2089 h 2799"/>
              <a:gd name="T24" fmla="*/ 3137 w 3968"/>
              <a:gd name="T25" fmla="*/ 2194 h 2799"/>
              <a:gd name="T26" fmla="*/ 2938 w 3968"/>
              <a:gd name="T27" fmla="*/ 2423 h 2799"/>
              <a:gd name="T28" fmla="*/ 2628 w 3968"/>
              <a:gd name="T29" fmla="*/ 2641 h 2799"/>
              <a:gd name="T30" fmla="*/ 2272 w 3968"/>
              <a:gd name="T31" fmla="*/ 2769 h 2799"/>
              <a:gd name="T32" fmla="*/ 1892 w 3968"/>
              <a:gd name="T33" fmla="*/ 2795 h 2799"/>
              <a:gd name="T34" fmla="*/ 1521 w 3968"/>
              <a:gd name="T35" fmla="*/ 2720 h 2799"/>
              <a:gd name="T36" fmla="*/ 1181 w 3968"/>
              <a:gd name="T37" fmla="*/ 2546 h 2799"/>
              <a:gd name="T38" fmla="*/ 905 w 3968"/>
              <a:gd name="T39" fmla="*/ 2290 h 2799"/>
              <a:gd name="T40" fmla="*/ 708 w 3968"/>
              <a:gd name="T41" fmla="*/ 1972 h 2799"/>
              <a:gd name="T42" fmla="*/ 601 w 3968"/>
              <a:gd name="T43" fmla="*/ 1609 h 2799"/>
              <a:gd name="T44" fmla="*/ 382 w 3968"/>
              <a:gd name="T45" fmla="*/ 1631 h 2799"/>
              <a:gd name="T46" fmla="*/ 251 w 3968"/>
              <a:gd name="T47" fmla="*/ 1691 h 2799"/>
              <a:gd name="T48" fmla="*/ 105 w 3968"/>
              <a:gd name="T49" fmla="*/ 1678 h 2799"/>
              <a:gd name="T50" fmla="*/ 0 w 3968"/>
              <a:gd name="T51" fmla="*/ 1607 h 2799"/>
              <a:gd name="T52" fmla="*/ 2156 w 3968"/>
              <a:gd name="T53" fmla="*/ 11 h 2799"/>
              <a:gd name="T54" fmla="*/ 2539 w 3968"/>
              <a:gd name="T55" fmla="*/ 115 h 2799"/>
              <a:gd name="T56" fmla="*/ 2868 w 3968"/>
              <a:gd name="T57" fmla="*/ 317 h 2799"/>
              <a:gd name="T58" fmla="*/ 3127 w 3968"/>
              <a:gd name="T59" fmla="*/ 597 h 2799"/>
              <a:gd name="T60" fmla="*/ 3303 w 3968"/>
              <a:gd name="T61" fmla="*/ 936 h 2799"/>
              <a:gd name="T62" fmla="*/ 3382 w 3968"/>
              <a:gd name="T63" fmla="*/ 1317 h 2799"/>
              <a:gd name="T64" fmla="*/ 3616 w 3968"/>
              <a:gd name="T65" fmla="*/ 1073 h 2799"/>
              <a:gd name="T66" fmla="*/ 3754 w 3968"/>
              <a:gd name="T67" fmla="*/ 1029 h 2799"/>
              <a:gd name="T68" fmla="*/ 3896 w 3968"/>
              <a:gd name="T69" fmla="*/ 1060 h 2799"/>
              <a:gd name="T70" fmla="*/ 3238 w 3968"/>
              <a:gd name="T71" fmla="*/ 1917 h 2799"/>
              <a:gd name="T72" fmla="*/ 2509 w 3968"/>
              <a:gd name="T73" fmla="*/ 1120 h 2799"/>
              <a:gd name="T74" fmla="*/ 2659 w 3968"/>
              <a:gd name="T75" fmla="*/ 1080 h 2799"/>
              <a:gd name="T76" fmla="*/ 2808 w 3968"/>
              <a:gd name="T77" fmla="*/ 1127 h 2799"/>
              <a:gd name="T78" fmla="*/ 2994 w 3968"/>
              <a:gd name="T79" fmla="*/ 1157 h 2799"/>
              <a:gd name="T80" fmla="*/ 2875 w 3968"/>
              <a:gd name="T81" fmla="*/ 864 h 2799"/>
              <a:gd name="T82" fmla="*/ 2676 w 3968"/>
              <a:gd name="T83" fmla="*/ 624 h 2799"/>
              <a:gd name="T84" fmla="*/ 2412 w 3968"/>
              <a:gd name="T85" fmla="*/ 454 h 2799"/>
              <a:gd name="T86" fmla="*/ 2098 w 3968"/>
              <a:gd name="T87" fmla="*/ 369 h 2799"/>
              <a:gd name="T88" fmla="*/ 1776 w 3968"/>
              <a:gd name="T89" fmla="*/ 383 h 2799"/>
              <a:gd name="T90" fmla="*/ 1472 w 3968"/>
              <a:gd name="T91" fmla="*/ 498 h 2799"/>
              <a:gd name="T92" fmla="*/ 1232 w 3968"/>
              <a:gd name="T93" fmla="*/ 687 h 2799"/>
              <a:gd name="T94" fmla="*/ 926 w 3968"/>
              <a:gd name="T95" fmla="*/ 487 h 2799"/>
              <a:gd name="T96" fmla="*/ 1210 w 3968"/>
              <a:gd name="T97" fmla="*/ 235 h 2799"/>
              <a:gd name="T98" fmla="*/ 1568 w 3968"/>
              <a:gd name="T99" fmla="*/ 63 h 2799"/>
              <a:gd name="T100" fmla="*/ 1958 w 3968"/>
              <a:gd name="T101" fmla="*/ 0 h 27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968" h="2799">
                <a:moveTo>
                  <a:pt x="739" y="812"/>
                </a:moveTo>
                <a:lnTo>
                  <a:pt x="1535" y="1553"/>
                </a:lnTo>
                <a:lnTo>
                  <a:pt x="1524" y="1565"/>
                </a:lnTo>
                <a:lnTo>
                  <a:pt x="1497" y="1591"/>
                </a:lnTo>
                <a:lnTo>
                  <a:pt x="1467" y="1612"/>
                </a:lnTo>
                <a:lnTo>
                  <a:pt x="1435" y="1629"/>
                </a:lnTo>
                <a:lnTo>
                  <a:pt x="1401" y="1643"/>
                </a:lnTo>
                <a:lnTo>
                  <a:pt x="1365" y="1650"/>
                </a:lnTo>
                <a:lnTo>
                  <a:pt x="1328" y="1655"/>
                </a:lnTo>
                <a:lnTo>
                  <a:pt x="1292" y="1654"/>
                </a:lnTo>
                <a:lnTo>
                  <a:pt x="1256" y="1647"/>
                </a:lnTo>
                <a:lnTo>
                  <a:pt x="1221" y="1637"/>
                </a:lnTo>
                <a:lnTo>
                  <a:pt x="1188" y="1622"/>
                </a:lnTo>
                <a:lnTo>
                  <a:pt x="1156" y="1603"/>
                </a:lnTo>
                <a:lnTo>
                  <a:pt x="1127" y="1580"/>
                </a:lnTo>
                <a:lnTo>
                  <a:pt x="948" y="1412"/>
                </a:lnTo>
                <a:lnTo>
                  <a:pt x="952" y="1494"/>
                </a:lnTo>
                <a:lnTo>
                  <a:pt x="962" y="1572"/>
                </a:lnTo>
                <a:lnTo>
                  <a:pt x="978" y="1650"/>
                </a:lnTo>
                <a:lnTo>
                  <a:pt x="1000" y="1726"/>
                </a:lnTo>
                <a:lnTo>
                  <a:pt x="1027" y="1799"/>
                </a:lnTo>
                <a:lnTo>
                  <a:pt x="1059" y="1871"/>
                </a:lnTo>
                <a:lnTo>
                  <a:pt x="1097" y="1938"/>
                </a:lnTo>
                <a:lnTo>
                  <a:pt x="1141" y="2003"/>
                </a:lnTo>
                <a:lnTo>
                  <a:pt x="1188" y="2064"/>
                </a:lnTo>
                <a:lnTo>
                  <a:pt x="1239" y="2121"/>
                </a:lnTo>
                <a:lnTo>
                  <a:pt x="1296" y="2176"/>
                </a:lnTo>
                <a:lnTo>
                  <a:pt x="1355" y="2226"/>
                </a:lnTo>
                <a:lnTo>
                  <a:pt x="1419" y="2271"/>
                </a:lnTo>
                <a:lnTo>
                  <a:pt x="1487" y="2311"/>
                </a:lnTo>
                <a:lnTo>
                  <a:pt x="1559" y="2346"/>
                </a:lnTo>
                <a:lnTo>
                  <a:pt x="1634" y="2376"/>
                </a:lnTo>
                <a:lnTo>
                  <a:pt x="1712" y="2400"/>
                </a:lnTo>
                <a:lnTo>
                  <a:pt x="1789" y="2418"/>
                </a:lnTo>
                <a:lnTo>
                  <a:pt x="1867" y="2431"/>
                </a:lnTo>
                <a:lnTo>
                  <a:pt x="1944" y="2437"/>
                </a:lnTo>
                <a:lnTo>
                  <a:pt x="2022" y="2438"/>
                </a:lnTo>
                <a:lnTo>
                  <a:pt x="2098" y="2432"/>
                </a:lnTo>
                <a:lnTo>
                  <a:pt x="2173" y="2421"/>
                </a:lnTo>
                <a:lnTo>
                  <a:pt x="2247" y="2405"/>
                </a:lnTo>
                <a:lnTo>
                  <a:pt x="2320" y="2383"/>
                </a:lnTo>
                <a:lnTo>
                  <a:pt x="2392" y="2355"/>
                </a:lnTo>
                <a:lnTo>
                  <a:pt x="2461" y="2324"/>
                </a:lnTo>
                <a:lnTo>
                  <a:pt x="2526" y="2286"/>
                </a:lnTo>
                <a:lnTo>
                  <a:pt x="2590" y="2244"/>
                </a:lnTo>
                <a:lnTo>
                  <a:pt x="2651" y="2197"/>
                </a:lnTo>
                <a:lnTo>
                  <a:pt x="2708" y="2144"/>
                </a:lnTo>
                <a:lnTo>
                  <a:pt x="2762" y="2089"/>
                </a:lnTo>
                <a:lnTo>
                  <a:pt x="2812" y="2027"/>
                </a:lnTo>
                <a:lnTo>
                  <a:pt x="2857" y="1961"/>
                </a:lnTo>
                <a:lnTo>
                  <a:pt x="2869" y="1944"/>
                </a:lnTo>
                <a:lnTo>
                  <a:pt x="3137" y="2194"/>
                </a:lnTo>
                <a:lnTo>
                  <a:pt x="3128" y="2206"/>
                </a:lnTo>
                <a:lnTo>
                  <a:pt x="3069" y="2284"/>
                </a:lnTo>
                <a:lnTo>
                  <a:pt x="3006" y="2357"/>
                </a:lnTo>
                <a:lnTo>
                  <a:pt x="2938" y="2423"/>
                </a:lnTo>
                <a:lnTo>
                  <a:pt x="2865" y="2486"/>
                </a:lnTo>
                <a:lnTo>
                  <a:pt x="2790" y="2543"/>
                </a:lnTo>
                <a:lnTo>
                  <a:pt x="2710" y="2595"/>
                </a:lnTo>
                <a:lnTo>
                  <a:pt x="2628" y="2641"/>
                </a:lnTo>
                <a:lnTo>
                  <a:pt x="2543" y="2683"/>
                </a:lnTo>
                <a:lnTo>
                  <a:pt x="2455" y="2718"/>
                </a:lnTo>
                <a:lnTo>
                  <a:pt x="2364" y="2747"/>
                </a:lnTo>
                <a:lnTo>
                  <a:pt x="2272" y="2769"/>
                </a:lnTo>
                <a:lnTo>
                  <a:pt x="2177" y="2786"/>
                </a:lnTo>
                <a:lnTo>
                  <a:pt x="2081" y="2795"/>
                </a:lnTo>
                <a:lnTo>
                  <a:pt x="1984" y="2799"/>
                </a:lnTo>
                <a:lnTo>
                  <a:pt x="1892" y="2795"/>
                </a:lnTo>
                <a:lnTo>
                  <a:pt x="1799" y="2787"/>
                </a:lnTo>
                <a:lnTo>
                  <a:pt x="1707" y="2771"/>
                </a:lnTo>
                <a:lnTo>
                  <a:pt x="1616" y="2749"/>
                </a:lnTo>
                <a:lnTo>
                  <a:pt x="1521" y="2720"/>
                </a:lnTo>
                <a:lnTo>
                  <a:pt x="1432" y="2685"/>
                </a:lnTo>
                <a:lnTo>
                  <a:pt x="1344" y="2644"/>
                </a:lnTo>
                <a:lnTo>
                  <a:pt x="1261" y="2597"/>
                </a:lnTo>
                <a:lnTo>
                  <a:pt x="1181" y="2546"/>
                </a:lnTo>
                <a:lnTo>
                  <a:pt x="1105" y="2489"/>
                </a:lnTo>
                <a:lnTo>
                  <a:pt x="1034" y="2427"/>
                </a:lnTo>
                <a:lnTo>
                  <a:pt x="967" y="2360"/>
                </a:lnTo>
                <a:lnTo>
                  <a:pt x="905" y="2290"/>
                </a:lnTo>
                <a:lnTo>
                  <a:pt x="848" y="2216"/>
                </a:lnTo>
                <a:lnTo>
                  <a:pt x="796" y="2138"/>
                </a:lnTo>
                <a:lnTo>
                  <a:pt x="749" y="2057"/>
                </a:lnTo>
                <a:lnTo>
                  <a:pt x="708" y="1972"/>
                </a:lnTo>
                <a:lnTo>
                  <a:pt x="673" y="1885"/>
                </a:lnTo>
                <a:lnTo>
                  <a:pt x="642" y="1795"/>
                </a:lnTo>
                <a:lnTo>
                  <a:pt x="619" y="1703"/>
                </a:lnTo>
                <a:lnTo>
                  <a:pt x="601" y="1609"/>
                </a:lnTo>
                <a:lnTo>
                  <a:pt x="590" y="1512"/>
                </a:lnTo>
                <a:lnTo>
                  <a:pt x="587" y="1415"/>
                </a:lnTo>
                <a:lnTo>
                  <a:pt x="408" y="1605"/>
                </a:lnTo>
                <a:lnTo>
                  <a:pt x="382" y="1631"/>
                </a:lnTo>
                <a:lnTo>
                  <a:pt x="352" y="1652"/>
                </a:lnTo>
                <a:lnTo>
                  <a:pt x="320" y="1669"/>
                </a:lnTo>
                <a:lnTo>
                  <a:pt x="286" y="1683"/>
                </a:lnTo>
                <a:lnTo>
                  <a:pt x="251" y="1691"/>
                </a:lnTo>
                <a:lnTo>
                  <a:pt x="213" y="1695"/>
                </a:lnTo>
                <a:lnTo>
                  <a:pt x="177" y="1694"/>
                </a:lnTo>
                <a:lnTo>
                  <a:pt x="141" y="1687"/>
                </a:lnTo>
                <a:lnTo>
                  <a:pt x="105" y="1678"/>
                </a:lnTo>
                <a:lnTo>
                  <a:pt x="73" y="1662"/>
                </a:lnTo>
                <a:lnTo>
                  <a:pt x="41" y="1643"/>
                </a:lnTo>
                <a:lnTo>
                  <a:pt x="12" y="1620"/>
                </a:lnTo>
                <a:lnTo>
                  <a:pt x="0" y="1607"/>
                </a:lnTo>
                <a:lnTo>
                  <a:pt x="739" y="812"/>
                </a:lnTo>
                <a:close/>
                <a:moveTo>
                  <a:pt x="1958" y="0"/>
                </a:moveTo>
                <a:lnTo>
                  <a:pt x="2057" y="1"/>
                </a:lnTo>
                <a:lnTo>
                  <a:pt x="2156" y="11"/>
                </a:lnTo>
                <a:lnTo>
                  <a:pt x="2256" y="27"/>
                </a:lnTo>
                <a:lnTo>
                  <a:pt x="2354" y="50"/>
                </a:lnTo>
                <a:lnTo>
                  <a:pt x="2448" y="80"/>
                </a:lnTo>
                <a:lnTo>
                  <a:pt x="2539" y="115"/>
                </a:lnTo>
                <a:lnTo>
                  <a:pt x="2628" y="158"/>
                </a:lnTo>
                <a:lnTo>
                  <a:pt x="2712" y="205"/>
                </a:lnTo>
                <a:lnTo>
                  <a:pt x="2792" y="258"/>
                </a:lnTo>
                <a:lnTo>
                  <a:pt x="2868" y="317"/>
                </a:lnTo>
                <a:lnTo>
                  <a:pt x="2939" y="380"/>
                </a:lnTo>
                <a:lnTo>
                  <a:pt x="3007" y="447"/>
                </a:lnTo>
                <a:lnTo>
                  <a:pt x="3069" y="520"/>
                </a:lnTo>
                <a:lnTo>
                  <a:pt x="3127" y="597"/>
                </a:lnTo>
                <a:lnTo>
                  <a:pt x="3179" y="677"/>
                </a:lnTo>
                <a:lnTo>
                  <a:pt x="3227" y="760"/>
                </a:lnTo>
                <a:lnTo>
                  <a:pt x="3268" y="846"/>
                </a:lnTo>
                <a:lnTo>
                  <a:pt x="3303" y="936"/>
                </a:lnTo>
                <a:lnTo>
                  <a:pt x="3333" y="1028"/>
                </a:lnTo>
                <a:lnTo>
                  <a:pt x="3355" y="1121"/>
                </a:lnTo>
                <a:lnTo>
                  <a:pt x="3372" y="1218"/>
                </a:lnTo>
                <a:lnTo>
                  <a:pt x="3382" y="1317"/>
                </a:lnTo>
                <a:lnTo>
                  <a:pt x="3560" y="1120"/>
                </a:lnTo>
                <a:lnTo>
                  <a:pt x="3560" y="1120"/>
                </a:lnTo>
                <a:lnTo>
                  <a:pt x="3587" y="1095"/>
                </a:lnTo>
                <a:lnTo>
                  <a:pt x="3616" y="1073"/>
                </a:lnTo>
                <a:lnTo>
                  <a:pt x="3648" y="1055"/>
                </a:lnTo>
                <a:lnTo>
                  <a:pt x="3681" y="1041"/>
                </a:lnTo>
                <a:lnTo>
                  <a:pt x="3718" y="1033"/>
                </a:lnTo>
                <a:lnTo>
                  <a:pt x="3754" y="1029"/>
                </a:lnTo>
                <a:lnTo>
                  <a:pt x="3792" y="1029"/>
                </a:lnTo>
                <a:lnTo>
                  <a:pt x="3828" y="1035"/>
                </a:lnTo>
                <a:lnTo>
                  <a:pt x="3862" y="1045"/>
                </a:lnTo>
                <a:lnTo>
                  <a:pt x="3896" y="1060"/>
                </a:lnTo>
                <a:lnTo>
                  <a:pt x="3927" y="1079"/>
                </a:lnTo>
                <a:lnTo>
                  <a:pt x="3956" y="1102"/>
                </a:lnTo>
                <a:lnTo>
                  <a:pt x="3968" y="1113"/>
                </a:lnTo>
                <a:lnTo>
                  <a:pt x="3238" y="1917"/>
                </a:lnTo>
                <a:lnTo>
                  <a:pt x="2434" y="1184"/>
                </a:lnTo>
                <a:lnTo>
                  <a:pt x="2446" y="1172"/>
                </a:lnTo>
                <a:lnTo>
                  <a:pt x="2475" y="1143"/>
                </a:lnTo>
                <a:lnTo>
                  <a:pt x="2509" y="1120"/>
                </a:lnTo>
                <a:lnTo>
                  <a:pt x="2544" y="1102"/>
                </a:lnTo>
                <a:lnTo>
                  <a:pt x="2582" y="1090"/>
                </a:lnTo>
                <a:lnTo>
                  <a:pt x="2621" y="1083"/>
                </a:lnTo>
                <a:lnTo>
                  <a:pt x="2659" y="1080"/>
                </a:lnTo>
                <a:lnTo>
                  <a:pt x="2698" y="1084"/>
                </a:lnTo>
                <a:lnTo>
                  <a:pt x="2737" y="1094"/>
                </a:lnTo>
                <a:lnTo>
                  <a:pt x="2773" y="1108"/>
                </a:lnTo>
                <a:lnTo>
                  <a:pt x="2808" y="1127"/>
                </a:lnTo>
                <a:lnTo>
                  <a:pt x="2841" y="1154"/>
                </a:lnTo>
                <a:lnTo>
                  <a:pt x="3019" y="1315"/>
                </a:lnTo>
                <a:lnTo>
                  <a:pt x="3010" y="1235"/>
                </a:lnTo>
                <a:lnTo>
                  <a:pt x="2994" y="1157"/>
                </a:lnTo>
                <a:lnTo>
                  <a:pt x="2972" y="1079"/>
                </a:lnTo>
                <a:lnTo>
                  <a:pt x="2945" y="1005"/>
                </a:lnTo>
                <a:lnTo>
                  <a:pt x="2913" y="934"/>
                </a:lnTo>
                <a:lnTo>
                  <a:pt x="2875" y="864"/>
                </a:lnTo>
                <a:lnTo>
                  <a:pt x="2833" y="799"/>
                </a:lnTo>
                <a:lnTo>
                  <a:pt x="2785" y="737"/>
                </a:lnTo>
                <a:lnTo>
                  <a:pt x="2733" y="679"/>
                </a:lnTo>
                <a:lnTo>
                  <a:pt x="2676" y="624"/>
                </a:lnTo>
                <a:lnTo>
                  <a:pt x="2616" y="575"/>
                </a:lnTo>
                <a:lnTo>
                  <a:pt x="2552" y="530"/>
                </a:lnTo>
                <a:lnTo>
                  <a:pt x="2484" y="489"/>
                </a:lnTo>
                <a:lnTo>
                  <a:pt x="2412" y="454"/>
                </a:lnTo>
                <a:lnTo>
                  <a:pt x="2337" y="423"/>
                </a:lnTo>
                <a:lnTo>
                  <a:pt x="2259" y="399"/>
                </a:lnTo>
                <a:lnTo>
                  <a:pt x="2179" y="381"/>
                </a:lnTo>
                <a:lnTo>
                  <a:pt x="2098" y="369"/>
                </a:lnTo>
                <a:lnTo>
                  <a:pt x="2017" y="363"/>
                </a:lnTo>
                <a:lnTo>
                  <a:pt x="1936" y="364"/>
                </a:lnTo>
                <a:lnTo>
                  <a:pt x="1856" y="370"/>
                </a:lnTo>
                <a:lnTo>
                  <a:pt x="1776" y="383"/>
                </a:lnTo>
                <a:lnTo>
                  <a:pt x="1697" y="403"/>
                </a:lnTo>
                <a:lnTo>
                  <a:pt x="1619" y="428"/>
                </a:lnTo>
                <a:lnTo>
                  <a:pt x="1544" y="461"/>
                </a:lnTo>
                <a:lnTo>
                  <a:pt x="1472" y="498"/>
                </a:lnTo>
                <a:lnTo>
                  <a:pt x="1406" y="538"/>
                </a:lnTo>
                <a:lnTo>
                  <a:pt x="1344" y="584"/>
                </a:lnTo>
                <a:lnTo>
                  <a:pt x="1286" y="634"/>
                </a:lnTo>
                <a:lnTo>
                  <a:pt x="1232" y="687"/>
                </a:lnTo>
                <a:lnTo>
                  <a:pt x="1181" y="746"/>
                </a:lnTo>
                <a:lnTo>
                  <a:pt x="1135" y="806"/>
                </a:lnTo>
                <a:lnTo>
                  <a:pt x="865" y="561"/>
                </a:lnTo>
                <a:lnTo>
                  <a:pt x="926" y="487"/>
                </a:lnTo>
                <a:lnTo>
                  <a:pt x="990" y="417"/>
                </a:lnTo>
                <a:lnTo>
                  <a:pt x="1058" y="352"/>
                </a:lnTo>
                <a:lnTo>
                  <a:pt x="1132" y="291"/>
                </a:lnTo>
                <a:lnTo>
                  <a:pt x="1210" y="235"/>
                </a:lnTo>
                <a:lnTo>
                  <a:pt x="1292" y="184"/>
                </a:lnTo>
                <a:lnTo>
                  <a:pt x="1382" y="137"/>
                </a:lnTo>
                <a:lnTo>
                  <a:pt x="1474" y="97"/>
                </a:lnTo>
                <a:lnTo>
                  <a:pt x="1568" y="63"/>
                </a:lnTo>
                <a:lnTo>
                  <a:pt x="1664" y="38"/>
                </a:lnTo>
                <a:lnTo>
                  <a:pt x="1761" y="18"/>
                </a:lnTo>
                <a:lnTo>
                  <a:pt x="1859" y="5"/>
                </a:lnTo>
                <a:lnTo>
                  <a:pt x="1958" y="0"/>
                </a:lnTo>
                <a:close/>
              </a:path>
            </a:pathLst>
          </a:custGeom>
          <a:solidFill>
            <a:srgbClr val="E1061C"/>
          </a:solidFill>
          <a:ln w="0">
            <a:noFill/>
            <a:prstDash val="solid"/>
            <a:round/>
            <a:headEnd/>
            <a:tailEnd/>
          </a:ln>
        </p:spPr>
        <p:txBody>
          <a:bodyPr vert="horz" wrap="square" lIns="69973" tIns="34986" rIns="69973" bIns="34986" numCol="1" anchor="t" anchorCtr="0" compatLnSpc="1">
            <a:prstTxWarp prst="textNoShape">
              <a:avLst/>
            </a:prstTxWarp>
          </a:bodyPr>
          <a:lstStyle/>
          <a:p>
            <a:endParaRPr lang="it-IT" sz="1033"/>
          </a:p>
        </p:txBody>
      </p:sp>
      <p:sp>
        <p:nvSpPr>
          <p:cNvPr id="86" name="Freeform 73">
            <a:extLst>
              <a:ext uri="{FF2B5EF4-FFF2-40B4-BE49-F238E27FC236}">
                <a16:creationId xmlns:a16="http://schemas.microsoft.com/office/drawing/2014/main" id="{A2BAD35D-127C-44C3-AADF-B62E8E1825ED}"/>
              </a:ext>
            </a:extLst>
          </p:cNvPr>
          <p:cNvSpPr>
            <a:spLocks noChangeAspect="1" noEditPoints="1"/>
          </p:cNvSpPr>
          <p:nvPr/>
        </p:nvSpPr>
        <p:spPr bwMode="auto">
          <a:xfrm>
            <a:off x="337766" y="4024083"/>
            <a:ext cx="259296" cy="259296"/>
          </a:xfrm>
          <a:custGeom>
            <a:avLst/>
            <a:gdLst>
              <a:gd name="T0" fmla="*/ 2115 w 3968"/>
              <a:gd name="T1" fmla="*/ 3352 h 3968"/>
              <a:gd name="T2" fmla="*/ 2292 w 3968"/>
              <a:gd name="T3" fmla="*/ 3381 h 3968"/>
              <a:gd name="T4" fmla="*/ 2458 w 3968"/>
              <a:gd name="T5" fmla="*/ 3438 h 3968"/>
              <a:gd name="T6" fmla="*/ 2610 w 3968"/>
              <a:gd name="T7" fmla="*/ 3521 h 3968"/>
              <a:gd name="T8" fmla="*/ 2747 w 3968"/>
              <a:gd name="T9" fmla="*/ 3625 h 3968"/>
              <a:gd name="T10" fmla="*/ 2864 w 3968"/>
              <a:gd name="T11" fmla="*/ 3750 h 3968"/>
              <a:gd name="T12" fmla="*/ 2962 w 3968"/>
              <a:gd name="T13" fmla="*/ 3892 h 3968"/>
              <a:gd name="T14" fmla="*/ 1045 w 3968"/>
              <a:gd name="T15" fmla="*/ 3968 h 3968"/>
              <a:gd name="T16" fmla="*/ 1131 w 3968"/>
              <a:gd name="T17" fmla="*/ 3819 h 3968"/>
              <a:gd name="T18" fmla="*/ 1239 w 3968"/>
              <a:gd name="T19" fmla="*/ 3684 h 3968"/>
              <a:gd name="T20" fmla="*/ 1367 w 3968"/>
              <a:gd name="T21" fmla="*/ 3570 h 3968"/>
              <a:gd name="T22" fmla="*/ 1512 w 3968"/>
              <a:gd name="T23" fmla="*/ 3477 h 3968"/>
              <a:gd name="T24" fmla="*/ 1670 w 3968"/>
              <a:gd name="T25" fmla="*/ 3407 h 3968"/>
              <a:gd name="T26" fmla="*/ 1842 w 3968"/>
              <a:gd name="T27" fmla="*/ 3363 h 3968"/>
              <a:gd name="T28" fmla="*/ 2023 w 3968"/>
              <a:gd name="T29" fmla="*/ 3349 h 3968"/>
              <a:gd name="T30" fmla="*/ 496 w 3968"/>
              <a:gd name="T31" fmla="*/ 2604 h 3968"/>
              <a:gd name="T32" fmla="*/ 3473 w 3968"/>
              <a:gd name="T33" fmla="*/ 495 h 3968"/>
              <a:gd name="T34" fmla="*/ 496 w 3968"/>
              <a:gd name="T35" fmla="*/ 0 h 3968"/>
              <a:gd name="T36" fmla="*/ 3968 w 3968"/>
              <a:gd name="T37" fmla="*/ 2604 h 3968"/>
              <a:gd name="T38" fmla="*/ 3955 w 3968"/>
              <a:gd name="T39" fmla="*/ 2717 h 3968"/>
              <a:gd name="T40" fmla="*/ 3918 w 3968"/>
              <a:gd name="T41" fmla="*/ 2823 h 3968"/>
              <a:gd name="T42" fmla="*/ 3859 w 3968"/>
              <a:gd name="T43" fmla="*/ 2915 h 3968"/>
              <a:gd name="T44" fmla="*/ 3783 w 3968"/>
              <a:gd name="T45" fmla="*/ 2991 h 3968"/>
              <a:gd name="T46" fmla="*/ 3691 w 3968"/>
              <a:gd name="T47" fmla="*/ 3049 h 3968"/>
              <a:gd name="T48" fmla="*/ 3587 w 3968"/>
              <a:gd name="T49" fmla="*/ 3087 h 3968"/>
              <a:gd name="T50" fmla="*/ 3473 w 3968"/>
              <a:gd name="T51" fmla="*/ 3100 h 3968"/>
              <a:gd name="T52" fmla="*/ 0 w 3968"/>
              <a:gd name="T53" fmla="*/ 495 h 3968"/>
              <a:gd name="T54" fmla="*/ 13 w 3968"/>
              <a:gd name="T55" fmla="*/ 381 h 3968"/>
              <a:gd name="T56" fmla="*/ 51 w 3968"/>
              <a:gd name="T57" fmla="*/ 277 h 3968"/>
              <a:gd name="T58" fmla="*/ 109 w 3968"/>
              <a:gd name="T59" fmla="*/ 185 h 3968"/>
              <a:gd name="T60" fmla="*/ 185 w 3968"/>
              <a:gd name="T61" fmla="*/ 109 h 3968"/>
              <a:gd name="T62" fmla="*/ 278 w 3968"/>
              <a:gd name="T63" fmla="*/ 50 h 3968"/>
              <a:gd name="T64" fmla="*/ 382 w 3968"/>
              <a:gd name="T65" fmla="*/ 13 h 3968"/>
              <a:gd name="T66" fmla="*/ 496 w 3968"/>
              <a:gd name="T67" fmla="*/ 0 h 3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968" h="3968">
                <a:moveTo>
                  <a:pt x="2023" y="3349"/>
                </a:moveTo>
                <a:lnTo>
                  <a:pt x="2115" y="3352"/>
                </a:lnTo>
                <a:lnTo>
                  <a:pt x="2205" y="3363"/>
                </a:lnTo>
                <a:lnTo>
                  <a:pt x="2292" y="3381"/>
                </a:lnTo>
                <a:lnTo>
                  <a:pt x="2377" y="3407"/>
                </a:lnTo>
                <a:lnTo>
                  <a:pt x="2458" y="3438"/>
                </a:lnTo>
                <a:lnTo>
                  <a:pt x="2536" y="3477"/>
                </a:lnTo>
                <a:lnTo>
                  <a:pt x="2610" y="3521"/>
                </a:lnTo>
                <a:lnTo>
                  <a:pt x="2680" y="3570"/>
                </a:lnTo>
                <a:lnTo>
                  <a:pt x="2747" y="3625"/>
                </a:lnTo>
                <a:lnTo>
                  <a:pt x="2808" y="3684"/>
                </a:lnTo>
                <a:lnTo>
                  <a:pt x="2864" y="3750"/>
                </a:lnTo>
                <a:lnTo>
                  <a:pt x="2916" y="3819"/>
                </a:lnTo>
                <a:lnTo>
                  <a:pt x="2962" y="3892"/>
                </a:lnTo>
                <a:lnTo>
                  <a:pt x="3002" y="3968"/>
                </a:lnTo>
                <a:lnTo>
                  <a:pt x="1045" y="3968"/>
                </a:lnTo>
                <a:lnTo>
                  <a:pt x="1085" y="3892"/>
                </a:lnTo>
                <a:lnTo>
                  <a:pt x="1131" y="3819"/>
                </a:lnTo>
                <a:lnTo>
                  <a:pt x="1183" y="3750"/>
                </a:lnTo>
                <a:lnTo>
                  <a:pt x="1239" y="3684"/>
                </a:lnTo>
                <a:lnTo>
                  <a:pt x="1301" y="3625"/>
                </a:lnTo>
                <a:lnTo>
                  <a:pt x="1367" y="3570"/>
                </a:lnTo>
                <a:lnTo>
                  <a:pt x="1438" y="3521"/>
                </a:lnTo>
                <a:lnTo>
                  <a:pt x="1512" y="3477"/>
                </a:lnTo>
                <a:lnTo>
                  <a:pt x="1589" y="3438"/>
                </a:lnTo>
                <a:lnTo>
                  <a:pt x="1670" y="3407"/>
                </a:lnTo>
                <a:lnTo>
                  <a:pt x="1755" y="3381"/>
                </a:lnTo>
                <a:lnTo>
                  <a:pt x="1842" y="3363"/>
                </a:lnTo>
                <a:lnTo>
                  <a:pt x="1932" y="3352"/>
                </a:lnTo>
                <a:lnTo>
                  <a:pt x="2023" y="3349"/>
                </a:lnTo>
                <a:close/>
                <a:moveTo>
                  <a:pt x="496" y="495"/>
                </a:moveTo>
                <a:lnTo>
                  <a:pt x="496" y="2604"/>
                </a:lnTo>
                <a:lnTo>
                  <a:pt x="3473" y="2604"/>
                </a:lnTo>
                <a:lnTo>
                  <a:pt x="3473" y="495"/>
                </a:lnTo>
                <a:lnTo>
                  <a:pt x="496" y="495"/>
                </a:lnTo>
                <a:close/>
                <a:moveTo>
                  <a:pt x="496" y="0"/>
                </a:moveTo>
                <a:lnTo>
                  <a:pt x="3968" y="0"/>
                </a:lnTo>
                <a:lnTo>
                  <a:pt x="3968" y="2604"/>
                </a:lnTo>
                <a:lnTo>
                  <a:pt x="3965" y="2661"/>
                </a:lnTo>
                <a:lnTo>
                  <a:pt x="3955" y="2717"/>
                </a:lnTo>
                <a:lnTo>
                  <a:pt x="3939" y="2772"/>
                </a:lnTo>
                <a:lnTo>
                  <a:pt x="3918" y="2823"/>
                </a:lnTo>
                <a:lnTo>
                  <a:pt x="3891" y="2870"/>
                </a:lnTo>
                <a:lnTo>
                  <a:pt x="3859" y="2915"/>
                </a:lnTo>
                <a:lnTo>
                  <a:pt x="3823" y="2955"/>
                </a:lnTo>
                <a:lnTo>
                  <a:pt x="3783" y="2991"/>
                </a:lnTo>
                <a:lnTo>
                  <a:pt x="3738" y="3023"/>
                </a:lnTo>
                <a:lnTo>
                  <a:pt x="3691" y="3049"/>
                </a:lnTo>
                <a:lnTo>
                  <a:pt x="3640" y="3071"/>
                </a:lnTo>
                <a:lnTo>
                  <a:pt x="3587" y="3087"/>
                </a:lnTo>
                <a:lnTo>
                  <a:pt x="3530" y="3096"/>
                </a:lnTo>
                <a:lnTo>
                  <a:pt x="3473" y="3100"/>
                </a:lnTo>
                <a:lnTo>
                  <a:pt x="0" y="3100"/>
                </a:lnTo>
                <a:lnTo>
                  <a:pt x="0" y="495"/>
                </a:lnTo>
                <a:lnTo>
                  <a:pt x="4" y="438"/>
                </a:lnTo>
                <a:lnTo>
                  <a:pt x="13" y="381"/>
                </a:lnTo>
                <a:lnTo>
                  <a:pt x="29" y="328"/>
                </a:lnTo>
                <a:lnTo>
                  <a:pt x="51" y="277"/>
                </a:lnTo>
                <a:lnTo>
                  <a:pt x="78" y="230"/>
                </a:lnTo>
                <a:lnTo>
                  <a:pt x="109" y="185"/>
                </a:lnTo>
                <a:lnTo>
                  <a:pt x="145" y="145"/>
                </a:lnTo>
                <a:lnTo>
                  <a:pt x="185" y="109"/>
                </a:lnTo>
                <a:lnTo>
                  <a:pt x="230" y="77"/>
                </a:lnTo>
                <a:lnTo>
                  <a:pt x="278" y="50"/>
                </a:lnTo>
                <a:lnTo>
                  <a:pt x="328" y="29"/>
                </a:lnTo>
                <a:lnTo>
                  <a:pt x="382" y="13"/>
                </a:lnTo>
                <a:lnTo>
                  <a:pt x="439" y="3"/>
                </a:lnTo>
                <a:lnTo>
                  <a:pt x="496" y="0"/>
                </a:lnTo>
                <a:close/>
              </a:path>
            </a:pathLst>
          </a:custGeom>
          <a:solidFill>
            <a:srgbClr val="E1061C"/>
          </a:solidFill>
          <a:ln w="0">
            <a:noFill/>
            <a:prstDash val="solid"/>
            <a:round/>
            <a:headEnd/>
            <a:tailEnd/>
          </a:ln>
        </p:spPr>
        <p:txBody>
          <a:bodyPr vert="horz" wrap="square" lIns="69973" tIns="34986" rIns="69973" bIns="34986" numCol="1" anchor="t" anchorCtr="0" compatLnSpc="1">
            <a:prstTxWarp prst="textNoShape">
              <a:avLst/>
            </a:prstTxWarp>
          </a:bodyPr>
          <a:lstStyle/>
          <a:p>
            <a:endParaRPr lang="it-IT" sz="1033"/>
          </a:p>
        </p:txBody>
      </p:sp>
      <p:sp>
        <p:nvSpPr>
          <p:cNvPr id="24" name="Pentagono 62">
            <a:extLst>
              <a:ext uri="{FF2B5EF4-FFF2-40B4-BE49-F238E27FC236}">
                <a16:creationId xmlns:a16="http://schemas.microsoft.com/office/drawing/2014/main" id="{CD4E9599-72E1-4290-85B8-E5CA4B683038}"/>
              </a:ext>
            </a:extLst>
          </p:cNvPr>
          <p:cNvSpPr/>
          <p:nvPr/>
        </p:nvSpPr>
        <p:spPr bwMode="gray">
          <a:xfrm>
            <a:off x="7143440" y="936113"/>
            <a:ext cx="1531808" cy="574953"/>
          </a:xfrm>
          <a:prstGeom prst="chevron">
            <a:avLst>
              <a:gd name="adj" fmla="val 11748"/>
            </a:avLst>
          </a:prstGeom>
          <a:solidFill>
            <a:schemeClr val="bg1"/>
          </a:solidFill>
          <a:ln w="28575">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71" b="1" dirty="0">
                <a:solidFill>
                  <a:schemeClr val="tx1"/>
                </a:solidFill>
                <a:latin typeface="+mj-lt"/>
              </a:rPr>
              <a:t>Sprint 4</a:t>
            </a:r>
          </a:p>
        </p:txBody>
      </p:sp>
      <p:sp>
        <p:nvSpPr>
          <p:cNvPr id="25" name="Pentagono 60">
            <a:extLst>
              <a:ext uri="{FF2B5EF4-FFF2-40B4-BE49-F238E27FC236}">
                <a16:creationId xmlns:a16="http://schemas.microsoft.com/office/drawing/2014/main" id="{2C8A198F-3FEC-4DC1-993D-D986520D371A}"/>
              </a:ext>
            </a:extLst>
          </p:cNvPr>
          <p:cNvSpPr/>
          <p:nvPr/>
        </p:nvSpPr>
        <p:spPr bwMode="gray">
          <a:xfrm>
            <a:off x="5574563" y="936112"/>
            <a:ext cx="1580854" cy="574953"/>
          </a:xfrm>
          <a:prstGeom prst="chevron">
            <a:avLst>
              <a:gd name="adj" fmla="val 14297"/>
            </a:avLst>
          </a:prstGeom>
          <a:solidFill>
            <a:schemeClr val="bg1"/>
          </a:solidFill>
          <a:ln w="28575">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71" b="1" dirty="0">
                <a:solidFill>
                  <a:schemeClr val="tx1"/>
                </a:solidFill>
                <a:latin typeface="+mj-lt"/>
              </a:rPr>
              <a:t>Sprint 3</a:t>
            </a:r>
          </a:p>
        </p:txBody>
      </p:sp>
      <p:sp>
        <p:nvSpPr>
          <p:cNvPr id="16" name="Pentagono 60">
            <a:extLst>
              <a:ext uri="{FF2B5EF4-FFF2-40B4-BE49-F238E27FC236}">
                <a16:creationId xmlns:a16="http://schemas.microsoft.com/office/drawing/2014/main" id="{0AF0B68A-F19B-4128-968E-E12CC227FE07}"/>
              </a:ext>
            </a:extLst>
          </p:cNvPr>
          <p:cNvSpPr/>
          <p:nvPr/>
        </p:nvSpPr>
        <p:spPr bwMode="gray">
          <a:xfrm>
            <a:off x="3993628" y="936113"/>
            <a:ext cx="1580854" cy="574953"/>
          </a:xfrm>
          <a:prstGeom prst="chevron">
            <a:avLst>
              <a:gd name="adj" fmla="val 11747"/>
            </a:avLst>
          </a:prstGeom>
          <a:solidFill>
            <a:schemeClr val="bg1"/>
          </a:solidFill>
          <a:ln w="28575">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71" b="1" dirty="0">
                <a:solidFill>
                  <a:schemeClr val="tx1"/>
                </a:solidFill>
                <a:latin typeface="+mj-lt"/>
              </a:rPr>
              <a:t>Sprint 2</a:t>
            </a:r>
          </a:p>
        </p:txBody>
      </p:sp>
      <p:sp>
        <p:nvSpPr>
          <p:cNvPr id="19" name="Pentagono 59">
            <a:extLst>
              <a:ext uri="{FF2B5EF4-FFF2-40B4-BE49-F238E27FC236}">
                <a16:creationId xmlns:a16="http://schemas.microsoft.com/office/drawing/2014/main" id="{C075B24E-292D-4D80-9750-EAB461BA1713}"/>
              </a:ext>
            </a:extLst>
          </p:cNvPr>
          <p:cNvSpPr/>
          <p:nvPr/>
        </p:nvSpPr>
        <p:spPr bwMode="gray">
          <a:xfrm>
            <a:off x="2412691" y="936113"/>
            <a:ext cx="1580854" cy="574953"/>
          </a:xfrm>
          <a:prstGeom prst="chevron">
            <a:avLst>
              <a:gd name="adj" fmla="val 13023"/>
            </a:avLst>
          </a:prstGeom>
          <a:solidFill>
            <a:schemeClr val="bg1"/>
          </a:solidFill>
          <a:ln w="28575">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71" b="1" dirty="0">
                <a:solidFill>
                  <a:schemeClr val="tx1"/>
                </a:solidFill>
                <a:latin typeface="+mj-lt"/>
              </a:rPr>
              <a:t>Sprint 1</a:t>
            </a:r>
          </a:p>
        </p:txBody>
      </p:sp>
      <p:sp>
        <p:nvSpPr>
          <p:cNvPr id="22" name="Pentagono 1">
            <a:extLst>
              <a:ext uri="{FF2B5EF4-FFF2-40B4-BE49-F238E27FC236}">
                <a16:creationId xmlns:a16="http://schemas.microsoft.com/office/drawing/2014/main" id="{4519F621-6949-48F8-9190-3425812E0E81}"/>
              </a:ext>
            </a:extLst>
          </p:cNvPr>
          <p:cNvSpPr/>
          <p:nvPr/>
        </p:nvSpPr>
        <p:spPr bwMode="gray">
          <a:xfrm>
            <a:off x="813982" y="936113"/>
            <a:ext cx="1598629" cy="574953"/>
          </a:xfrm>
          <a:prstGeom prst="homePlate">
            <a:avLst>
              <a:gd name="adj" fmla="val 10472"/>
            </a:avLst>
          </a:prstGeom>
          <a:solidFill>
            <a:schemeClr val="bg1"/>
          </a:solidFill>
          <a:ln w="28575">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71" b="1" dirty="0">
                <a:solidFill>
                  <a:schemeClr val="tx1"/>
                </a:solidFill>
                <a:latin typeface="+mj-lt"/>
              </a:rPr>
              <a:t>Goal Definition</a:t>
            </a:r>
          </a:p>
        </p:txBody>
      </p:sp>
      <p:sp>
        <p:nvSpPr>
          <p:cNvPr id="49" name="Rectangle 48">
            <a:extLst>
              <a:ext uri="{FF2B5EF4-FFF2-40B4-BE49-F238E27FC236}">
                <a16:creationId xmlns:a16="http://schemas.microsoft.com/office/drawing/2014/main" id="{87AA4078-313D-4F4F-909D-8FC922AF74EA}"/>
              </a:ext>
            </a:extLst>
          </p:cNvPr>
          <p:cNvSpPr/>
          <p:nvPr/>
        </p:nvSpPr>
        <p:spPr>
          <a:xfrm>
            <a:off x="836890" y="4825140"/>
            <a:ext cx="2383982" cy="233590"/>
          </a:xfrm>
          <a:prstGeom prst="rect">
            <a:avLst/>
          </a:prstGeom>
        </p:spPr>
        <p:txBody>
          <a:bodyPr wrap="square">
            <a:spAutoFit/>
          </a:bodyPr>
          <a:lstStyle/>
          <a:p>
            <a:pPr defTabSz="524735">
              <a:spcAft>
                <a:spcPts val="459"/>
              </a:spcAft>
              <a:buClr>
                <a:srgbClr val="C00000"/>
              </a:buClr>
              <a:defRPr/>
            </a:pPr>
            <a:r>
              <a:rPr lang="en-US" sz="900" i="1" dirty="0"/>
              <a:t>* MyCredit specific additional goals</a:t>
            </a:r>
            <a:endParaRPr lang="en-US" sz="900" i="1" dirty="0">
              <a:latin typeface="+mj-lt"/>
            </a:endParaRPr>
          </a:p>
        </p:txBody>
      </p:sp>
    </p:spTree>
    <p:extLst>
      <p:ext uri="{BB962C8B-B14F-4D97-AF65-F5344CB8AC3E}">
        <p14:creationId xmlns:p14="http://schemas.microsoft.com/office/powerpoint/2010/main" val="424157299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YPE" val="UniPower"/>
  <p:tag name="BRANDKEY" val="BK1166"/>
  <p:tag name="FONT" val="UniCredit"/>
  <p:tag name="FORMAT" val="Widescreen"/>
  <p:tag name="VARIATION" val="English"/>
  <p:tag name="THINKCELLPRESENTATIONDONOTDELETE" val="&lt;?xml version=&quot;1.0&quot; encoding=&quot;UTF-16&quot; standalone=&quot;yes&quot;?&gt;&lt;root reqver=&quot;25060&quot;&gt;&lt;version val=&quot;28300&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CQXHztktRyCvUueDil7XaA"/>
</p:tagLst>
</file>

<file path=ppt/tags/tag12.xml><?xml version="1.0" encoding="utf-8"?>
<p:tagLst xmlns:a="http://schemas.openxmlformats.org/drawingml/2006/main" xmlns:r="http://schemas.openxmlformats.org/officeDocument/2006/relationships" xmlns:p="http://schemas.openxmlformats.org/presentationml/2006/main">
  <p:tag name="NAME" val="Logo"/>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pgjIQSkQlMtruQulEpMQX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v7FOnwh.LGuq8Ms3QmQNt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MpsmuafBRf0UETWJ9LAoh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dm.ottgjf8skbZ7G_mHGT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djBUBP8dppX_fEWBct.g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l0uhGVyOkmOLicazneqH7A"/>
</p:tagLst>
</file>

<file path=ppt/tags/tag26.xml><?xml version="1.0" encoding="utf-8"?>
<p:tagLst xmlns:a="http://schemas.openxmlformats.org/drawingml/2006/main" xmlns:r="http://schemas.openxmlformats.org/officeDocument/2006/relationships" xmlns:p="http://schemas.openxmlformats.org/presentationml/2006/main">
  <p:tag name="EE4P_TEMPLATESTYLE" val="3"/>
</p:tagLst>
</file>

<file path=ppt/tags/tag27.xml><?xml version="1.0" encoding="utf-8"?>
<p:tagLst xmlns:a="http://schemas.openxmlformats.org/drawingml/2006/main" xmlns:r="http://schemas.openxmlformats.org/officeDocument/2006/relationships" xmlns:p="http://schemas.openxmlformats.org/presentationml/2006/main">
  <p:tag name="EE4P_TEMPLATESTYLE" val="3"/>
</p:tagLst>
</file>

<file path=ppt/tags/tag28.xml><?xml version="1.0" encoding="utf-8"?>
<p:tagLst xmlns:a="http://schemas.openxmlformats.org/drawingml/2006/main" xmlns:r="http://schemas.openxmlformats.org/officeDocument/2006/relationships" xmlns:p="http://schemas.openxmlformats.org/presentationml/2006/main">
  <p:tag name="EE4P_TEMPLATESTYLE" val="3"/>
</p:tagLst>
</file>

<file path=ppt/tags/tag29.xml><?xml version="1.0" encoding="utf-8"?>
<p:tagLst xmlns:a="http://schemas.openxmlformats.org/drawingml/2006/main" xmlns:r="http://schemas.openxmlformats.org/officeDocument/2006/relationships" xmlns:p="http://schemas.openxmlformats.org/presentationml/2006/main">
  <p:tag name="EE4P_TEMPLATESTYLE" val="3"/>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JSWk2JJHo72PbEO82TvX7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psdu6S7UsHNJ1NTwrRT41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7CmGkmdaRBurEkWrSjnxM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psdu6S7UsHNJ1NTwrRT41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CKzn99fCH9An_T02BT6gf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psdu6S7UsHNJ1NTwrRT41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WhsOmMzwBnr8J1amtNYpP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QahXJ3uLWQc_YnuOB4Y.2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psdu6S7UsHNJ1NTwrRT41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QFV3uXKZiqqZnlayC4tP3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psdu6S7UsHNJ1NTwrRT41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_x4rHlLvT.Wmp3LBguI54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X4Mfu_HZ4E_WKaT308TNY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psdu6S7UsHNJ1NTwrRT41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25rcql_N3zFKc0xWiZkz6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6wcHaM_pvUNwvEkQOcG2P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Jzpo.pNWbVPFR9kDyYIg8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psdu6S7UsHNJ1NTwrRT41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cymaCe5pcXQ1lMw8Y42mw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e_0V9pnFl95u8tMytcUR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psdu6S7UsHNJ1NTwrRT41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lBqNQsRy9ZlSIygfnv7Wu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JSWk2JJHo72PbEO82TvX7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ZtcLrPJMcHc1mxER5ICo9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uNTahLCjmKhKGB_Mh7muy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pu.zWiU3t6LGuaq_CKhn0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YbZtob7B.Ic8ugrNrQ1kn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TnyGB4enhIGFw5JgbbGgD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psdu6S7UsHNJ1NTwrRT41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BOxncPx1Nd_xnMTDYLOCF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5f2xjzdvOMWB4byWGGpf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psdu6S7UsHNJ1NTwrRT41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l0uhGVyOkmOLicazneqH7A"/>
</p:tagLst>
</file>

<file path=ppt/tags/tag89.xml><?xml version="1.0" encoding="utf-8"?>
<p:tagLst xmlns:a="http://schemas.openxmlformats.org/drawingml/2006/main" xmlns:r="http://schemas.openxmlformats.org/officeDocument/2006/relationships" xmlns:p="http://schemas.openxmlformats.org/presentationml/2006/main">
  <p:tag name="EE4P_TEMPLATESTYLE" val="3"/>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_x4rHlLvT.Wmp3LBguI54g"/>
</p:tagLst>
</file>

<file path=ppt/tags/tag90.xml><?xml version="1.0" encoding="utf-8"?>
<p:tagLst xmlns:a="http://schemas.openxmlformats.org/drawingml/2006/main" xmlns:r="http://schemas.openxmlformats.org/officeDocument/2006/relationships" xmlns:p="http://schemas.openxmlformats.org/presentationml/2006/main">
  <p:tag name="EE4P_TEMPLATESTYLE" val="3"/>
</p:tagLst>
</file>

<file path=ppt/tags/tag91.xml><?xml version="1.0" encoding="utf-8"?>
<p:tagLst xmlns:a="http://schemas.openxmlformats.org/drawingml/2006/main" xmlns:r="http://schemas.openxmlformats.org/officeDocument/2006/relationships" xmlns:p="http://schemas.openxmlformats.org/presentationml/2006/main">
  <p:tag name="EE4P_TEMPLATESTYLE" val="3"/>
</p:tagLst>
</file>

<file path=ppt/tags/tag92.xml><?xml version="1.0" encoding="utf-8"?>
<p:tagLst xmlns:a="http://schemas.openxmlformats.org/drawingml/2006/main" xmlns:r="http://schemas.openxmlformats.org/officeDocument/2006/relationships" xmlns:p="http://schemas.openxmlformats.org/presentationml/2006/main">
  <p:tag name="EE4P_TEMPLATESTYLE" val="3"/>
</p:tagLst>
</file>

<file path=ppt/tags/tag93.xml><?xml version="1.0" encoding="utf-8"?>
<p:tagLst xmlns:a="http://schemas.openxmlformats.org/drawingml/2006/main" xmlns:r="http://schemas.openxmlformats.org/officeDocument/2006/relationships" xmlns:p="http://schemas.openxmlformats.org/presentationml/2006/main">
  <p:tag name="EE4P_TEMPLATESTYLE" val="3"/>
</p:tagLst>
</file>

<file path=ppt/tags/tag94.xml><?xml version="1.0" encoding="utf-8"?>
<p:tagLst xmlns:a="http://schemas.openxmlformats.org/drawingml/2006/main" xmlns:r="http://schemas.openxmlformats.org/officeDocument/2006/relationships" xmlns:p="http://schemas.openxmlformats.org/presentationml/2006/main">
  <p:tag name="EE4P_TEMPLATESTYLE" val="3"/>
</p:tagLst>
</file>

<file path=ppt/tags/tag95.xml><?xml version="1.0" encoding="utf-8"?>
<p:tagLst xmlns:a="http://schemas.openxmlformats.org/drawingml/2006/main" xmlns:r="http://schemas.openxmlformats.org/officeDocument/2006/relationships" xmlns:p="http://schemas.openxmlformats.org/presentationml/2006/main">
  <p:tag name="EE4P_TEMPLATESTYLE" val="3"/>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MpsmuafBRf0UETWJ9LAoh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SONcdt4P2yCddj7kjUV1rg"/>
</p:tagLst>
</file>

<file path=ppt/theme/theme1.xml><?xml version="1.0" encoding="utf-8"?>
<a:theme xmlns:a="http://schemas.openxmlformats.org/drawingml/2006/main" name="UCGUniCredit">
  <a:themeElements>
    <a:clrScheme name="UCG">
      <a:dk1>
        <a:sysClr val="windowText" lastClr="000000"/>
      </a:dk1>
      <a:lt1>
        <a:sysClr val="window" lastClr="FFFFFF"/>
      </a:lt1>
      <a:dk2>
        <a:srgbClr val="999999"/>
      </a:dk2>
      <a:lt2>
        <a:srgbClr val="CCCCCC"/>
      </a:lt2>
      <a:accent1>
        <a:srgbClr val="00AFD0"/>
      </a:accent1>
      <a:accent2>
        <a:srgbClr val="C0E4ED"/>
      </a:accent2>
      <a:accent3>
        <a:srgbClr val="3B8BCA"/>
      </a:accent3>
      <a:accent4>
        <a:srgbClr val="005095"/>
      </a:accent4>
      <a:accent5>
        <a:srgbClr val="9FCA7A"/>
      </a:accent5>
      <a:accent6>
        <a:srgbClr val="9E3A8B"/>
      </a:accent6>
      <a:hlink>
        <a:srgbClr val="3B8BCA"/>
      </a:hlink>
      <a:folHlink>
        <a:srgbClr val="000000"/>
      </a:folHlink>
    </a:clrScheme>
    <a:fontScheme name="UniCredit">
      <a:majorFont>
        <a:latin typeface="UniCredit"/>
        <a:ea typeface=""/>
        <a:cs typeface=""/>
      </a:majorFont>
      <a:minorFont>
        <a:latin typeface="UniCredit"/>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esentation2" id="{EAC1C7F6-EF4E-4DC6-96E0-4CA4E267A0C4}" vid="{B1C4F0D8-2B28-4EE3-9C16-4963852B215A}"/>
    </a:ext>
  </a:extLst>
</a:theme>
</file>

<file path=ppt/theme/theme2.xml><?xml version="1.0" encoding="utf-8"?>
<a:theme xmlns:a="http://schemas.openxmlformats.org/drawingml/2006/main" name="1_UCGUniCredit">
  <a:themeElements>
    <a:clrScheme name="UCG">
      <a:dk1>
        <a:sysClr val="windowText" lastClr="000000"/>
      </a:dk1>
      <a:lt1>
        <a:sysClr val="window" lastClr="FFFFFF"/>
      </a:lt1>
      <a:dk2>
        <a:srgbClr val="999999"/>
      </a:dk2>
      <a:lt2>
        <a:srgbClr val="CCCCCC"/>
      </a:lt2>
      <a:accent1>
        <a:srgbClr val="00AFD0"/>
      </a:accent1>
      <a:accent2>
        <a:srgbClr val="C0E4ED"/>
      </a:accent2>
      <a:accent3>
        <a:srgbClr val="3B8BCA"/>
      </a:accent3>
      <a:accent4>
        <a:srgbClr val="005095"/>
      </a:accent4>
      <a:accent5>
        <a:srgbClr val="9FCA7A"/>
      </a:accent5>
      <a:accent6>
        <a:srgbClr val="9E3A8B"/>
      </a:accent6>
      <a:hlink>
        <a:srgbClr val="3B8BCA"/>
      </a:hlink>
      <a:folHlink>
        <a:srgbClr val="000000"/>
      </a:folHlink>
    </a:clrScheme>
    <a:fontScheme name="UniCredit">
      <a:majorFont>
        <a:latin typeface="UniCredit"/>
        <a:ea typeface=""/>
        <a:cs typeface=""/>
      </a:majorFont>
      <a:minorFont>
        <a:latin typeface="UniCredit"/>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esentation2" id="{EAC1C7F6-EF4E-4DC6-96E0-4CA4E267A0C4}" vid="{B1C4F0D8-2B28-4EE3-9C16-4963852B215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A6B77B1B47C2E4F9DE4E4272EBAC863" ma:contentTypeVersion="3" ma:contentTypeDescription="Create a new document." ma:contentTypeScope="" ma:versionID="5199e3b3505da2b93d0ca86760133708">
  <xsd:schema xmlns:xsd="http://www.w3.org/2001/XMLSchema" xmlns:xs="http://www.w3.org/2001/XMLSchema" xmlns:p="http://schemas.microsoft.com/office/2006/metadata/properties" xmlns:ns1="http://schemas.microsoft.com/sharepoint/v3" xmlns:ns2="6c44af5d-5a85-456f-aa87-d0b7e5518614" targetNamespace="http://schemas.microsoft.com/office/2006/metadata/properties" ma:root="true" ma:fieldsID="e482670a3155447c348d13fccb8285b9" ns1:_="" ns2:_="">
    <xsd:import namespace="http://schemas.microsoft.com/sharepoint/v3"/>
    <xsd:import namespace="6c44af5d-5a85-456f-aa87-d0b7e5518614"/>
    <xsd:element name="properties">
      <xsd:complexType>
        <xsd:sequence>
          <xsd:element name="documentManagement">
            <xsd:complexType>
              <xsd:all>
                <xsd:element ref="ns1:AverageRating" minOccurs="0"/>
                <xsd:element ref="ns1:RatingCount" minOccurs="0"/>
                <xsd:element ref="ns2:TagsAndNot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AverageRating" ma:index="8" nillable="true" ma:displayName="Rating (0-5)" ma:decimals="2" ma:description="Average value of all the ratings that have been submitted" ma:internalName="AverageRating" ma:readOnly="true">
      <xsd:simpleType>
        <xsd:restriction base="dms:Number"/>
      </xsd:simpleType>
    </xsd:element>
    <xsd:element name="RatingCount" ma:index="9" nillable="true" ma:displayName="Number of Ratings" ma:decimals="0" ma:description="Number of ratings submitted" ma:internalName="RatingCount" ma:readOnly="true">
      <xsd:simpleType>
        <xsd:restriction base="dms:Number"/>
      </xsd:simpleType>
    </xsd:element>
  </xsd:schema>
  <xsd:schema xmlns:xsd="http://www.w3.org/2001/XMLSchema" xmlns:xs="http://www.w3.org/2001/XMLSchema" xmlns:dms="http://schemas.microsoft.com/office/2006/documentManagement/types" xmlns:pc="http://schemas.microsoft.com/office/infopath/2007/PartnerControls" targetNamespace="6c44af5d-5a85-456f-aa87-d0b7e5518614" elementFormDefault="qualified">
    <xsd:import namespace="http://schemas.microsoft.com/office/2006/documentManagement/types"/>
    <xsd:import namespace="http://schemas.microsoft.com/office/infopath/2007/PartnerControls"/>
    <xsd:element name="TagsAndNotes" ma:index="10" nillable="true" ma:displayName="TagsAndNotes" ma:internalName="TagsAndNotes">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gsAndNotes xmlns="6c44af5d-5a85-456f-aa87-d0b7e5518614"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DA60DDE-B216-4570-AA0C-023F0DE6F6F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6c44af5d-5a85-456f-aa87-d0b7e551861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8A88CA6-3207-4B55-92DC-15AADBBFB2C7}">
  <ds:schemaRefs>
    <ds:schemaRef ds:uri="http://purl.org/dc/elements/1.1/"/>
    <ds:schemaRef ds:uri="http://schemas.microsoft.com/office/2006/metadata/properties"/>
    <ds:schemaRef ds:uri="http://schemas.microsoft.com/sharepoint/v3"/>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6c44af5d-5a85-456f-aa87-d0b7e5518614"/>
    <ds:schemaRef ds:uri="http://www.w3.org/XML/1998/namespace"/>
    <ds:schemaRef ds:uri="http://purl.org/dc/dcmitype/"/>
  </ds:schemaRefs>
</ds:datastoreItem>
</file>

<file path=customXml/itemProps3.xml><?xml version="1.0" encoding="utf-8"?>
<ds:datastoreItem xmlns:ds="http://schemas.openxmlformats.org/officeDocument/2006/customXml" ds:itemID="{EF6A728D-1913-4B0D-8E06-A2014101198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11837</TotalTime>
  <Words>3226</Words>
  <Application>Microsoft Office PowerPoint</Application>
  <PresentationFormat>On-screen Show (16:9)</PresentationFormat>
  <Paragraphs>783</Paragraphs>
  <Slides>41</Slides>
  <Notes>5</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41</vt:i4>
      </vt:variant>
    </vt:vector>
  </HeadingPairs>
  <TitlesOfParts>
    <vt:vector size="52" baseType="lpstr">
      <vt:lpstr>Arial</vt:lpstr>
      <vt:lpstr>Calibri</vt:lpstr>
      <vt:lpstr>Courier New</vt:lpstr>
      <vt:lpstr>EYInterstate Regular</vt:lpstr>
      <vt:lpstr>Lucida Console</vt:lpstr>
      <vt:lpstr>UniCredit</vt:lpstr>
      <vt:lpstr>Wingdings</vt:lpstr>
      <vt:lpstr>Wingdings 2</vt:lpstr>
      <vt:lpstr>UCGUniCredit</vt:lpstr>
      <vt:lpstr>1_UCGUniCredit</vt:lpstr>
      <vt:lpstr>think-cell Slide</vt:lpstr>
      <vt:lpstr>DevOps in GRM&amp;GLO</vt:lpstr>
      <vt:lpstr>Introducing the team</vt:lpstr>
      <vt:lpstr>Agenda</vt:lpstr>
      <vt:lpstr>Q&amp;A Session on slido.com</vt:lpstr>
      <vt:lpstr>PowerPoint Presentation</vt:lpstr>
      <vt:lpstr>DevOps – Onboarding options and constraints</vt:lpstr>
      <vt:lpstr>MyCredit 2020 road map for brown field DevOps onboardings</vt:lpstr>
      <vt:lpstr>We’ll use our pipeline to guide the presentation </vt:lpstr>
      <vt:lpstr>Agile methodology: 4 sprints for the on boarding</vt:lpstr>
      <vt:lpstr>Plan the development within the Team</vt:lpstr>
      <vt:lpstr>Team working and Collaboration</vt:lpstr>
      <vt:lpstr>Version our developments with GIT</vt:lpstr>
      <vt:lpstr>BitBucket – GIT version control and migration from SVN</vt:lpstr>
      <vt:lpstr>BitBucket – Branching strategies</vt:lpstr>
      <vt:lpstr>Start the automated CI/CD pipeline with Jenkins</vt:lpstr>
      <vt:lpstr>Automation pipelines with Jenkins</vt:lpstr>
      <vt:lpstr>Build our code for both backend and frontend</vt:lpstr>
      <vt:lpstr>A first step in the CI pipelines: the Build phase</vt:lpstr>
      <vt:lpstr>First automated test level: Unit tests</vt:lpstr>
      <vt:lpstr>Test automation principles</vt:lpstr>
      <vt:lpstr>Test Automation Pyramid </vt:lpstr>
      <vt:lpstr>Unit testing</vt:lpstr>
      <vt:lpstr>Sonar Quality Gate for code coverage and vulnerabilities scan</vt:lpstr>
      <vt:lpstr>Libraries vulnerability assessment with OWASP </vt:lpstr>
      <vt:lpstr>Getting rid of OWASP vulnerabilities – XFrame example</vt:lpstr>
      <vt:lpstr>Deploy of the code, Database versioning and Service Virtualization</vt:lpstr>
      <vt:lpstr>Database Automation - Versions and Migrations in CI/CD</vt:lpstr>
      <vt:lpstr>Database Automation – technical details</vt:lpstr>
      <vt:lpstr>MyCredits Architecture – Complexity</vt:lpstr>
      <vt:lpstr>New DevOps Environments – from Complexity to Isolation and Test Suite Portability</vt:lpstr>
      <vt:lpstr>Service Virtualization  with Wiremock</vt:lpstr>
      <vt:lpstr>Service Virtualization - recording with WireMock</vt:lpstr>
      <vt:lpstr>Service Virtualization – for Developers</vt:lpstr>
      <vt:lpstr>Service Virtualization  - Our Approach </vt:lpstr>
      <vt:lpstr>Automated tests: Integration and End-2-End</vt:lpstr>
      <vt:lpstr>Integration testing</vt:lpstr>
      <vt:lpstr>E2E Selenium Tests</vt:lpstr>
      <vt:lpstr>Final step: software ready for UAT</vt:lpstr>
      <vt:lpstr>What’s next…</vt:lpstr>
      <vt:lpstr>Q&amp;A Session on slido.com</vt:lpstr>
      <vt:lpstr>Feature Flag developme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vOps in GRM&amp;GLO</dc:title>
  <dc:creator>Riva Guido (UniCredit Services)</dc:creator>
  <cp:lastModifiedBy>Riva Guido (UniCredit Services)</cp:lastModifiedBy>
  <cp:revision>229</cp:revision>
  <dcterms:created xsi:type="dcterms:W3CDTF">2020-09-22T20:07:25Z</dcterms:created>
  <dcterms:modified xsi:type="dcterms:W3CDTF">2020-10-02T10:51:20Z</dcterms:modified>
  <cp:version>3.10.2.4</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A6B77B1B47C2E4F9DE4E4272EBAC863</vt:lpwstr>
  </property>
  <property fmtid="{D5CDD505-2E9C-101B-9397-08002B2CF9AE}" pid="3" name="MSIP_Label_b244f673-923e-4cdb-8bf1-dfcce5b5c514_Enabled">
    <vt:lpwstr>True</vt:lpwstr>
  </property>
  <property fmtid="{D5CDD505-2E9C-101B-9397-08002B2CF9AE}" pid="4" name="MSIP_Label_b244f673-923e-4cdb-8bf1-dfcce5b5c514_SiteId">
    <vt:lpwstr>36da45f1-dd2c-4d1f-af13-5abe46b99921</vt:lpwstr>
  </property>
  <property fmtid="{D5CDD505-2E9C-101B-9397-08002B2CF9AE}" pid="5" name="MSIP_Label_b244f673-923e-4cdb-8bf1-dfcce5b5c514_Owner">
    <vt:lpwstr>sviolano@deloitte.it</vt:lpwstr>
  </property>
  <property fmtid="{D5CDD505-2E9C-101B-9397-08002B2CF9AE}" pid="6" name="MSIP_Label_b244f673-923e-4cdb-8bf1-dfcce5b5c514_SetDate">
    <vt:lpwstr>2020-09-30T07:24:02.8856296Z</vt:lpwstr>
  </property>
  <property fmtid="{D5CDD505-2E9C-101B-9397-08002B2CF9AE}" pid="7" name="MSIP_Label_b244f673-923e-4cdb-8bf1-dfcce5b5c514_Name">
    <vt:lpwstr>Confidential</vt:lpwstr>
  </property>
  <property fmtid="{D5CDD505-2E9C-101B-9397-08002B2CF9AE}" pid="8" name="MSIP_Label_b244f673-923e-4cdb-8bf1-dfcce5b5c514_Application">
    <vt:lpwstr>Microsoft Azure Information Protection</vt:lpwstr>
  </property>
  <property fmtid="{D5CDD505-2E9C-101B-9397-08002B2CF9AE}" pid="9" name="MSIP_Label_b244f673-923e-4cdb-8bf1-dfcce5b5c514_ActionId">
    <vt:lpwstr>95da8660-2b6c-4e83-bc50-abac462f1a78</vt:lpwstr>
  </property>
  <property fmtid="{D5CDD505-2E9C-101B-9397-08002B2CF9AE}" pid="10" name="MSIP_Label_b244f673-923e-4cdb-8bf1-dfcce5b5c514_Extended_MSFT_Method">
    <vt:lpwstr>Automatic</vt:lpwstr>
  </property>
  <property fmtid="{D5CDD505-2E9C-101B-9397-08002B2CF9AE}" pid="11" name="MSIP_Label_ea60d57e-af5b-4752-ac57-3e4f28ca11dc_Enabled">
    <vt:lpwstr>True</vt:lpwstr>
  </property>
  <property fmtid="{D5CDD505-2E9C-101B-9397-08002B2CF9AE}" pid="12" name="MSIP_Label_ea60d57e-af5b-4752-ac57-3e4f28ca11dc_SiteId">
    <vt:lpwstr>36da45f1-dd2c-4d1f-af13-5abe46b99921</vt:lpwstr>
  </property>
  <property fmtid="{D5CDD505-2E9C-101B-9397-08002B2CF9AE}" pid="13" name="MSIP_Label_ea60d57e-af5b-4752-ac57-3e4f28ca11dc_Owner">
    <vt:lpwstr>sviolano@deloitte.it</vt:lpwstr>
  </property>
  <property fmtid="{D5CDD505-2E9C-101B-9397-08002B2CF9AE}" pid="14" name="MSIP_Label_ea60d57e-af5b-4752-ac57-3e4f28ca11dc_SetDate">
    <vt:lpwstr>2020-09-30T07:24:02.8856296Z</vt:lpwstr>
  </property>
  <property fmtid="{D5CDD505-2E9C-101B-9397-08002B2CF9AE}" pid="15" name="MSIP_Label_ea60d57e-af5b-4752-ac57-3e4f28ca11dc_Name">
    <vt:lpwstr>No Additional Protection</vt:lpwstr>
  </property>
  <property fmtid="{D5CDD505-2E9C-101B-9397-08002B2CF9AE}" pid="16" name="MSIP_Label_ea60d57e-af5b-4752-ac57-3e4f28ca11dc_Application">
    <vt:lpwstr>Microsoft Azure Information Protection</vt:lpwstr>
  </property>
  <property fmtid="{D5CDD505-2E9C-101B-9397-08002B2CF9AE}" pid="17" name="MSIP_Label_ea60d57e-af5b-4752-ac57-3e4f28ca11dc_ActionId">
    <vt:lpwstr>95da8660-2b6c-4e83-bc50-abac462f1a78</vt:lpwstr>
  </property>
  <property fmtid="{D5CDD505-2E9C-101B-9397-08002B2CF9AE}" pid="18" name="MSIP_Label_ea60d57e-af5b-4752-ac57-3e4f28ca11dc_Parent">
    <vt:lpwstr>b244f673-923e-4cdb-8bf1-dfcce5b5c514</vt:lpwstr>
  </property>
  <property fmtid="{D5CDD505-2E9C-101B-9397-08002B2CF9AE}" pid="19" name="MSIP_Label_ea60d57e-af5b-4752-ac57-3e4f28ca11dc_Extended_MSFT_Method">
    <vt:lpwstr>Automatic</vt:lpwstr>
  </property>
  <property fmtid="{D5CDD505-2E9C-101B-9397-08002B2CF9AE}" pid="20" name="MSIP_Label_79229653-ccbf-4c8f-9d96-b79ef60eed0f_Enabled">
    <vt:lpwstr>True</vt:lpwstr>
  </property>
  <property fmtid="{D5CDD505-2E9C-101B-9397-08002B2CF9AE}" pid="21" name="MSIP_Label_79229653-ccbf-4c8f-9d96-b79ef60eed0f_SiteId">
    <vt:lpwstr>2cc49ce9-66a1-41ac-a96b-bdc54247696a</vt:lpwstr>
  </property>
  <property fmtid="{D5CDD505-2E9C-101B-9397-08002B2CF9AE}" pid="22" name="MSIP_Label_79229653-ccbf-4c8f-9d96-b79ef60eed0f_SetDate">
    <vt:lpwstr>2020-09-22T20:40:30Z</vt:lpwstr>
  </property>
  <property fmtid="{D5CDD505-2E9C-101B-9397-08002B2CF9AE}" pid="23" name="MSIP_Label_79229653-ccbf-4c8f-9d96-b79ef60eed0f_Name">
    <vt:lpwstr>in UniCredit Group - no visual markings</vt:lpwstr>
  </property>
  <property fmtid="{D5CDD505-2E9C-101B-9397-08002B2CF9AE}" pid="24" name="MSIP_Label_79229653-ccbf-4c8f-9d96-b79ef60eed0f_ActionId">
    <vt:lpwstr>defc8dc5-1645-4a1c-b8c2-bbeca970a2b2</vt:lpwstr>
  </property>
  <property fmtid="{D5CDD505-2E9C-101B-9397-08002B2CF9AE}" pid="25" name="Sensitivity">
    <vt:lpwstr>Confidential No Additional Protection in UniCredit Group - no visual markings</vt:lpwstr>
  </property>
</Properties>
</file>